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9" r:id="rId4"/>
  </p:sldMasterIdLst>
  <p:notesMasterIdLst>
    <p:notesMasterId r:id="rId6"/>
  </p:notesMasterIdLst>
  <p:handoutMasterIdLst>
    <p:handoutMasterId r:id="rId7"/>
  </p:handoutMasterIdLst>
  <p:sldIdLst>
    <p:sldId id="258" r:id="rId5"/>
  </p:sldIdLst>
  <p:sldSz cx="9144000" cy="6858000" type="screen4x3"/>
  <p:notesSz cx="6858000" cy="9144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C575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6323" autoAdjust="0"/>
  </p:normalViewPr>
  <p:slideViewPr>
    <p:cSldViewPr snapToGrid="0">
      <p:cViewPr varScale="1">
        <p:scale>
          <a:sx n="118" d="100"/>
          <a:sy n="118" d="100"/>
        </p:scale>
        <p:origin x="1302" y="10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howGuides="1">
      <p:cViewPr>
        <p:scale>
          <a:sx n="66" d="100"/>
          <a:sy n="66" d="100"/>
        </p:scale>
        <p:origin x="3150" y="57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72570" y="72570"/>
            <a:ext cx="29718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algn="l">
              <a:defRPr sz="1200"/>
            </a:lvl1pPr>
          </a:lstStyle>
          <a:p>
            <a:endParaRPr lang="en-US" sz="80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12043" y="72570"/>
            <a:ext cx="29718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algn="r">
              <a:defRPr sz="1200"/>
            </a:lvl1pPr>
          </a:lstStyle>
          <a:p>
            <a:fld id="{38A3AD34-EEB9-4C9E-BF21-2EA80C15652E}" type="datetimeFigureOut">
              <a:rPr lang="en-US" sz="800" smtClean="0"/>
              <a:t>8/1/2017</a:t>
            </a:fld>
            <a:endParaRPr lang="en-US" sz="8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72570" y="8948319"/>
            <a:ext cx="2971800" cy="123111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l">
              <a:defRPr sz="1200"/>
            </a:lvl1pPr>
          </a:lstStyle>
          <a:p>
            <a:endParaRPr lang="en-US" sz="8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12043" y="8948319"/>
            <a:ext cx="2971800" cy="123111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r">
              <a:defRPr sz="1200"/>
            </a:lvl1pPr>
          </a:lstStyle>
          <a:p>
            <a:fld id="{09B54FEB-1CC3-4ADA-BC8C-8630FE204E89}" type="slidenum">
              <a:rPr lang="en-US" sz="800" smtClean="0"/>
              <a:t>‹#›</a:t>
            </a:fld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269028814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72570" y="72570"/>
            <a:ext cx="29718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algn="l">
              <a:defRPr sz="8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12043" y="72570"/>
            <a:ext cx="29718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algn="r">
              <a:defRPr sz="800"/>
            </a:lvl1pPr>
          </a:lstStyle>
          <a:p>
            <a:fld id="{4AAE48C0-F8CF-41BB-AD86-35BC16D02E78}" type="datetimeFigureOut">
              <a:rPr lang="en-GB" smtClean="0"/>
              <a:pPr/>
              <a:t>01/08/2017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25538" y="534988"/>
            <a:ext cx="4610100" cy="3457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72570" y="8948319"/>
            <a:ext cx="2971800" cy="123111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l">
              <a:defRPr sz="8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12043" y="8948319"/>
            <a:ext cx="2971800" cy="123111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r">
              <a:defRPr sz="800"/>
            </a:lvl1pPr>
          </a:lstStyle>
          <a:p>
            <a:fld id="{4B9FA167-6D91-40FB-A5E9-D55076958A4E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358774" y="4228872"/>
            <a:ext cx="6143626" cy="9233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768132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7800" marR="0" indent="-177800" algn="l" defTabSz="914400" rtl="0" eaLnBrk="1" fontAlgn="auto" latinLnBrk="0" hangingPunct="1">
      <a:lnSpc>
        <a:spcPct val="100000"/>
      </a:lnSpc>
      <a:spcBef>
        <a:spcPts val="0"/>
      </a:spcBef>
      <a:spcAft>
        <a:spcPts val="0"/>
      </a:spcAft>
      <a:buClrTx/>
      <a:buSzTx/>
      <a:buFont typeface="Arial" panose="020B0604020202020204" pitchFamily="34" charset="0"/>
      <a:buChar char="•"/>
      <a:tabLst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7188" marR="0" indent="-179388" algn="l" defTabSz="914400" rtl="0" eaLnBrk="1" fontAlgn="auto" latinLnBrk="0" hangingPunct="1">
      <a:lnSpc>
        <a:spcPct val="100000"/>
      </a:lnSpc>
      <a:spcBef>
        <a:spcPts val="0"/>
      </a:spcBef>
      <a:spcAft>
        <a:spcPts val="0"/>
      </a:spcAft>
      <a:buClrTx/>
      <a:buSzTx/>
      <a:buFont typeface="Danske Text" panose="00000400000000000000" pitchFamily="2" charset="0"/>
      <a:buChar char="−"/>
      <a:tabLst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447675" marR="0" indent="-90488" algn="l" defTabSz="914400" rtl="0" eaLnBrk="1" fontAlgn="auto" latinLnBrk="0" hangingPunct="1">
      <a:lnSpc>
        <a:spcPct val="100000"/>
      </a:lnSpc>
      <a:spcBef>
        <a:spcPts val="0"/>
      </a:spcBef>
      <a:spcAft>
        <a:spcPts val="0"/>
      </a:spcAft>
      <a:buClrTx/>
      <a:buSzTx/>
      <a:buFont typeface="Danske Text" panose="00000400000000000000" pitchFamily="2" charset="0"/>
      <a:buChar char="∙"/>
      <a:tabLst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627063" marR="0" indent="-92075" algn="l" defTabSz="914400" rtl="0" eaLnBrk="1" fontAlgn="auto" latinLnBrk="0" hangingPunct="1">
      <a:lnSpc>
        <a:spcPct val="100000"/>
      </a:lnSpc>
      <a:spcBef>
        <a:spcPts val="0"/>
      </a:spcBef>
      <a:spcAft>
        <a:spcPts val="0"/>
      </a:spcAft>
      <a:buClrTx/>
      <a:buSzTx/>
      <a:buFont typeface="Danske Text" panose="00000400000000000000" pitchFamily="2" charset="0"/>
      <a:buChar char="∙"/>
      <a:tabLst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08038" marR="0" indent="-93663" algn="l" defTabSz="914400" rtl="0" eaLnBrk="1" fontAlgn="auto" latinLnBrk="0" hangingPunct="1">
      <a:lnSpc>
        <a:spcPct val="100000"/>
      </a:lnSpc>
      <a:spcBef>
        <a:spcPts val="0"/>
      </a:spcBef>
      <a:spcAft>
        <a:spcPts val="0"/>
      </a:spcAft>
      <a:buClrTx/>
      <a:buSzTx/>
      <a:buFont typeface="Danske Text" panose="00000400000000000000" pitchFamily="2" charset="0"/>
      <a:buChar char="∙"/>
      <a:tabLst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7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9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7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10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6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11.bin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mediabank-online.com/" TargetMode="External"/><Relationship Id="rId13" Type="http://schemas.openxmlformats.org/officeDocument/2006/relationships/image" Target="../media/image13.png"/><Relationship Id="rId3" Type="http://schemas.openxmlformats.org/officeDocument/2006/relationships/slideMaster" Target="../slideMasters/slideMaster1.xml"/><Relationship Id="rId7" Type="http://schemas.openxmlformats.org/officeDocument/2006/relationships/hyperlink" Target="https://www.colourbox.dk/request/2b45ae3f" TargetMode="External"/><Relationship Id="rId12" Type="http://schemas.openxmlformats.org/officeDocument/2006/relationships/image" Target="../media/image12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2.vml"/><Relationship Id="rId6" Type="http://schemas.openxmlformats.org/officeDocument/2006/relationships/hyperlink" Target="http://www.colourbox.com/" TargetMode="External"/><Relationship Id="rId11" Type="http://schemas.openxmlformats.org/officeDocument/2006/relationships/image" Target="../media/image11.png"/><Relationship Id="rId5" Type="http://schemas.openxmlformats.org/officeDocument/2006/relationships/image" Target="../media/image8.emf"/><Relationship Id="rId10" Type="http://schemas.openxmlformats.org/officeDocument/2006/relationships/image" Target="../media/image10.png"/><Relationship Id="rId4" Type="http://schemas.openxmlformats.org/officeDocument/2006/relationships/oleObject" Target="../embeddings/oleObject12.bin"/><Relationship Id="rId9" Type="http://schemas.openxmlformats.org/officeDocument/2006/relationships/image" Target="../media/image9.png"/><Relationship Id="rId14" Type="http://schemas.openxmlformats.org/officeDocument/2006/relationships/image" Target="../media/image7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8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INTER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2650361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3851" y="4074531"/>
            <a:ext cx="8496299" cy="886397"/>
          </a:xfrm>
          <a:prstGeom prst="rect">
            <a:avLst/>
          </a:prstGeom>
        </p:spPr>
        <p:txBody>
          <a:bodyPr anchor="t" anchorCtr="0"/>
          <a:lstStyle>
            <a:lvl1pPr algn="l"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GB" dirty="0" smtClean="0"/>
              <a:t>Click to add Presentation Title – increase font size for large audience – max. two lines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3851" y="5155879"/>
            <a:ext cx="8496299" cy="184666"/>
          </a:xfrm>
        </p:spPr>
        <p:txBody>
          <a:bodyPr anchor="t" anchorCtr="0"/>
          <a:lstStyle>
            <a:lvl1pPr marL="0" indent="0" algn="l">
              <a:buNone/>
              <a:defRPr sz="12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pPr lvl="0"/>
            <a:r>
              <a:rPr lang="en-GB" dirty="0" smtClean="0"/>
              <a:t>Click to add document type / audienc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23851" y="6606934"/>
            <a:ext cx="2064442" cy="123111"/>
          </a:xfrm>
        </p:spPr>
        <p:txBody>
          <a:bodyPr>
            <a:spAutoFit/>
          </a:bodyPr>
          <a:lstStyle/>
          <a:p>
            <a:fld id="{FD5A4159-1C9D-4C23-8DBB-0FD5BF49F859}" type="datetime1">
              <a:rPr lang="en-GB" smtClean="0"/>
              <a:t>01/08/2017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734050" y="53852"/>
            <a:ext cx="30861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5025" y="253007"/>
            <a:ext cx="1635125" cy="2465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04028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mparison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352800" y="7059696"/>
            <a:ext cx="2057400" cy="92333"/>
          </a:xfrm>
        </p:spPr>
        <p:txBody>
          <a:bodyPr/>
          <a:lstStyle/>
          <a:p>
            <a:fld id="{D07952D7-4E08-421B-9537-2EE112E32DE3}" type="datetime1">
              <a:rPr lang="en-GB" smtClean="0"/>
              <a:t>01/08/2017</a:t>
            </a:fld>
            <a:endParaRPr lang="en-GB" dirty="0"/>
          </a:p>
        </p:txBody>
      </p:sp>
      <p:sp>
        <p:nvSpPr>
          <p:cNvPr id="12" name="Slide Number Placeholder 5"/>
          <p:cNvSpPr txBox="1">
            <a:spLocks/>
          </p:cNvSpPr>
          <p:nvPr/>
        </p:nvSpPr>
        <p:spPr>
          <a:xfrm>
            <a:off x="8284713" y="6668489"/>
            <a:ext cx="535363" cy="9233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600" smtClean="0">
                <a:solidFill>
                  <a:schemeClr val="tx1"/>
                </a:solidFill>
              </a:rPr>
              <a:pPr/>
              <a:t>‹#›</a:t>
            </a:fld>
            <a:endParaRPr lang="en-GB" sz="600" dirty="0">
              <a:solidFill>
                <a:schemeClr val="tx1"/>
              </a:solidFill>
            </a:endParaRPr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323925" y="1796400"/>
            <a:ext cx="4101598" cy="4764738"/>
          </a:xfrm>
        </p:spPr>
        <p:txBody>
          <a:bodyPr vert="horz" wrap="square" lIns="0" tIns="0" rIns="0" bIns="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GB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Content Placeholder 3"/>
          <p:cNvSpPr>
            <a:spLocks noGrp="1"/>
          </p:cNvSpPr>
          <p:nvPr>
            <p:ph sz="half" idx="14"/>
          </p:nvPr>
        </p:nvSpPr>
        <p:spPr>
          <a:xfrm>
            <a:off x="4717269" y="1796400"/>
            <a:ext cx="4102881" cy="4764738"/>
          </a:xfrm>
        </p:spPr>
        <p:txBody>
          <a:bodyPr vert="horz" wrap="square" lIns="0" tIns="0" rIns="0" bIns="0" rtlCol="0"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323925" y="1522800"/>
            <a:ext cx="4101591" cy="246221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 b="1" baseline="0">
                <a:solidFill>
                  <a:srgbClr val="003755"/>
                </a:solidFill>
                <a:latin typeface="Danske Text" panose="00000400000000000000" pitchFamily="2" charset="0"/>
              </a:defRPr>
            </a:lvl1pPr>
          </a:lstStyle>
          <a:p>
            <a:pPr lvl="0"/>
            <a:r>
              <a:rPr lang="en-GB" dirty="0" smtClean="0"/>
              <a:t>Click to add Description (max 1 line)</a:t>
            </a:r>
            <a:endParaRPr lang="en-US" dirty="0" smtClean="0"/>
          </a:p>
        </p:txBody>
      </p:sp>
      <p:sp>
        <p:nvSpPr>
          <p:cNvPr id="22" name="HEADING placeholder 1"/>
          <p:cNvSpPr>
            <a:spLocks noGrp="1"/>
          </p:cNvSpPr>
          <p:nvPr>
            <p:ph type="body" sz="quarter" idx="51" hasCustomPrompt="1"/>
          </p:nvPr>
        </p:nvSpPr>
        <p:spPr>
          <a:xfrm>
            <a:off x="4718485" y="1522800"/>
            <a:ext cx="4101591" cy="246221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 b="1" baseline="0">
                <a:solidFill>
                  <a:srgbClr val="003755"/>
                </a:solidFill>
                <a:latin typeface="Danske Text" panose="00000400000000000000" pitchFamily="2" charset="0"/>
              </a:defRPr>
            </a:lvl1pPr>
          </a:lstStyle>
          <a:p>
            <a:pPr lvl="0"/>
            <a:r>
              <a:rPr lang="en-GB" dirty="0" smtClean="0"/>
              <a:t>Click to add Description (max 1 line)</a:t>
            </a:r>
            <a:endParaRPr lang="en-US" dirty="0" smtClean="0"/>
          </a:p>
        </p:txBody>
      </p:sp>
      <p:sp>
        <p:nvSpPr>
          <p:cNvPr id="20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5734050" y="54002"/>
            <a:ext cx="30861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06459" y="250748"/>
            <a:ext cx="1313691" cy="198120"/>
          </a:xfrm>
          <a:prstGeom prst="rect">
            <a:avLst/>
          </a:prstGeom>
        </p:spPr>
      </p:pic>
      <p:sp>
        <p:nvSpPr>
          <p:cNvPr id="24" name="Title 6"/>
          <p:cNvSpPr>
            <a:spLocks noGrp="1"/>
          </p:cNvSpPr>
          <p:nvPr>
            <p:ph type="title" hasCustomPrompt="1"/>
          </p:nvPr>
        </p:nvSpPr>
        <p:spPr>
          <a:xfrm>
            <a:off x="323924" y="731838"/>
            <a:ext cx="8496151" cy="681037"/>
          </a:xfrm>
        </p:spPr>
        <p:txBody>
          <a:bodyPr wrap="square"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 smtClean="0"/>
              <a:t>Click to add Slide Title – increase font size for large audience – max. two lin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246462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mparison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14379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1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352800" y="7059696"/>
            <a:ext cx="2057400" cy="92333"/>
          </a:xfrm>
        </p:spPr>
        <p:txBody>
          <a:bodyPr/>
          <a:lstStyle/>
          <a:p>
            <a:fld id="{D07952D7-4E08-421B-9537-2EE112E32DE3}" type="datetime1">
              <a:rPr lang="en-GB" smtClean="0"/>
              <a:t>01/08/2017</a:t>
            </a:fld>
            <a:endParaRPr lang="en-GB" dirty="0"/>
          </a:p>
        </p:txBody>
      </p:sp>
      <p:sp>
        <p:nvSpPr>
          <p:cNvPr id="12" name="Slide Number Placeholder 5"/>
          <p:cNvSpPr txBox="1">
            <a:spLocks/>
          </p:cNvSpPr>
          <p:nvPr/>
        </p:nvSpPr>
        <p:spPr>
          <a:xfrm>
            <a:off x="8284713" y="6668489"/>
            <a:ext cx="535363" cy="9233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600" smtClean="0">
                <a:solidFill>
                  <a:schemeClr val="tx1"/>
                </a:solidFill>
              </a:rPr>
              <a:pPr/>
              <a:t>‹#›</a:t>
            </a:fld>
            <a:endParaRPr lang="en-GB" sz="600" dirty="0">
              <a:solidFill>
                <a:schemeClr val="tx1"/>
              </a:solidFill>
            </a:endParaRPr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323925" y="1796400"/>
            <a:ext cx="8496225" cy="2052638"/>
          </a:xfrm>
        </p:spPr>
        <p:txBody>
          <a:bodyPr vert="horz" wrap="square" lIns="0" tIns="0" rIns="0" bIns="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GB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323925" y="1522800"/>
            <a:ext cx="8496225" cy="246221"/>
          </a:xfrm>
          <a:noFill/>
        </p:spPr>
        <p:txBody>
          <a:bodyPr wrap="square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 b="1" baseline="0">
                <a:solidFill>
                  <a:srgbClr val="003755"/>
                </a:solidFill>
                <a:latin typeface="Danske Text" panose="00000400000000000000" pitchFamily="2" charset="0"/>
              </a:defRPr>
            </a:lvl1pPr>
          </a:lstStyle>
          <a:p>
            <a:pPr lvl="0"/>
            <a:r>
              <a:rPr lang="en-GB" dirty="0" smtClean="0"/>
              <a:t>Click to add Description (max 1 line)</a:t>
            </a:r>
            <a:endParaRPr lang="en-US" dirty="0" smtClean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51"/>
          </p:nvPr>
        </p:nvSpPr>
        <p:spPr>
          <a:xfrm>
            <a:off x="323925" y="4508500"/>
            <a:ext cx="8496225" cy="2052638"/>
          </a:xfrm>
        </p:spPr>
        <p:txBody>
          <a:bodyPr vert="horz" wrap="square" lIns="0" tIns="0" rIns="0" bIns="0" rtlCol="0"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6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323925" y="4234900"/>
            <a:ext cx="8496225" cy="246221"/>
          </a:xfrm>
          <a:noFill/>
        </p:spPr>
        <p:txBody>
          <a:bodyPr wrap="square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 b="1" baseline="0">
                <a:solidFill>
                  <a:srgbClr val="003755"/>
                </a:solidFill>
                <a:latin typeface="Danske Text" panose="00000400000000000000" pitchFamily="2" charset="0"/>
              </a:defRPr>
            </a:lvl1pPr>
          </a:lstStyle>
          <a:p>
            <a:pPr lvl="0"/>
            <a:r>
              <a:rPr lang="en-GB" dirty="0" smtClean="0"/>
              <a:t>Click to add Description (max 1 line)</a:t>
            </a:r>
            <a:endParaRPr lang="en-US" dirty="0" smtClean="0"/>
          </a:p>
        </p:txBody>
      </p:sp>
      <p:sp>
        <p:nvSpPr>
          <p:cNvPr id="22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5734050" y="54002"/>
            <a:ext cx="30861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06459" y="250748"/>
            <a:ext cx="1313691" cy="198120"/>
          </a:xfrm>
          <a:prstGeom prst="rect">
            <a:avLst/>
          </a:prstGeom>
        </p:spPr>
      </p:pic>
      <p:sp>
        <p:nvSpPr>
          <p:cNvPr id="24" name="Title 6"/>
          <p:cNvSpPr>
            <a:spLocks noGrp="1"/>
          </p:cNvSpPr>
          <p:nvPr>
            <p:ph type="title" hasCustomPrompt="1"/>
          </p:nvPr>
        </p:nvSpPr>
        <p:spPr>
          <a:xfrm>
            <a:off x="323924" y="731838"/>
            <a:ext cx="8496151" cy="681037"/>
          </a:xfrm>
        </p:spPr>
        <p:txBody>
          <a:bodyPr wrap="square"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 smtClean="0"/>
              <a:t>Click to add Slide Title – increase font size for large audience – max. two lin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2652152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x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7497341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2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323925" y="1522800"/>
            <a:ext cx="4101591" cy="246221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 b="1" baseline="0">
                <a:solidFill>
                  <a:srgbClr val="003755"/>
                </a:solidFill>
                <a:latin typeface="Danske Text" panose="00000400000000000000" pitchFamily="2" charset="0"/>
              </a:defRPr>
            </a:lvl1pPr>
          </a:lstStyle>
          <a:p>
            <a:pPr lvl="0"/>
            <a:r>
              <a:rPr lang="en-GB" dirty="0" smtClean="0"/>
              <a:t>Click to add Description (max 1 line)</a:t>
            </a:r>
            <a:endParaRPr lang="en-US" dirty="0" smtClean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323925" y="1796400"/>
            <a:ext cx="4101592" cy="2052638"/>
          </a:xfrm>
        </p:spPr>
        <p:txBody>
          <a:bodyPr/>
          <a:lstStyle>
            <a:lvl2pPr marL="3564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−"/>
              <a:defRPr/>
            </a:lvl2pPr>
            <a:lvl3pPr marL="447675" indent="-904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∙"/>
              <a:defRPr/>
            </a:lvl3pPr>
            <a:lvl4pPr marL="627063" indent="-920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∙"/>
              <a:defRPr/>
            </a:lvl4pPr>
            <a:lvl5pPr marL="808038" indent="-93663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∙"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Content Placeholder 2"/>
          <p:cNvSpPr>
            <a:spLocks noGrp="1"/>
          </p:cNvSpPr>
          <p:nvPr>
            <p:ph sz="half" idx="17"/>
          </p:nvPr>
        </p:nvSpPr>
        <p:spPr>
          <a:xfrm>
            <a:off x="4718484" y="1796400"/>
            <a:ext cx="4101592" cy="2052638"/>
          </a:xfrm>
        </p:spPr>
        <p:txBody>
          <a:bodyPr/>
          <a:lstStyle>
            <a:lvl2pPr marL="3564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−"/>
              <a:defRPr/>
            </a:lvl2pPr>
            <a:lvl3pPr marL="447675" indent="-904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∙"/>
              <a:defRPr/>
            </a:lvl3pPr>
            <a:lvl4pPr marL="627063" indent="-920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∙"/>
              <a:defRPr/>
            </a:lvl4pPr>
            <a:lvl5pPr marL="808038" indent="-93663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∙"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5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4718485" y="1522800"/>
            <a:ext cx="4101591" cy="246221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 b="1" baseline="0">
                <a:solidFill>
                  <a:srgbClr val="003755"/>
                </a:solidFill>
                <a:latin typeface="Danske Text" panose="00000400000000000000" pitchFamily="2" charset="0"/>
              </a:defRPr>
            </a:lvl1pPr>
          </a:lstStyle>
          <a:p>
            <a:pPr lvl="0"/>
            <a:r>
              <a:rPr lang="en-GB" dirty="0" smtClean="0"/>
              <a:t>Click to add Description (max 1 line)</a:t>
            </a:r>
            <a:endParaRPr lang="en-US" dirty="0" smtClean="0"/>
          </a:p>
        </p:txBody>
      </p:sp>
      <p:sp>
        <p:nvSpPr>
          <p:cNvPr id="32" name="Date Placeholder 2"/>
          <p:cNvSpPr>
            <a:spLocks noGrp="1"/>
          </p:cNvSpPr>
          <p:nvPr>
            <p:ph type="dt" sz="half" idx="10"/>
          </p:nvPr>
        </p:nvSpPr>
        <p:spPr>
          <a:xfrm>
            <a:off x="323850" y="7000335"/>
            <a:ext cx="2064442" cy="92333"/>
          </a:xfrm>
        </p:spPr>
        <p:txBody>
          <a:bodyPr/>
          <a:lstStyle/>
          <a:p>
            <a:fld id="{10E7BC8F-BFD3-4858-915D-99D9576C8415}" type="datetime1">
              <a:rPr lang="en-GB" noProof="0" smtClean="0"/>
              <a:pPr/>
              <a:t>01/08/2017</a:t>
            </a:fld>
            <a:endParaRPr lang="en-GB" noProof="0" dirty="0"/>
          </a:p>
        </p:txBody>
      </p:sp>
      <p:sp>
        <p:nvSpPr>
          <p:cNvPr id="26" name="HEADING placeholder 1"/>
          <p:cNvSpPr>
            <a:spLocks noGrp="1"/>
          </p:cNvSpPr>
          <p:nvPr>
            <p:ph type="body" sz="quarter" idx="53" hasCustomPrompt="1"/>
          </p:nvPr>
        </p:nvSpPr>
        <p:spPr>
          <a:xfrm>
            <a:off x="323925" y="4234900"/>
            <a:ext cx="4101591" cy="246221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 b="1" baseline="0">
                <a:solidFill>
                  <a:srgbClr val="003755"/>
                </a:solidFill>
                <a:latin typeface="Danske Text" panose="00000400000000000000" pitchFamily="2" charset="0"/>
              </a:defRPr>
            </a:lvl1pPr>
          </a:lstStyle>
          <a:p>
            <a:pPr lvl="0"/>
            <a:r>
              <a:rPr lang="en-GB" dirty="0" smtClean="0"/>
              <a:t>Click to add Description (max 1 line)</a:t>
            </a:r>
            <a:endParaRPr lang="en-US" dirty="0" smtClean="0"/>
          </a:p>
        </p:txBody>
      </p:sp>
      <p:sp>
        <p:nvSpPr>
          <p:cNvPr id="27" name="Content Placeholder 2"/>
          <p:cNvSpPr>
            <a:spLocks noGrp="1"/>
          </p:cNvSpPr>
          <p:nvPr>
            <p:ph sz="half" idx="54"/>
          </p:nvPr>
        </p:nvSpPr>
        <p:spPr>
          <a:xfrm>
            <a:off x="323925" y="4508500"/>
            <a:ext cx="4101592" cy="2052638"/>
          </a:xfrm>
        </p:spPr>
        <p:txBody>
          <a:bodyPr/>
          <a:lstStyle>
            <a:lvl2pPr marL="3564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−"/>
              <a:defRPr/>
            </a:lvl2pPr>
            <a:lvl3pPr marL="447675" indent="-904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∙"/>
              <a:defRPr/>
            </a:lvl3pPr>
            <a:lvl4pPr marL="627063" indent="-920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∙"/>
              <a:defRPr/>
            </a:lvl4pPr>
            <a:lvl5pPr marL="808038" indent="-93663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∙"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8" name="Content Placeholder 2"/>
          <p:cNvSpPr>
            <a:spLocks noGrp="1"/>
          </p:cNvSpPr>
          <p:nvPr>
            <p:ph sz="half" idx="55"/>
          </p:nvPr>
        </p:nvSpPr>
        <p:spPr>
          <a:xfrm>
            <a:off x="4718484" y="4508500"/>
            <a:ext cx="4101592" cy="2052638"/>
          </a:xfrm>
        </p:spPr>
        <p:txBody>
          <a:bodyPr/>
          <a:lstStyle>
            <a:lvl2pPr marL="3564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−"/>
              <a:defRPr/>
            </a:lvl2pPr>
            <a:lvl3pPr marL="447675" indent="-904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∙"/>
              <a:defRPr/>
            </a:lvl3pPr>
            <a:lvl4pPr marL="627063" indent="-920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∙"/>
              <a:defRPr/>
            </a:lvl4pPr>
            <a:lvl5pPr marL="808038" indent="-93663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∙"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9" name="HEADING placeholder 1"/>
          <p:cNvSpPr>
            <a:spLocks noGrp="1"/>
          </p:cNvSpPr>
          <p:nvPr>
            <p:ph type="body" sz="quarter" idx="56" hasCustomPrompt="1"/>
          </p:nvPr>
        </p:nvSpPr>
        <p:spPr>
          <a:xfrm>
            <a:off x="4718485" y="4234900"/>
            <a:ext cx="4101591" cy="246221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 b="1" baseline="0">
                <a:solidFill>
                  <a:srgbClr val="003755"/>
                </a:solidFill>
                <a:latin typeface="Danske Text" panose="00000400000000000000" pitchFamily="2" charset="0"/>
              </a:defRPr>
            </a:lvl1pPr>
          </a:lstStyle>
          <a:p>
            <a:pPr lvl="0"/>
            <a:r>
              <a:rPr lang="en-GB" dirty="0" smtClean="0"/>
              <a:t>Click to add Description (max 1 line)</a:t>
            </a:r>
            <a:endParaRPr lang="en-US" dirty="0" smtClean="0"/>
          </a:p>
        </p:txBody>
      </p:sp>
      <p:sp>
        <p:nvSpPr>
          <p:cNvPr id="21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5734050" y="54002"/>
            <a:ext cx="30861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06459" y="250748"/>
            <a:ext cx="1313691" cy="198120"/>
          </a:xfrm>
          <a:prstGeom prst="rect">
            <a:avLst/>
          </a:prstGeom>
        </p:spPr>
      </p:pic>
      <p:sp>
        <p:nvSpPr>
          <p:cNvPr id="24" name="Title 6"/>
          <p:cNvSpPr>
            <a:spLocks noGrp="1"/>
          </p:cNvSpPr>
          <p:nvPr>
            <p:ph type="title" hasCustomPrompt="1"/>
          </p:nvPr>
        </p:nvSpPr>
        <p:spPr>
          <a:xfrm>
            <a:off x="323850" y="731838"/>
            <a:ext cx="8496226" cy="681037"/>
          </a:xfrm>
        </p:spPr>
        <p:txBody>
          <a:bodyPr wrap="square"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 smtClean="0"/>
              <a:t>Click to add Slide Title – increase font size for large audience – max. two lines</a:t>
            </a:r>
            <a:endParaRPr lang="en-GB" dirty="0"/>
          </a:p>
        </p:txBody>
      </p:sp>
      <p:sp>
        <p:nvSpPr>
          <p:cNvPr id="15" name="Slide Number Placeholder 5"/>
          <p:cNvSpPr txBox="1">
            <a:spLocks/>
          </p:cNvSpPr>
          <p:nvPr userDrawn="1"/>
        </p:nvSpPr>
        <p:spPr>
          <a:xfrm>
            <a:off x="8284787" y="6668489"/>
            <a:ext cx="535363" cy="9233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600" smtClean="0">
                <a:solidFill>
                  <a:schemeClr val="tx1"/>
                </a:solidFill>
              </a:rPr>
              <a:pPr/>
              <a:t>‹#›</a:t>
            </a:fld>
            <a:endParaRPr lang="en-GB" sz="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728654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32613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323850" y="7000335"/>
            <a:ext cx="2064442" cy="92333"/>
          </a:xfrm>
        </p:spPr>
        <p:txBody>
          <a:bodyPr/>
          <a:lstStyle/>
          <a:p>
            <a:fld id="{10E7BC8F-BFD3-4858-915D-99D9576C8415}" type="datetime1">
              <a:rPr lang="en-GB" noProof="0" smtClean="0"/>
              <a:pPr/>
              <a:t>01/08/2017</a:t>
            </a:fld>
            <a:endParaRPr lang="en-GB" noProof="0" dirty="0"/>
          </a:p>
        </p:txBody>
      </p:sp>
      <p:sp>
        <p:nvSpPr>
          <p:cNvPr id="7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5543550" y="0"/>
            <a:ext cx="3600450" cy="6858000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323850" y="520320"/>
            <a:ext cx="5037020" cy="181430"/>
          </a:xfrm>
        </p:spPr>
        <p:txBody>
          <a:bodyPr/>
          <a:lstStyle>
            <a:lvl1pPr marL="0" indent="0">
              <a:buNone/>
              <a:defRPr sz="1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 smtClean="0"/>
              <a:t>Click to add chapter header</a:t>
            </a:r>
            <a:endParaRPr lang="en-GB" dirty="0"/>
          </a:p>
        </p:txBody>
      </p:sp>
      <p:sp>
        <p:nvSpPr>
          <p:cNvPr id="12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324000" y="6637711"/>
            <a:ext cx="5030228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33350" indent="0">
              <a:buNone/>
              <a:defRPr sz="600"/>
            </a:lvl2pPr>
            <a:lvl3pPr marL="267891" indent="0">
              <a:buNone/>
              <a:defRPr sz="600"/>
            </a:lvl3pPr>
            <a:lvl4pPr marL="401240" indent="0">
              <a:buNone/>
              <a:defRPr sz="600"/>
            </a:lvl4pPr>
            <a:lvl5pPr marL="535781" indent="0">
              <a:buNone/>
              <a:defRPr sz="600"/>
            </a:lvl5pPr>
          </a:lstStyle>
          <a:p>
            <a:pPr lvl="0"/>
            <a:r>
              <a:rPr lang="en-GB" dirty="0" smtClean="0"/>
              <a:t>Click to add source</a:t>
            </a:r>
            <a:endParaRPr lang="en-GB" dirty="0"/>
          </a:p>
        </p:txBody>
      </p:sp>
      <p:sp>
        <p:nvSpPr>
          <p:cNvPr id="1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324000" y="1522800"/>
            <a:ext cx="5047714" cy="246221"/>
          </a:xfrm>
          <a:noFill/>
        </p:spPr>
        <p:txBody>
          <a:bodyPr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 b="1" baseline="0">
                <a:solidFill>
                  <a:srgbClr val="003755"/>
                </a:solidFill>
                <a:latin typeface="Danske Text" panose="00000400000000000000" pitchFamily="2" charset="0"/>
              </a:defRPr>
            </a:lvl1pPr>
          </a:lstStyle>
          <a:p>
            <a:pPr lvl="0"/>
            <a:r>
              <a:rPr lang="en-GB" dirty="0" smtClean="0"/>
              <a:t>Click to add Description (max 1 line)</a:t>
            </a:r>
            <a:endParaRPr lang="en-US" dirty="0" smtClean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51"/>
          </p:nvPr>
        </p:nvSpPr>
        <p:spPr>
          <a:xfrm>
            <a:off x="324000" y="1796400"/>
            <a:ext cx="5047713" cy="4764738"/>
          </a:xfrm>
        </p:spPr>
        <p:txBody>
          <a:bodyPr/>
          <a:lstStyle>
            <a:lvl2pPr marL="3564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−"/>
              <a:defRPr/>
            </a:lvl2pPr>
            <a:lvl3pPr marL="447675" indent="-904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∙"/>
              <a:defRPr/>
            </a:lvl3pPr>
            <a:lvl4pPr marL="627063" indent="-920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∙"/>
              <a:defRPr/>
            </a:lvl4pPr>
            <a:lvl5pPr marL="808038" indent="-93663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∙"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52" hasCustomPrompt="1"/>
          </p:nvPr>
        </p:nvSpPr>
        <p:spPr>
          <a:xfrm>
            <a:off x="7506450" y="252000"/>
            <a:ext cx="1314450" cy="198438"/>
          </a:xfrm>
          <a:blipFill>
            <a:blip r:embed="rId6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GB" dirty="0"/>
          </a:p>
        </p:txBody>
      </p:sp>
      <p:sp>
        <p:nvSpPr>
          <p:cNvPr id="1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5734800" y="54002"/>
            <a:ext cx="30861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7" name="Title 6"/>
          <p:cNvSpPr>
            <a:spLocks noGrp="1"/>
          </p:cNvSpPr>
          <p:nvPr>
            <p:ph type="title" hasCustomPrompt="1"/>
          </p:nvPr>
        </p:nvSpPr>
        <p:spPr>
          <a:xfrm>
            <a:off x="323850" y="731838"/>
            <a:ext cx="5037064" cy="681037"/>
          </a:xfrm>
        </p:spPr>
        <p:txBody>
          <a:bodyPr wrap="square"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 smtClean="0"/>
              <a:t>Click to add Slide Title – increase font size for large audience – max. two lines</a:t>
            </a:r>
            <a:endParaRPr lang="en-GB" dirty="0"/>
          </a:p>
        </p:txBody>
      </p:sp>
      <p:sp>
        <p:nvSpPr>
          <p:cNvPr id="15" name="Slide Number Placeholder 5"/>
          <p:cNvSpPr txBox="1">
            <a:spLocks/>
          </p:cNvSpPr>
          <p:nvPr userDrawn="1"/>
        </p:nvSpPr>
        <p:spPr>
          <a:xfrm>
            <a:off x="8284787" y="6668489"/>
            <a:ext cx="535363" cy="9233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600" smtClean="0">
                <a:solidFill>
                  <a:schemeClr val="tx1"/>
                </a:solidFill>
              </a:rPr>
              <a:pPr/>
              <a:t>‹#›</a:t>
            </a:fld>
            <a:endParaRPr lang="en-GB" sz="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180022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323850" y="7032237"/>
            <a:ext cx="2064442" cy="92333"/>
          </a:xfrm>
        </p:spPr>
        <p:txBody>
          <a:bodyPr/>
          <a:lstStyle/>
          <a:p>
            <a:fld id="{10E7BC8F-BFD3-4858-915D-99D9576C8415}" type="datetime1">
              <a:rPr lang="en-GB" noProof="0" smtClean="0"/>
              <a:pPr/>
              <a:t>01/08/2017</a:t>
            </a:fld>
            <a:endParaRPr lang="en-GB" noProof="0" dirty="0"/>
          </a:p>
        </p:txBody>
      </p:sp>
      <p:sp>
        <p:nvSpPr>
          <p:cNvPr id="7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6858000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323851" y="3018795"/>
            <a:ext cx="7260432" cy="2243691"/>
          </a:xfrm>
          <a:prstGeom prst="rect">
            <a:avLst/>
          </a:prstGeom>
        </p:spPr>
        <p:txBody>
          <a:bodyPr anchor="b" anchorCtr="0"/>
          <a:lstStyle>
            <a:lvl1pPr algn="l">
              <a:defRPr sz="405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Breaker slide. This page is used</a:t>
            </a:r>
            <a:br>
              <a:rPr lang="en-US" dirty="0" smtClean="0"/>
            </a:br>
            <a:r>
              <a:rPr lang="en-US" dirty="0" smtClean="0"/>
              <a:t>as a break in the presentation</a:t>
            </a:r>
            <a:br>
              <a:rPr lang="en-US" dirty="0" smtClean="0"/>
            </a:br>
            <a:r>
              <a:rPr lang="en-US" dirty="0" smtClean="0"/>
              <a:t>and for highlighting messages</a:t>
            </a:r>
            <a:br>
              <a:rPr lang="en-US" dirty="0" smtClean="0"/>
            </a:br>
            <a:r>
              <a:rPr lang="en-US" dirty="0" smtClean="0"/>
              <a:t>that are important...</a:t>
            </a:r>
            <a:endParaRPr lang="en-GB" dirty="0"/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52" hasCustomPrompt="1"/>
          </p:nvPr>
        </p:nvSpPr>
        <p:spPr>
          <a:xfrm>
            <a:off x="7506450" y="252000"/>
            <a:ext cx="1314450" cy="198438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GB" dirty="0"/>
          </a:p>
        </p:txBody>
      </p:sp>
      <p:sp>
        <p:nvSpPr>
          <p:cNvPr id="9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5734800" y="54002"/>
            <a:ext cx="30861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0" name="Slide Number Placeholder 5"/>
          <p:cNvSpPr txBox="1">
            <a:spLocks/>
          </p:cNvSpPr>
          <p:nvPr userDrawn="1"/>
        </p:nvSpPr>
        <p:spPr>
          <a:xfrm>
            <a:off x="8284787" y="6668489"/>
            <a:ext cx="535363" cy="9233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600" smtClean="0">
                <a:solidFill>
                  <a:schemeClr val="tx1"/>
                </a:solidFill>
              </a:rPr>
              <a:pPr/>
              <a:t>‹#›</a:t>
            </a:fld>
            <a:endParaRPr lang="en-GB" sz="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929525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nske Bank Quick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2812364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0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4" name="TextBox 213"/>
          <p:cNvSpPr txBox="1"/>
          <p:nvPr userDrawn="1"/>
        </p:nvSpPr>
        <p:spPr>
          <a:xfrm>
            <a:off x="324000" y="5347234"/>
            <a:ext cx="4521650" cy="1213904"/>
          </a:xfrm>
          <a:prstGeom prst="rect">
            <a:avLst/>
          </a:prstGeom>
          <a:noFill/>
          <a:ln w="9525">
            <a:solidFill>
              <a:schemeClr val="accent2"/>
            </a:solidFill>
          </a:ln>
        </p:spPr>
        <p:txBody>
          <a:bodyPr wrap="square" lIns="15188" tIns="15188" rIns="15188" bIns="15188" rtlCol="0" anchor="b">
            <a:noAutofit/>
          </a:bodyPr>
          <a:lstStyle/>
          <a:p>
            <a:endParaRPr lang="en-GB" sz="750" dirty="0" smtClean="0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352800" y="7084606"/>
            <a:ext cx="2057400" cy="92333"/>
          </a:xfrm>
        </p:spPr>
        <p:txBody>
          <a:bodyPr/>
          <a:lstStyle/>
          <a:p>
            <a:fld id="{84F482FB-B023-4CBB-8046-4D830E895C90}" type="datetime1">
              <a:rPr lang="en-GB" smtClean="0"/>
              <a:t>01/08/2017</a:t>
            </a:fld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324000" y="741600"/>
            <a:ext cx="8496150" cy="332399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 smtClean="0"/>
              <a:t>Design Guidelines for Danske Bank PowerPoint Presentations</a:t>
            </a:r>
            <a:endParaRPr lang="en-GB" dirty="0"/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8284787" y="6668489"/>
            <a:ext cx="535363" cy="9233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600" smtClean="0">
                <a:solidFill>
                  <a:schemeClr val="tx1"/>
                </a:solidFill>
              </a:rPr>
              <a:pPr/>
              <a:t>‹#›</a:t>
            </a:fld>
            <a:endParaRPr lang="en-GB" sz="600" dirty="0">
              <a:solidFill>
                <a:schemeClr val="tx1"/>
              </a:solidFill>
            </a:endParaRPr>
          </a:p>
        </p:txBody>
      </p:sp>
      <p:sp>
        <p:nvSpPr>
          <p:cNvPr id="225" name="TextBox 224"/>
          <p:cNvSpPr txBox="1"/>
          <p:nvPr userDrawn="1"/>
        </p:nvSpPr>
        <p:spPr>
          <a:xfrm>
            <a:off x="4924347" y="1796401"/>
            <a:ext cx="3888144" cy="4764737"/>
          </a:xfrm>
          <a:prstGeom prst="rect">
            <a:avLst/>
          </a:prstGeom>
          <a:noFill/>
          <a:ln w="9525">
            <a:solidFill>
              <a:schemeClr val="accent2"/>
            </a:solidFill>
          </a:ln>
        </p:spPr>
        <p:txBody>
          <a:bodyPr wrap="square" lIns="15188" tIns="15188" rIns="15188" bIns="15188" rtlCol="0" anchor="b">
            <a:noAutofit/>
          </a:bodyPr>
          <a:lstStyle/>
          <a:p>
            <a:endParaRPr lang="en-GB" sz="750" dirty="0" smtClean="0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217" name="TextBox 216"/>
          <p:cNvSpPr txBox="1"/>
          <p:nvPr userDrawn="1"/>
        </p:nvSpPr>
        <p:spPr>
          <a:xfrm>
            <a:off x="324000" y="1796401"/>
            <a:ext cx="2203878" cy="3444839"/>
          </a:xfrm>
          <a:prstGeom prst="rect">
            <a:avLst/>
          </a:prstGeom>
          <a:noFill/>
          <a:ln w="9525">
            <a:solidFill>
              <a:schemeClr val="accent2"/>
            </a:solidFill>
          </a:ln>
        </p:spPr>
        <p:txBody>
          <a:bodyPr wrap="square" lIns="15188" tIns="15188" rIns="15188" bIns="15188" rtlCol="0" anchor="b">
            <a:noAutofit/>
          </a:bodyPr>
          <a:lstStyle/>
          <a:p>
            <a:endParaRPr lang="en-GB" sz="750" dirty="0" smtClean="0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218" name="TextBox 217"/>
          <p:cNvSpPr txBox="1"/>
          <p:nvPr userDrawn="1"/>
        </p:nvSpPr>
        <p:spPr>
          <a:xfrm>
            <a:off x="2623760" y="1796400"/>
            <a:ext cx="2203881" cy="3444840"/>
          </a:xfrm>
          <a:prstGeom prst="rect">
            <a:avLst/>
          </a:prstGeom>
          <a:noFill/>
          <a:ln w="9525">
            <a:solidFill>
              <a:schemeClr val="accent2"/>
            </a:solidFill>
          </a:ln>
        </p:spPr>
        <p:txBody>
          <a:bodyPr wrap="square" lIns="15188" tIns="15188" rIns="15188" bIns="15188" rtlCol="0" anchor="b">
            <a:noAutofit/>
          </a:bodyPr>
          <a:lstStyle/>
          <a:p>
            <a:endParaRPr lang="en-GB" sz="750" dirty="0" smtClean="0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209" name="TextBox 208"/>
          <p:cNvSpPr txBox="1"/>
          <p:nvPr userDrawn="1"/>
        </p:nvSpPr>
        <p:spPr>
          <a:xfrm>
            <a:off x="381239" y="1885227"/>
            <a:ext cx="1624606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en-GB" sz="750" b="1" dirty="0" smtClean="0">
                <a:solidFill>
                  <a:sysClr val="windowText" lastClr="000000"/>
                </a:solidFill>
                <a:cs typeface="Arial" pitchFamily="34" charset="0"/>
              </a:rPr>
              <a:t>Select slide layouts</a:t>
            </a:r>
          </a:p>
        </p:txBody>
      </p:sp>
      <p:sp>
        <p:nvSpPr>
          <p:cNvPr id="210" name="TextBox 209"/>
          <p:cNvSpPr txBox="1"/>
          <p:nvPr userDrawn="1"/>
        </p:nvSpPr>
        <p:spPr>
          <a:xfrm>
            <a:off x="381240" y="2394009"/>
            <a:ext cx="2122505" cy="3462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750" dirty="0" smtClean="0">
                <a:solidFill>
                  <a:sysClr val="windowText" lastClr="000000"/>
                </a:solidFill>
                <a:cs typeface="Arial" pitchFamily="34" charset="0"/>
              </a:rPr>
              <a:t>Find Title Page, Tile Page_Picture, </a:t>
            </a:r>
            <a:br>
              <a:rPr lang="en-GB" sz="750" dirty="0" smtClean="0">
                <a:solidFill>
                  <a:sysClr val="windowText" lastClr="000000"/>
                </a:solidFill>
                <a:cs typeface="Arial" pitchFamily="34" charset="0"/>
              </a:rPr>
            </a:br>
            <a:r>
              <a:rPr lang="en-GB" sz="750" dirty="0" smtClean="0">
                <a:solidFill>
                  <a:sysClr val="windowText" lastClr="000000"/>
                </a:solidFill>
                <a:cs typeface="Arial" pitchFamily="34" charset="0"/>
              </a:rPr>
              <a:t>Title and Content, Title and Content_Chapter Head, Title Only etc.,</a:t>
            </a:r>
          </a:p>
        </p:txBody>
      </p:sp>
      <p:sp>
        <p:nvSpPr>
          <p:cNvPr id="211" name="TextBox 210"/>
          <p:cNvSpPr txBox="1"/>
          <p:nvPr userDrawn="1"/>
        </p:nvSpPr>
        <p:spPr>
          <a:xfrm>
            <a:off x="381240" y="2042746"/>
            <a:ext cx="2105093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750" b="1" dirty="0" smtClean="0">
                <a:solidFill>
                  <a:sysClr val="windowText" lastClr="000000"/>
                </a:solidFill>
                <a:cs typeface="Arial" pitchFamily="34" charset="0"/>
              </a:rPr>
              <a:t>Home </a:t>
            </a:r>
            <a:r>
              <a:rPr lang="en-GB" sz="750" b="1" dirty="0" smtClean="0">
                <a:solidFill>
                  <a:sysClr val="windowText" lastClr="000000"/>
                </a:solidFill>
                <a:cs typeface="Arial" pitchFamily="34" charset="0"/>
                <a:sym typeface="Wingdings 3"/>
              </a:rPr>
              <a:t> </a:t>
            </a:r>
            <a:r>
              <a:rPr lang="en-GB" sz="750" b="1" dirty="0" smtClean="0">
                <a:solidFill>
                  <a:sysClr val="windowText" lastClr="000000"/>
                </a:solidFill>
                <a:cs typeface="Arial" pitchFamily="34" charset="0"/>
              </a:rPr>
              <a:t>New Slide (drop-down menu)</a:t>
            </a:r>
          </a:p>
          <a:p>
            <a:r>
              <a:rPr lang="en-GB" sz="750" b="1" dirty="0" smtClean="0">
                <a:solidFill>
                  <a:sysClr val="windowText" lastClr="000000"/>
                </a:solidFill>
                <a:cs typeface="Arial" pitchFamily="34" charset="0"/>
              </a:rPr>
              <a:t>Home </a:t>
            </a:r>
            <a:r>
              <a:rPr lang="en-GB" sz="750" b="1" dirty="0" smtClean="0">
                <a:solidFill>
                  <a:sysClr val="windowText" lastClr="000000"/>
                </a:solidFill>
                <a:cs typeface="Arial" pitchFamily="34" charset="0"/>
                <a:sym typeface="Wingdings 3"/>
              </a:rPr>
              <a:t> </a:t>
            </a:r>
            <a:r>
              <a:rPr lang="en-GB" sz="750" b="1" dirty="0" smtClean="0">
                <a:solidFill>
                  <a:sysClr val="windowText" lastClr="000000"/>
                </a:solidFill>
                <a:cs typeface="Arial" pitchFamily="34" charset="0"/>
              </a:rPr>
              <a:t>Layout (to change existing layout)</a:t>
            </a:r>
          </a:p>
        </p:txBody>
      </p:sp>
      <p:sp>
        <p:nvSpPr>
          <p:cNvPr id="212" name="TextBox 211"/>
          <p:cNvSpPr txBox="1"/>
          <p:nvPr userDrawn="1"/>
        </p:nvSpPr>
        <p:spPr>
          <a:xfrm>
            <a:off x="381240" y="5435980"/>
            <a:ext cx="1624606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en-GB" sz="750" b="1" dirty="0" smtClean="0">
                <a:solidFill>
                  <a:sysClr val="windowText" lastClr="000000"/>
                </a:solidFill>
                <a:cs typeface="Arial" pitchFamily="34" charset="0"/>
              </a:rPr>
              <a:t>Display drawing guides  (Alt + F9)</a:t>
            </a:r>
          </a:p>
        </p:txBody>
      </p:sp>
      <p:sp>
        <p:nvSpPr>
          <p:cNvPr id="213" name="TextBox 212"/>
          <p:cNvSpPr txBox="1"/>
          <p:nvPr userDrawn="1"/>
        </p:nvSpPr>
        <p:spPr>
          <a:xfrm>
            <a:off x="381240" y="5568942"/>
            <a:ext cx="4377226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750" dirty="0" smtClean="0">
                <a:solidFill>
                  <a:sysClr val="windowText" lastClr="000000"/>
                </a:solidFill>
                <a:cs typeface="Arial" pitchFamily="34" charset="0"/>
              </a:rPr>
              <a:t>Display Drawing Guides on the screen to view the content area. </a:t>
            </a:r>
          </a:p>
        </p:txBody>
      </p:sp>
      <p:sp>
        <p:nvSpPr>
          <p:cNvPr id="219" name="TextBox 218"/>
          <p:cNvSpPr txBox="1"/>
          <p:nvPr userDrawn="1"/>
        </p:nvSpPr>
        <p:spPr>
          <a:xfrm>
            <a:off x="2702988" y="1885227"/>
            <a:ext cx="1624606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en-GB" sz="750" b="1" dirty="0" smtClean="0">
                <a:solidFill>
                  <a:sysClr val="windowText" lastClr="000000"/>
                </a:solidFill>
                <a:cs typeface="Arial" pitchFamily="34" charset="0"/>
              </a:rPr>
              <a:t>Title page</a:t>
            </a:r>
          </a:p>
        </p:txBody>
      </p:sp>
      <p:sp>
        <p:nvSpPr>
          <p:cNvPr id="220" name="TextBox 219"/>
          <p:cNvSpPr txBox="1"/>
          <p:nvPr userDrawn="1"/>
        </p:nvSpPr>
        <p:spPr>
          <a:xfrm>
            <a:off x="3199477" y="2022870"/>
            <a:ext cx="1501385" cy="3462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750" dirty="0" smtClean="0">
                <a:solidFill>
                  <a:sysClr val="windowText" lastClr="000000"/>
                </a:solidFill>
                <a:cs typeface="Arial" pitchFamily="34" charset="0"/>
              </a:rPr>
              <a:t>Danske Human Medium Italic (Headings) is used for Title page headings, Font 32 </a:t>
            </a:r>
          </a:p>
        </p:txBody>
      </p:sp>
      <p:sp>
        <p:nvSpPr>
          <p:cNvPr id="221" name="TextBox 220"/>
          <p:cNvSpPr txBox="1"/>
          <p:nvPr userDrawn="1"/>
        </p:nvSpPr>
        <p:spPr>
          <a:xfrm>
            <a:off x="2702987" y="3447502"/>
            <a:ext cx="2085144" cy="57708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tabLst>
                <a:tab pos="92423" algn="l"/>
              </a:tabLst>
            </a:pPr>
            <a:r>
              <a:rPr lang="en-GB" sz="750" b="1" dirty="0" smtClean="0">
                <a:solidFill>
                  <a:sysClr val="windowText" lastClr="000000"/>
                </a:solidFill>
                <a:cs typeface="Arial" pitchFamily="34" charset="0"/>
              </a:rPr>
              <a:t>Titles: </a:t>
            </a:r>
            <a:r>
              <a:rPr lang="en-GB" sz="750" dirty="0" smtClean="0">
                <a:solidFill>
                  <a:sysClr val="windowText" lastClr="000000"/>
                </a:solidFill>
                <a:cs typeface="Arial" pitchFamily="34" charset="0"/>
              </a:rPr>
              <a:t>Danske Human Medium Italic (Headings), 	</a:t>
            </a:r>
            <a:br>
              <a:rPr lang="en-GB" sz="750" dirty="0" smtClean="0">
                <a:solidFill>
                  <a:sysClr val="windowText" lastClr="000000"/>
                </a:solidFill>
                <a:cs typeface="Arial" pitchFamily="34" charset="0"/>
              </a:rPr>
            </a:br>
            <a:r>
              <a:rPr lang="en-GB" sz="750" dirty="0" smtClean="0">
                <a:solidFill>
                  <a:sysClr val="windowText" lastClr="000000"/>
                </a:solidFill>
                <a:cs typeface="Arial" pitchFamily="34" charset="0"/>
              </a:rPr>
              <a:t>Font size 24 (RGB- 0,55,85)</a:t>
            </a:r>
          </a:p>
          <a:p>
            <a:r>
              <a:rPr lang="en-GB" sz="750" b="1" dirty="0" smtClean="0">
                <a:solidFill>
                  <a:sysClr val="windowText" lastClr="000000"/>
                </a:solidFill>
                <a:cs typeface="Arial" pitchFamily="34" charset="0"/>
              </a:rPr>
              <a:t>Subtitles: </a:t>
            </a:r>
            <a:r>
              <a:rPr lang="en-GB" sz="750" dirty="0" smtClean="0">
                <a:solidFill>
                  <a:sysClr val="windowText" lastClr="000000"/>
                </a:solidFill>
                <a:cs typeface="Arial" pitchFamily="34" charset="0"/>
              </a:rPr>
              <a:t>Danske Text (Body)</a:t>
            </a:r>
          </a:p>
          <a:p>
            <a:r>
              <a:rPr lang="en-GB" sz="750" b="1" dirty="0" smtClean="0">
                <a:solidFill>
                  <a:sysClr val="windowText" lastClr="000000"/>
                </a:solidFill>
                <a:cs typeface="Arial" pitchFamily="34" charset="0"/>
              </a:rPr>
              <a:t>Body text: </a:t>
            </a:r>
            <a:r>
              <a:rPr lang="en-GB" sz="750" dirty="0" smtClean="0">
                <a:solidFill>
                  <a:sysClr val="windowText" lastClr="000000"/>
                </a:solidFill>
                <a:cs typeface="Arial" pitchFamily="34" charset="0"/>
              </a:rPr>
              <a:t>Danske Text (Body)</a:t>
            </a:r>
          </a:p>
        </p:txBody>
      </p:sp>
      <p:sp>
        <p:nvSpPr>
          <p:cNvPr id="222" name="TextBox 221"/>
          <p:cNvSpPr txBox="1"/>
          <p:nvPr userDrawn="1"/>
        </p:nvSpPr>
        <p:spPr>
          <a:xfrm>
            <a:off x="2702990" y="2689592"/>
            <a:ext cx="199787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en-GB" sz="750" b="1" dirty="0" smtClean="0">
                <a:solidFill>
                  <a:sysClr val="windowText" lastClr="000000"/>
                </a:solidFill>
                <a:cs typeface="Arial" pitchFamily="34" charset="0"/>
              </a:rPr>
              <a:t>Title and Content</a:t>
            </a:r>
          </a:p>
        </p:txBody>
      </p:sp>
      <p:sp>
        <p:nvSpPr>
          <p:cNvPr id="223" name="TextBox 222"/>
          <p:cNvSpPr txBox="1"/>
          <p:nvPr userDrawn="1"/>
        </p:nvSpPr>
        <p:spPr>
          <a:xfrm>
            <a:off x="2702987" y="4300919"/>
            <a:ext cx="2085144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7505" indent="-37505"/>
            <a:r>
              <a:rPr lang="en-GB" sz="750" b="1" dirty="0" smtClean="0"/>
              <a:t>Bullet Points</a:t>
            </a:r>
          </a:p>
          <a:p>
            <a:pPr marL="176400" indent="-176400">
              <a:buFont typeface="Arial" panose="020B0604020202020204" pitchFamily="34" charset="0"/>
              <a:buChar char="•"/>
            </a:pPr>
            <a:r>
              <a:rPr lang="en-GB" sz="750" dirty="0" smtClean="0"/>
              <a:t>First level: Filled Round Bullet</a:t>
            </a:r>
          </a:p>
          <a:p>
            <a:pPr marL="356400" lvl="1" indent="-180000">
              <a:buFont typeface="Danske Text" panose="00000400000000000000" pitchFamily="2" charset="0"/>
              <a:buChar char="−"/>
            </a:pPr>
            <a:r>
              <a:rPr lang="en-GB" sz="750" dirty="0" smtClean="0"/>
              <a:t>Second level: En Dash</a:t>
            </a:r>
          </a:p>
          <a:p>
            <a:pPr marL="446400" lvl="2" indent="-90000">
              <a:buFont typeface="Danske Text" panose="00000400000000000000" pitchFamily="2" charset="0"/>
              <a:buChar char="∙"/>
            </a:pPr>
            <a:r>
              <a:rPr lang="en-GB" sz="750" dirty="0" smtClean="0"/>
              <a:t>Third level: Filled small square bullet</a:t>
            </a:r>
          </a:p>
          <a:p>
            <a:pPr marL="626400" lvl="3" indent="-93600">
              <a:buFont typeface="Danske Text" panose="00000400000000000000" pitchFamily="2" charset="0"/>
              <a:buChar char="∙"/>
            </a:pPr>
            <a:r>
              <a:rPr lang="en-GB" sz="750" dirty="0" smtClean="0"/>
              <a:t>Fourth level: Filled small square bullet</a:t>
            </a:r>
          </a:p>
          <a:p>
            <a:pPr marL="810000" lvl="3" indent="-93600">
              <a:buFont typeface="Danske Text" panose="00000400000000000000" pitchFamily="2" charset="0"/>
              <a:buChar char="∙"/>
            </a:pPr>
            <a:r>
              <a:rPr lang="en-GB" sz="750" dirty="0" smtClean="0"/>
              <a:t>Fifth level: Filled small square bullet</a:t>
            </a:r>
          </a:p>
        </p:txBody>
      </p:sp>
      <p:sp>
        <p:nvSpPr>
          <p:cNvPr id="226" name="Content Placeholder 5"/>
          <p:cNvSpPr txBox="1">
            <a:spLocks/>
          </p:cNvSpPr>
          <p:nvPr userDrawn="1"/>
        </p:nvSpPr>
        <p:spPr>
          <a:xfrm>
            <a:off x="5005938" y="4431591"/>
            <a:ext cx="3559299" cy="5078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75" indent="-38175">
              <a:buNone/>
            </a:pPr>
            <a:r>
              <a:rPr lang="en-GB" sz="750" b="1" dirty="0" smtClean="0"/>
              <a:t>Advice</a:t>
            </a:r>
          </a:p>
          <a:p>
            <a:pPr marL="176400" indent="-176400"/>
            <a:r>
              <a:rPr lang="en-GB" sz="750" dirty="0" smtClean="0"/>
              <a:t>Blue should still be the dominant colour in Danske Bank presentations</a:t>
            </a:r>
          </a:p>
          <a:p>
            <a:pPr marL="176400" indent="-176400"/>
            <a:r>
              <a:rPr lang="en-GB" sz="750" dirty="0" smtClean="0"/>
              <a:t>Charts colours are generated based on the colours (Accent 1 to 6) </a:t>
            </a:r>
            <a:br>
              <a:rPr lang="en-GB" sz="750" dirty="0" smtClean="0"/>
            </a:br>
            <a:r>
              <a:rPr lang="en-GB" sz="750" dirty="0" smtClean="0"/>
              <a:t>in the colour scheme. Feel free to change the automatically generated colours</a:t>
            </a:r>
            <a:endParaRPr lang="en-GB" sz="750" dirty="0"/>
          </a:p>
        </p:txBody>
      </p:sp>
      <p:sp>
        <p:nvSpPr>
          <p:cNvPr id="227" name="TextBox 226"/>
          <p:cNvSpPr txBox="1"/>
          <p:nvPr userDrawn="1"/>
        </p:nvSpPr>
        <p:spPr>
          <a:xfrm>
            <a:off x="6227841" y="1885224"/>
            <a:ext cx="1624606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en-GB" sz="750" b="1" dirty="0" smtClean="0">
                <a:solidFill>
                  <a:sysClr val="windowText" lastClr="000000"/>
                </a:solidFill>
                <a:cs typeface="Arial" pitchFamily="34" charset="0"/>
              </a:rPr>
              <a:t>Shape fill and Shape outline colours</a:t>
            </a:r>
          </a:p>
        </p:txBody>
      </p:sp>
      <p:sp>
        <p:nvSpPr>
          <p:cNvPr id="228" name="TextBox 227"/>
          <p:cNvSpPr txBox="1"/>
          <p:nvPr userDrawn="1"/>
        </p:nvSpPr>
        <p:spPr>
          <a:xfrm>
            <a:off x="6227842" y="2087874"/>
            <a:ext cx="1803677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en-GB" sz="750" b="1" dirty="0" smtClean="0">
                <a:solidFill>
                  <a:sysClr val="windowText" lastClr="000000"/>
                </a:solidFill>
                <a:cs typeface="Arial" pitchFamily="34" charset="0"/>
              </a:rPr>
              <a:t>Accent 1–6 (only the last 6 colours)</a:t>
            </a:r>
          </a:p>
        </p:txBody>
      </p:sp>
      <p:sp>
        <p:nvSpPr>
          <p:cNvPr id="229" name="TextBox 228"/>
          <p:cNvSpPr txBox="1"/>
          <p:nvPr userDrawn="1"/>
        </p:nvSpPr>
        <p:spPr>
          <a:xfrm>
            <a:off x="6227841" y="3078070"/>
            <a:ext cx="1624606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en-GB" sz="750" b="1" dirty="0" smtClean="0">
                <a:solidFill>
                  <a:sysClr val="windowText" lastClr="000000"/>
                </a:solidFill>
                <a:cs typeface="Arial" pitchFamily="34" charset="0"/>
              </a:rPr>
              <a:t>All DB colours — use if needed</a:t>
            </a:r>
          </a:p>
        </p:txBody>
      </p:sp>
      <p:sp>
        <p:nvSpPr>
          <p:cNvPr id="230" name="Right Brace 229"/>
          <p:cNvSpPr/>
          <p:nvPr userDrawn="1"/>
        </p:nvSpPr>
        <p:spPr>
          <a:xfrm>
            <a:off x="6027769" y="2775202"/>
            <a:ext cx="68556" cy="676027"/>
          </a:xfrm>
          <a:prstGeom prst="rightBrace">
            <a:avLst/>
          </a:prstGeom>
          <a:ln w="9525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38576" tIns="19289" rIns="38576" bIns="19289" rtlCol="0" anchor="ctr"/>
          <a:lstStyle/>
          <a:p>
            <a:pPr algn="ctr"/>
            <a:endParaRPr lang="en-GB" sz="750" dirty="0"/>
          </a:p>
        </p:txBody>
      </p:sp>
      <p:sp>
        <p:nvSpPr>
          <p:cNvPr id="231" name="TextBox 230"/>
          <p:cNvSpPr txBox="1"/>
          <p:nvPr userDrawn="1"/>
        </p:nvSpPr>
        <p:spPr>
          <a:xfrm>
            <a:off x="5005938" y="5211510"/>
            <a:ext cx="3812834" cy="9694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750" b="1" dirty="0" smtClean="0">
                <a:solidFill>
                  <a:sysClr val="windowText" lastClr="000000"/>
                </a:solidFill>
                <a:cs typeface="Arial" pitchFamily="34" charset="0"/>
              </a:rPr>
              <a:t>Pictures</a:t>
            </a:r>
          </a:p>
          <a:p>
            <a:pPr marL="176400" indent="-176400" defTabSz="431986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GB" sz="750" dirty="0" smtClean="0"/>
              <a:t>In order to sign-up for </a:t>
            </a:r>
            <a:r>
              <a:rPr lang="en-GB" sz="750" dirty="0" smtClean="0">
                <a:hlinkClick r:id="rId6"/>
              </a:rPr>
              <a:t>www.colourbox.com</a:t>
            </a:r>
            <a:r>
              <a:rPr lang="en-GB" sz="750" dirty="0" smtClean="0"/>
              <a:t>, use this link to register with </a:t>
            </a:r>
            <a:br>
              <a:rPr lang="en-GB" sz="750" dirty="0" smtClean="0"/>
            </a:br>
            <a:r>
              <a:rPr lang="en-GB" sz="750" dirty="0" smtClean="0"/>
              <a:t>the Danske Bank account: </a:t>
            </a:r>
            <a:r>
              <a:rPr lang="en-GB" sz="750" dirty="0" smtClean="0">
                <a:hlinkClick r:id="rId7"/>
              </a:rPr>
              <a:t>https://www.colourbox.dk/request/2b45ae3f</a:t>
            </a:r>
            <a:r>
              <a:rPr lang="en-GB" sz="750" dirty="0" smtClean="0"/>
              <a:t> </a:t>
            </a:r>
            <a:br>
              <a:rPr lang="en-GB" sz="750" dirty="0" smtClean="0"/>
            </a:br>
            <a:r>
              <a:rPr lang="en-GB" sz="750" dirty="0" smtClean="0"/>
              <a:t>Follow the instructions, and you’ll be able to download pictures with no charge on Danske Bank’s account</a:t>
            </a:r>
          </a:p>
          <a:p>
            <a:pPr marL="176400" indent="-176400" defTabSz="431986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GB" sz="750" dirty="0" smtClean="0"/>
              <a:t>Danske Bank’s Image bank accessible at </a:t>
            </a:r>
            <a:r>
              <a:rPr lang="en-GB" sz="750" dirty="0" smtClean="0">
                <a:hlinkClick r:id="rId8"/>
              </a:rPr>
              <a:t>https://www.mediabank-online.com</a:t>
            </a:r>
            <a:r>
              <a:rPr lang="en-GB" sz="750" dirty="0" smtClean="0"/>
              <a:t/>
            </a:r>
            <a:br>
              <a:rPr lang="en-GB" sz="750" dirty="0" smtClean="0"/>
            </a:br>
            <a:r>
              <a:rPr lang="en-GB" sz="750" dirty="0" smtClean="0"/>
              <a:t>Username: dbemployee</a:t>
            </a:r>
            <a:br>
              <a:rPr lang="en-GB" sz="750" dirty="0" smtClean="0"/>
            </a:br>
            <a:r>
              <a:rPr lang="en-GB" sz="750" dirty="0" smtClean="0"/>
              <a:t>Password: db135</a:t>
            </a:r>
          </a:p>
        </p:txBody>
      </p:sp>
      <p:sp>
        <p:nvSpPr>
          <p:cNvPr id="232" name="Right Brace 231"/>
          <p:cNvSpPr/>
          <p:nvPr userDrawn="1"/>
        </p:nvSpPr>
        <p:spPr>
          <a:xfrm>
            <a:off x="6027769" y="2177748"/>
            <a:ext cx="68556" cy="450685"/>
          </a:xfrm>
          <a:prstGeom prst="rightBrace">
            <a:avLst/>
          </a:prstGeom>
          <a:ln w="9525" cap="sq">
            <a:solidFill>
              <a:srgbClr val="F0506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38576" tIns="19289" rIns="38576" bIns="19289" rtlCol="0" anchor="ctr"/>
          <a:lstStyle/>
          <a:p>
            <a:pPr algn="ctr"/>
            <a:endParaRPr lang="en-GB" sz="750" dirty="0"/>
          </a:p>
        </p:txBody>
      </p:sp>
      <p:sp>
        <p:nvSpPr>
          <p:cNvPr id="233" name="TextBox 232"/>
          <p:cNvSpPr txBox="1"/>
          <p:nvPr userDrawn="1"/>
        </p:nvSpPr>
        <p:spPr>
          <a:xfrm>
            <a:off x="6227841" y="2367945"/>
            <a:ext cx="1624606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en-GB" sz="750" b="1" dirty="0" smtClean="0">
                <a:solidFill>
                  <a:srgbClr val="F05064"/>
                </a:solidFill>
                <a:cs typeface="Arial" pitchFamily="34" charset="0"/>
              </a:rPr>
              <a:t>Do not use</a:t>
            </a:r>
          </a:p>
        </p:txBody>
      </p:sp>
      <p:grpSp>
        <p:nvGrpSpPr>
          <p:cNvPr id="234" name="Group 233"/>
          <p:cNvGrpSpPr/>
          <p:nvPr userDrawn="1"/>
        </p:nvGrpSpPr>
        <p:grpSpPr>
          <a:xfrm>
            <a:off x="7694583" y="3694451"/>
            <a:ext cx="992343" cy="471537"/>
            <a:chOff x="4215952" y="1774529"/>
            <a:chExt cx="625432" cy="225994"/>
          </a:xfrm>
        </p:grpSpPr>
        <p:sp>
          <p:nvSpPr>
            <p:cNvPr id="235" name="TextBox 234"/>
            <p:cNvSpPr txBox="1"/>
            <p:nvPr/>
          </p:nvSpPr>
          <p:spPr>
            <a:xfrm>
              <a:off x="4306932" y="1774529"/>
              <a:ext cx="534452" cy="55316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en-GB" sz="750" dirty="0" smtClean="0">
                  <a:cs typeface="Arial" pitchFamily="34" charset="0"/>
                </a:rPr>
                <a:t>Danske granite grey</a:t>
              </a:r>
            </a:p>
          </p:txBody>
        </p:sp>
        <p:sp>
          <p:nvSpPr>
            <p:cNvPr id="236" name="Rektangel 18"/>
            <p:cNvSpPr/>
            <p:nvPr/>
          </p:nvSpPr>
          <p:spPr bwMode="auto">
            <a:xfrm>
              <a:off x="4215952" y="1776881"/>
              <a:ext cx="67496" cy="50614"/>
            </a:xfrm>
            <a:prstGeom prst="rect">
              <a:avLst/>
            </a:prstGeom>
            <a:solidFill>
              <a:srgbClr val="363E4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 sz="750" dirty="0" smtClean="0"/>
            </a:p>
          </p:txBody>
        </p:sp>
        <p:sp>
          <p:nvSpPr>
            <p:cNvPr id="237" name="TextBox 236"/>
            <p:cNvSpPr txBox="1"/>
            <p:nvPr/>
          </p:nvSpPr>
          <p:spPr>
            <a:xfrm>
              <a:off x="4306932" y="1859870"/>
              <a:ext cx="475854" cy="55316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en-GB" sz="750" dirty="0" smtClean="0">
                  <a:cs typeface="Arial" pitchFamily="34" charset="0"/>
                </a:rPr>
                <a:t>Danske slate grey</a:t>
              </a:r>
            </a:p>
          </p:txBody>
        </p:sp>
        <p:sp>
          <p:nvSpPr>
            <p:cNvPr id="238" name="Rektangel 18"/>
            <p:cNvSpPr/>
            <p:nvPr/>
          </p:nvSpPr>
          <p:spPr bwMode="auto">
            <a:xfrm>
              <a:off x="4215952" y="1862220"/>
              <a:ext cx="67496" cy="50614"/>
            </a:xfrm>
            <a:prstGeom prst="rect">
              <a:avLst/>
            </a:prstGeom>
            <a:solidFill>
              <a:srgbClr val="7C8180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 sz="750" dirty="0" smtClean="0"/>
            </a:p>
          </p:txBody>
        </p:sp>
        <p:sp>
          <p:nvSpPr>
            <p:cNvPr id="239" name="TextBox 238"/>
            <p:cNvSpPr txBox="1"/>
            <p:nvPr/>
          </p:nvSpPr>
          <p:spPr>
            <a:xfrm>
              <a:off x="4306932" y="1945207"/>
              <a:ext cx="495049" cy="55316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en-GB" sz="750" dirty="0" smtClean="0">
                  <a:cs typeface="Arial" pitchFamily="34" charset="0"/>
                </a:rPr>
                <a:t>Danske stone grey</a:t>
              </a:r>
            </a:p>
          </p:txBody>
        </p:sp>
        <p:sp>
          <p:nvSpPr>
            <p:cNvPr id="240" name="Rektangel 18"/>
            <p:cNvSpPr/>
            <p:nvPr/>
          </p:nvSpPr>
          <p:spPr bwMode="auto">
            <a:xfrm>
              <a:off x="4215952" y="1947559"/>
              <a:ext cx="67496" cy="50614"/>
            </a:xfrm>
            <a:prstGeom prst="rect">
              <a:avLst/>
            </a:prstGeom>
            <a:solidFill>
              <a:srgbClr val="D1D2CE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 sz="750" dirty="0" smtClean="0"/>
            </a:p>
          </p:txBody>
        </p:sp>
      </p:grpSp>
      <p:grpSp>
        <p:nvGrpSpPr>
          <p:cNvPr id="241" name="Group 240"/>
          <p:cNvGrpSpPr/>
          <p:nvPr userDrawn="1"/>
        </p:nvGrpSpPr>
        <p:grpSpPr>
          <a:xfrm>
            <a:off x="6365520" y="3694451"/>
            <a:ext cx="1080507" cy="649599"/>
            <a:chOff x="3154961" y="1945207"/>
            <a:chExt cx="680998" cy="311334"/>
          </a:xfrm>
        </p:grpSpPr>
        <p:sp>
          <p:nvSpPr>
            <p:cNvPr id="242" name="TextBox 241"/>
            <p:cNvSpPr txBox="1"/>
            <p:nvPr/>
          </p:nvSpPr>
          <p:spPr>
            <a:xfrm>
              <a:off x="3245940" y="1945207"/>
              <a:ext cx="515255" cy="55316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en-GB" sz="750" dirty="0" smtClean="0">
                  <a:cs typeface="Arial" pitchFamily="34" charset="0"/>
                </a:rPr>
                <a:t>Danske corn yellow</a:t>
              </a:r>
            </a:p>
          </p:txBody>
        </p:sp>
        <p:sp>
          <p:nvSpPr>
            <p:cNvPr id="243" name="Rektangel 18"/>
            <p:cNvSpPr/>
            <p:nvPr/>
          </p:nvSpPr>
          <p:spPr bwMode="auto">
            <a:xfrm>
              <a:off x="3154961" y="1947559"/>
              <a:ext cx="67496" cy="50614"/>
            </a:xfrm>
            <a:prstGeom prst="rect">
              <a:avLst/>
            </a:prstGeom>
            <a:solidFill>
              <a:srgbClr val="FFE67D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 sz="750" dirty="0" smtClean="0"/>
            </a:p>
          </p:txBody>
        </p:sp>
        <p:sp>
          <p:nvSpPr>
            <p:cNvPr id="244" name="TextBox 243"/>
            <p:cNvSpPr txBox="1"/>
            <p:nvPr/>
          </p:nvSpPr>
          <p:spPr>
            <a:xfrm>
              <a:off x="3245941" y="2115886"/>
              <a:ext cx="543544" cy="55316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en-GB" sz="750" dirty="0" smtClean="0">
                  <a:cs typeface="Arial" pitchFamily="34" charset="0"/>
                </a:rPr>
                <a:t>Danske berry purple</a:t>
              </a:r>
            </a:p>
          </p:txBody>
        </p:sp>
        <p:sp>
          <p:nvSpPr>
            <p:cNvPr id="245" name="TextBox 244"/>
            <p:cNvSpPr txBox="1"/>
            <p:nvPr/>
          </p:nvSpPr>
          <p:spPr>
            <a:xfrm>
              <a:off x="3245941" y="2201225"/>
              <a:ext cx="436452" cy="55316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en-GB" sz="750" dirty="0" smtClean="0">
                  <a:cs typeface="Arial" pitchFamily="34" charset="0"/>
                </a:rPr>
                <a:t>Danske sea blue</a:t>
              </a:r>
            </a:p>
          </p:txBody>
        </p:sp>
        <p:sp>
          <p:nvSpPr>
            <p:cNvPr id="246" name="Rektangel 18"/>
            <p:cNvSpPr/>
            <p:nvPr/>
          </p:nvSpPr>
          <p:spPr bwMode="auto">
            <a:xfrm>
              <a:off x="3154961" y="2118237"/>
              <a:ext cx="67496" cy="50614"/>
            </a:xfrm>
            <a:prstGeom prst="rect">
              <a:avLst/>
            </a:prstGeom>
            <a:solidFill>
              <a:srgbClr val="8750A0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 sz="750" dirty="0" smtClean="0"/>
            </a:p>
          </p:txBody>
        </p:sp>
        <p:sp>
          <p:nvSpPr>
            <p:cNvPr id="247" name="Rektangel 18"/>
            <p:cNvSpPr/>
            <p:nvPr/>
          </p:nvSpPr>
          <p:spPr bwMode="auto">
            <a:xfrm>
              <a:off x="3154961" y="2203577"/>
              <a:ext cx="67496" cy="50614"/>
            </a:xfrm>
            <a:prstGeom prst="rect">
              <a:avLst/>
            </a:prstGeom>
            <a:solidFill>
              <a:srgbClr val="82D2E1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 sz="750" dirty="0" smtClean="0"/>
            </a:p>
          </p:txBody>
        </p:sp>
        <p:sp>
          <p:nvSpPr>
            <p:cNvPr id="248" name="TextBox 247"/>
            <p:cNvSpPr txBox="1"/>
            <p:nvPr/>
          </p:nvSpPr>
          <p:spPr>
            <a:xfrm>
              <a:off x="3245941" y="2030548"/>
              <a:ext cx="590018" cy="55316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en-GB" sz="750" dirty="0" smtClean="0">
                  <a:cs typeface="Arial" pitchFamily="34" charset="0"/>
                </a:rPr>
                <a:t>Danske amber orange</a:t>
              </a:r>
            </a:p>
          </p:txBody>
        </p:sp>
        <p:sp>
          <p:nvSpPr>
            <p:cNvPr id="249" name="Rektangel 18"/>
            <p:cNvSpPr/>
            <p:nvPr/>
          </p:nvSpPr>
          <p:spPr bwMode="auto">
            <a:xfrm>
              <a:off x="3154961" y="2032898"/>
              <a:ext cx="67496" cy="50614"/>
            </a:xfrm>
            <a:prstGeom prst="rect">
              <a:avLst/>
            </a:prstGeom>
            <a:solidFill>
              <a:srgbClr val="FFBE87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 sz="750" dirty="0" smtClean="0"/>
            </a:p>
          </p:txBody>
        </p:sp>
      </p:grpSp>
      <p:sp>
        <p:nvSpPr>
          <p:cNvPr id="250" name="TextBox 249"/>
          <p:cNvSpPr txBox="1"/>
          <p:nvPr userDrawn="1"/>
        </p:nvSpPr>
        <p:spPr>
          <a:xfrm>
            <a:off x="5005938" y="3525485"/>
            <a:ext cx="1624606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en-GB" sz="750" b="1" dirty="0" smtClean="0">
                <a:solidFill>
                  <a:sysClr val="windowText" lastClr="000000"/>
                </a:solidFill>
                <a:cs typeface="Arial" pitchFamily="34" charset="0"/>
              </a:rPr>
              <a:t>Names of DB colours</a:t>
            </a:r>
          </a:p>
        </p:txBody>
      </p:sp>
      <p:grpSp>
        <p:nvGrpSpPr>
          <p:cNvPr id="251" name="Group 250"/>
          <p:cNvGrpSpPr/>
          <p:nvPr userDrawn="1"/>
        </p:nvGrpSpPr>
        <p:grpSpPr>
          <a:xfrm>
            <a:off x="5005940" y="3694452"/>
            <a:ext cx="1110964" cy="649599"/>
            <a:chOff x="3154961" y="1603850"/>
            <a:chExt cx="700194" cy="311334"/>
          </a:xfrm>
        </p:grpSpPr>
        <p:sp>
          <p:nvSpPr>
            <p:cNvPr id="252" name="TextBox 251"/>
            <p:cNvSpPr txBox="1"/>
            <p:nvPr/>
          </p:nvSpPr>
          <p:spPr>
            <a:xfrm>
              <a:off x="3245941" y="1774531"/>
              <a:ext cx="524349" cy="55316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en-GB" sz="750" dirty="0" smtClean="0">
                  <a:cs typeface="Arial" pitchFamily="34" charset="0"/>
                </a:rPr>
                <a:t>Danske autumn red</a:t>
              </a:r>
            </a:p>
          </p:txBody>
        </p:sp>
        <p:sp>
          <p:nvSpPr>
            <p:cNvPr id="253" name="Rektangel 18"/>
            <p:cNvSpPr/>
            <p:nvPr/>
          </p:nvSpPr>
          <p:spPr bwMode="auto">
            <a:xfrm>
              <a:off x="3154961" y="1776881"/>
              <a:ext cx="67496" cy="50614"/>
            </a:xfrm>
            <a:prstGeom prst="rect">
              <a:avLst/>
            </a:prstGeom>
            <a:solidFill>
              <a:srgbClr val="F05064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 sz="750" dirty="0" smtClean="0"/>
            </a:p>
          </p:txBody>
        </p:sp>
        <p:sp>
          <p:nvSpPr>
            <p:cNvPr id="254" name="TextBox 253"/>
            <p:cNvSpPr txBox="1"/>
            <p:nvPr/>
          </p:nvSpPr>
          <p:spPr>
            <a:xfrm>
              <a:off x="3245941" y="1859868"/>
              <a:ext cx="609214" cy="55316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en-GB" sz="750" dirty="0" smtClean="0">
                  <a:cs typeface="Arial" pitchFamily="34" charset="0"/>
                </a:rPr>
                <a:t>Danske meadow green</a:t>
              </a:r>
            </a:p>
          </p:txBody>
        </p:sp>
        <p:sp>
          <p:nvSpPr>
            <p:cNvPr id="255" name="Rektangel 18"/>
            <p:cNvSpPr/>
            <p:nvPr/>
          </p:nvSpPr>
          <p:spPr bwMode="auto">
            <a:xfrm>
              <a:off x="3154961" y="1862220"/>
              <a:ext cx="67496" cy="50614"/>
            </a:xfrm>
            <a:prstGeom prst="rect">
              <a:avLst/>
            </a:prstGeom>
            <a:solidFill>
              <a:srgbClr val="6ED2AA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 sz="750" dirty="0" smtClean="0"/>
            </a:p>
          </p:txBody>
        </p:sp>
        <p:sp>
          <p:nvSpPr>
            <p:cNvPr id="256" name="TextBox 255"/>
            <p:cNvSpPr txBox="1"/>
            <p:nvPr/>
          </p:nvSpPr>
          <p:spPr>
            <a:xfrm>
              <a:off x="3245941" y="1603850"/>
              <a:ext cx="573854" cy="55316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en-GB" sz="750" dirty="0" smtClean="0">
                  <a:cs typeface="Arial" pitchFamily="34" charset="0"/>
                </a:rPr>
                <a:t>Danske midnight blue</a:t>
              </a:r>
            </a:p>
          </p:txBody>
        </p:sp>
        <p:sp>
          <p:nvSpPr>
            <p:cNvPr id="257" name="Rektangel 18"/>
            <p:cNvSpPr/>
            <p:nvPr/>
          </p:nvSpPr>
          <p:spPr bwMode="auto">
            <a:xfrm>
              <a:off x="3154961" y="1606202"/>
              <a:ext cx="67496" cy="50614"/>
            </a:xfrm>
            <a:prstGeom prst="rect">
              <a:avLst/>
            </a:prstGeom>
            <a:solidFill>
              <a:schemeClr val="accent1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 sz="750" dirty="0" smtClean="0"/>
            </a:p>
          </p:txBody>
        </p:sp>
        <p:sp>
          <p:nvSpPr>
            <p:cNvPr id="258" name="TextBox 257"/>
            <p:cNvSpPr txBox="1"/>
            <p:nvPr/>
          </p:nvSpPr>
          <p:spPr>
            <a:xfrm>
              <a:off x="3245941" y="1689192"/>
              <a:ext cx="429380" cy="55316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en-GB" sz="750" dirty="0" smtClean="0">
                  <a:cs typeface="Arial" pitchFamily="34" charset="0"/>
                </a:rPr>
                <a:t>Danske sky blue</a:t>
              </a:r>
            </a:p>
          </p:txBody>
        </p:sp>
        <p:sp>
          <p:nvSpPr>
            <p:cNvPr id="259" name="Rektangel 18"/>
            <p:cNvSpPr/>
            <p:nvPr/>
          </p:nvSpPr>
          <p:spPr bwMode="auto">
            <a:xfrm>
              <a:off x="3154961" y="1691542"/>
              <a:ext cx="67496" cy="50614"/>
            </a:xfrm>
            <a:prstGeom prst="rect">
              <a:avLst/>
            </a:prstGeom>
            <a:solidFill>
              <a:srgbClr val="D7E9F1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 sz="750" dirty="0" smtClean="0"/>
            </a:p>
          </p:txBody>
        </p:sp>
      </p:grpSp>
      <p:grpSp>
        <p:nvGrpSpPr>
          <p:cNvPr id="264" name="Group 263"/>
          <p:cNvGrpSpPr>
            <a:grpSpLocks noChangeAspect="1"/>
          </p:cNvGrpSpPr>
          <p:nvPr userDrawn="1"/>
        </p:nvGrpSpPr>
        <p:grpSpPr>
          <a:xfrm>
            <a:off x="5005940" y="1879939"/>
            <a:ext cx="954726" cy="1542612"/>
            <a:chOff x="5000353" y="1793699"/>
            <a:chExt cx="1095375" cy="1345869"/>
          </a:xfrm>
        </p:grpSpPr>
        <p:pic>
          <p:nvPicPr>
            <p:cNvPr id="265" name="Picture 6"/>
            <p:cNvPicPr>
              <a:picLocks noChangeAspect="1" noChangeArrowheads="1"/>
            </p:cNvPicPr>
            <p:nvPr/>
          </p:nvPicPr>
          <p:blipFill>
            <a:blip r:embed="rId9" cstate="print"/>
            <a:srcRect l="54206" t="6790" r="36826" b="73316"/>
            <a:stretch>
              <a:fillRect/>
            </a:stretch>
          </p:blipFill>
          <p:spPr bwMode="auto">
            <a:xfrm>
              <a:off x="5007598" y="1793699"/>
              <a:ext cx="1078604" cy="134586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66" name="Rectangle 265"/>
            <p:cNvSpPr/>
            <p:nvPr/>
          </p:nvSpPr>
          <p:spPr bwMode="auto">
            <a:xfrm>
              <a:off x="5435600" y="1917160"/>
              <a:ext cx="660128" cy="121920"/>
            </a:xfrm>
            <a:prstGeom prst="rect">
              <a:avLst/>
            </a:prstGeom>
            <a:noFill/>
            <a:ln w="12700" cap="flat" cmpd="sng" algn="ctr">
              <a:solidFill>
                <a:srgbClr val="F0506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en-GB" sz="750" dirty="0">
                <a:latin typeface="+mn-lt"/>
              </a:endParaRPr>
            </a:p>
          </p:txBody>
        </p:sp>
        <p:sp>
          <p:nvSpPr>
            <p:cNvPr id="267" name="Rectangle 266"/>
            <p:cNvSpPr/>
            <p:nvPr/>
          </p:nvSpPr>
          <p:spPr bwMode="auto">
            <a:xfrm>
              <a:off x="5000353" y="2584374"/>
              <a:ext cx="1095375" cy="555066"/>
            </a:xfrm>
            <a:prstGeom prst="rect">
              <a:avLst/>
            </a:prstGeom>
            <a:noFill/>
            <a:ln w="12700" cap="flat" cmpd="sng" algn="ctr">
              <a:solidFill>
                <a:srgbClr val="F0506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en-GB" sz="750" dirty="0">
                <a:latin typeface="+mn-lt"/>
              </a:endParaRPr>
            </a:p>
          </p:txBody>
        </p:sp>
        <p:cxnSp>
          <p:nvCxnSpPr>
            <p:cNvPr id="268" name="Straight Connector 267"/>
            <p:cNvCxnSpPr/>
            <p:nvPr/>
          </p:nvCxnSpPr>
          <p:spPr>
            <a:xfrm>
              <a:off x="5005116" y="2074962"/>
              <a:ext cx="1065847" cy="360385"/>
            </a:xfrm>
            <a:prstGeom prst="line">
              <a:avLst/>
            </a:prstGeom>
            <a:noFill/>
            <a:ln w="12700" cap="flat" cmpd="sng" algn="ctr">
              <a:solidFill>
                <a:srgbClr val="F0506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69" name="Straight Connector 268"/>
            <p:cNvCxnSpPr/>
            <p:nvPr/>
          </p:nvCxnSpPr>
          <p:spPr>
            <a:xfrm flipH="1">
              <a:off x="5000552" y="2075557"/>
              <a:ext cx="1065847" cy="360385"/>
            </a:xfrm>
            <a:prstGeom prst="line">
              <a:avLst/>
            </a:prstGeom>
            <a:noFill/>
            <a:ln w="12700" cap="flat" cmpd="sng" algn="ctr">
              <a:solidFill>
                <a:srgbClr val="F0506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71" name="HEADING placeholder 1"/>
          <p:cNvSpPr>
            <a:spLocks noGrp="1"/>
          </p:cNvSpPr>
          <p:nvPr userDrawn="1">
            <p:ph type="body" sz="quarter" idx="50" hasCustomPrompt="1"/>
          </p:nvPr>
        </p:nvSpPr>
        <p:spPr>
          <a:xfrm>
            <a:off x="324000" y="1522800"/>
            <a:ext cx="2208009" cy="115416"/>
          </a:xfrm>
          <a:noFill/>
        </p:spPr>
        <p:txBody>
          <a:bodyPr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750" b="1" baseline="0">
                <a:solidFill>
                  <a:srgbClr val="003755"/>
                </a:solidFill>
                <a:latin typeface="Danske Text" panose="00000400000000000000" pitchFamily="2" charset="0"/>
              </a:defRPr>
            </a:lvl1pPr>
          </a:lstStyle>
          <a:p>
            <a:pPr lvl="0"/>
            <a:r>
              <a:rPr lang="en-GB" dirty="0" smtClean="0"/>
              <a:t>How to…</a:t>
            </a:r>
            <a:endParaRPr lang="en-US" dirty="0" smtClean="0"/>
          </a:p>
        </p:txBody>
      </p:sp>
      <p:sp>
        <p:nvSpPr>
          <p:cNvPr id="73" name="HEADING placeholder 1"/>
          <p:cNvSpPr>
            <a:spLocks noGrp="1"/>
          </p:cNvSpPr>
          <p:nvPr userDrawn="1">
            <p:ph type="body" sz="quarter" idx="51" hasCustomPrompt="1"/>
          </p:nvPr>
        </p:nvSpPr>
        <p:spPr>
          <a:xfrm>
            <a:off x="2619632" y="1522800"/>
            <a:ext cx="2208009" cy="115416"/>
          </a:xfrm>
          <a:noFill/>
        </p:spPr>
        <p:txBody>
          <a:bodyPr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750" b="1" baseline="0">
                <a:solidFill>
                  <a:srgbClr val="003755"/>
                </a:solidFill>
                <a:latin typeface="Danske Text" panose="00000400000000000000" pitchFamily="2" charset="0"/>
              </a:defRPr>
            </a:lvl1pPr>
          </a:lstStyle>
          <a:p>
            <a:pPr lvl="0"/>
            <a:r>
              <a:rPr lang="en-US" dirty="0" smtClean="0"/>
              <a:t>Text in Danske PowerPoint presentations</a:t>
            </a:r>
          </a:p>
        </p:txBody>
      </p:sp>
      <p:sp>
        <p:nvSpPr>
          <p:cNvPr id="74" name="HEADING placeholder 1"/>
          <p:cNvSpPr>
            <a:spLocks noGrp="1"/>
          </p:cNvSpPr>
          <p:nvPr userDrawn="1">
            <p:ph type="body" sz="quarter" idx="52" hasCustomPrompt="1"/>
          </p:nvPr>
        </p:nvSpPr>
        <p:spPr>
          <a:xfrm>
            <a:off x="4911790" y="1522800"/>
            <a:ext cx="3897101" cy="115416"/>
          </a:xfrm>
          <a:noFill/>
        </p:spPr>
        <p:txBody>
          <a:bodyPr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750" b="1" baseline="0">
                <a:solidFill>
                  <a:srgbClr val="003755"/>
                </a:solidFill>
                <a:latin typeface="Danske Text" panose="00000400000000000000" pitchFamily="2" charset="0"/>
              </a:defRPr>
            </a:lvl1pPr>
          </a:lstStyle>
          <a:p>
            <a:pPr lvl="0"/>
            <a:r>
              <a:rPr lang="en-US" dirty="0" smtClean="0"/>
              <a:t>Colours and Effects in Danske PowerPoint presentations</a:t>
            </a:r>
          </a:p>
        </p:txBody>
      </p:sp>
      <p:pic>
        <p:nvPicPr>
          <p:cNvPr id="283" name="Picture 282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381240" y="2801965"/>
            <a:ext cx="2091260" cy="2217709"/>
          </a:xfrm>
          <a:prstGeom prst="rect">
            <a:avLst/>
          </a:prstGeom>
        </p:spPr>
      </p:pic>
      <p:pic>
        <p:nvPicPr>
          <p:cNvPr id="284" name="Picture 283"/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2689907" y="2029249"/>
            <a:ext cx="450742" cy="479002"/>
          </a:xfrm>
          <a:prstGeom prst="rect">
            <a:avLst/>
          </a:prstGeom>
        </p:spPr>
      </p:pic>
      <p:pic>
        <p:nvPicPr>
          <p:cNvPr id="285" name="Picture 284"/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2689907" y="2832622"/>
            <a:ext cx="465249" cy="493618"/>
          </a:xfrm>
          <a:prstGeom prst="rect">
            <a:avLst/>
          </a:prstGeom>
        </p:spPr>
      </p:pic>
      <p:pic>
        <p:nvPicPr>
          <p:cNvPr id="286" name="Picture 285"/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381240" y="5750290"/>
            <a:ext cx="930546" cy="698986"/>
          </a:xfrm>
          <a:prstGeom prst="rect">
            <a:avLst/>
          </a:prstGeom>
          <a:ln w="3175">
            <a:solidFill>
              <a:schemeClr val="accent3"/>
            </a:solidFill>
          </a:ln>
        </p:spPr>
      </p:pic>
      <p:sp>
        <p:nvSpPr>
          <p:cNvPr id="76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5734050" y="54002"/>
            <a:ext cx="30861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pic>
        <p:nvPicPr>
          <p:cNvPr id="77" name="Picture 76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06459" y="250748"/>
            <a:ext cx="1313691" cy="198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26345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EXTERNA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284715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9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3851" y="4074531"/>
            <a:ext cx="8496299" cy="88639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add Presentation Title – increase font size for large audience – max. two lines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3851" y="5077820"/>
            <a:ext cx="8496299" cy="184666"/>
          </a:xfrm>
        </p:spPr>
        <p:txBody>
          <a:bodyPr anchor="t" anchorCtr="0"/>
          <a:lstStyle>
            <a:lvl1pPr marL="0" indent="0" algn="l">
              <a:buNone/>
              <a:defRPr sz="12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pPr lvl="0"/>
            <a:r>
              <a:rPr lang="en-GB" dirty="0" smtClean="0"/>
              <a:t>Click to add document type / audienc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23851" y="6606934"/>
            <a:ext cx="2064442" cy="123111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B14BAD6-00D0-4A5F-B893-C9F0AB5712B8}" type="datetime1">
              <a:rPr lang="en-GB" smtClean="0"/>
              <a:pPr/>
              <a:t>01/08/2017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734050" y="53852"/>
            <a:ext cx="3086100" cy="123111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2325" y="254562"/>
            <a:ext cx="1647825" cy="248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91094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EXTERNA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218192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1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3850" y="4074531"/>
            <a:ext cx="8496300" cy="886397"/>
          </a:xfrm>
          <a:prstGeom prst="rect">
            <a:avLst/>
          </a:prstGeom>
        </p:spPr>
        <p:txBody>
          <a:bodyPr anchor="t" anchorCtr="0"/>
          <a:lstStyle>
            <a:lvl1pPr algn="l"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GB" dirty="0" smtClean="0"/>
              <a:t>Click to add Presentation Title – increase font size for large audience – max. two lines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3850" y="5077820"/>
            <a:ext cx="8496299" cy="184666"/>
          </a:xfrm>
        </p:spPr>
        <p:txBody>
          <a:bodyPr anchor="t" anchorCtr="0"/>
          <a:lstStyle>
            <a:lvl1pPr marL="0" indent="0" algn="l">
              <a:buNone/>
              <a:defRPr sz="12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pPr lvl="0"/>
            <a:r>
              <a:rPr lang="en-GB" dirty="0" smtClean="0"/>
              <a:t>Click to add document type / audienc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23850" y="6606935"/>
            <a:ext cx="2064442" cy="123111"/>
          </a:xfrm>
        </p:spPr>
        <p:txBody>
          <a:bodyPr>
            <a:spAutoFit/>
          </a:bodyPr>
          <a:lstStyle/>
          <a:p>
            <a:fld id="{461D2423-DC7C-4239-9F6A-F74AADFD9F8E}" type="datetime1">
              <a:rPr lang="en-GB" smtClean="0"/>
              <a:t>01/08/2017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734050" y="53852"/>
            <a:ext cx="3086100" cy="123111"/>
          </a:xfrm>
        </p:spPr>
        <p:txBody>
          <a:bodyPr/>
          <a:lstStyle/>
          <a:p>
            <a:endParaRPr lang="en-GB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5025" y="253007"/>
            <a:ext cx="1635125" cy="2465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10053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08003009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6858000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3850" y="4074531"/>
            <a:ext cx="8496300" cy="886397"/>
          </a:xfrm>
          <a:prstGeom prst="rect">
            <a:avLst/>
          </a:prstGeom>
        </p:spPr>
        <p:txBody>
          <a:bodyPr anchor="t" anchorCtr="0"/>
          <a:lstStyle>
            <a:lvl1pPr algn="l"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GB" dirty="0" smtClean="0"/>
              <a:t>Click to add Presentation Title – increase font size for large audience – max. two lines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3850" y="5077820"/>
            <a:ext cx="8496299" cy="184666"/>
          </a:xfrm>
        </p:spPr>
        <p:txBody>
          <a:bodyPr anchor="t" anchorCtr="0"/>
          <a:lstStyle>
            <a:lvl1pPr marL="0" indent="0" algn="l">
              <a:buNone/>
              <a:defRPr sz="12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pPr lvl="0"/>
            <a:r>
              <a:rPr lang="en-GB" dirty="0" smtClean="0"/>
              <a:t>Click to add document type / audienc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23850" y="6606935"/>
            <a:ext cx="2064442" cy="123111"/>
          </a:xfrm>
        </p:spPr>
        <p:txBody>
          <a:bodyPr>
            <a:spAutoFit/>
          </a:bodyPr>
          <a:lstStyle/>
          <a:p>
            <a:fld id="{36B59350-3CA7-4C3D-8DB7-C51C11E35B52}" type="datetime1">
              <a:rPr lang="en-GB" smtClean="0"/>
              <a:t>01/08/2017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734050" y="53852"/>
            <a:ext cx="30861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31" hasCustomPrompt="1"/>
          </p:nvPr>
        </p:nvSpPr>
        <p:spPr>
          <a:xfrm>
            <a:off x="7185025" y="251999"/>
            <a:ext cx="1635125" cy="248400"/>
          </a:xfrm>
          <a:blipFill>
            <a:blip r:embed="rId6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en-US" dirty="0" smtClean="0"/>
              <a:t> 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003321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352800" y="7084606"/>
            <a:ext cx="2057400" cy="92333"/>
          </a:xfrm>
        </p:spPr>
        <p:txBody>
          <a:bodyPr/>
          <a:lstStyle/>
          <a:p>
            <a:fld id="{84F482FB-B023-4CBB-8046-4D830E895C90}" type="datetime1">
              <a:rPr lang="en-GB" smtClean="0"/>
              <a:t>01/08/2017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5734050" y="54002"/>
            <a:ext cx="30861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8284787" y="6668489"/>
            <a:ext cx="535363" cy="9233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600" smtClean="0">
                <a:solidFill>
                  <a:schemeClr val="tx1"/>
                </a:solidFill>
              </a:rPr>
              <a:pPr/>
              <a:t>‹#›</a:t>
            </a:fld>
            <a:endParaRPr lang="en-GB" sz="600" dirty="0">
              <a:solidFill>
                <a:schemeClr val="tx1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06459" y="250748"/>
            <a:ext cx="1313691" cy="198120"/>
          </a:xfrm>
          <a:prstGeom prst="rect">
            <a:avLst/>
          </a:prstGeom>
        </p:spPr>
      </p:pic>
      <p:sp>
        <p:nvSpPr>
          <p:cNvPr id="13" name="Title 6"/>
          <p:cNvSpPr>
            <a:spLocks noGrp="1"/>
          </p:cNvSpPr>
          <p:nvPr>
            <p:ph type="title" hasCustomPrompt="1"/>
          </p:nvPr>
        </p:nvSpPr>
        <p:spPr>
          <a:xfrm>
            <a:off x="323924" y="731838"/>
            <a:ext cx="8496226" cy="681037"/>
          </a:xfrm>
        </p:spPr>
        <p:txBody>
          <a:bodyPr wrap="square"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 smtClean="0"/>
              <a:t>Click to add Slide Title – increase font size for large audience – max. two lin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452600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4495631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7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quarter" idx="17"/>
          </p:nvPr>
        </p:nvSpPr>
        <p:spPr>
          <a:xfrm>
            <a:off x="323850" y="1520825"/>
            <a:ext cx="8496226" cy="5040313"/>
          </a:xfrm>
        </p:spPr>
        <p:txBody>
          <a:bodyPr vert="horz" wrap="square" lIns="0" tIns="0" rIns="0" bIns="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GB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52800" y="7019334"/>
            <a:ext cx="2057400" cy="92333"/>
          </a:xfrm>
        </p:spPr>
        <p:txBody>
          <a:bodyPr/>
          <a:lstStyle/>
          <a:p>
            <a:fld id="{F26DF438-9CC2-4A49-A657-78DE437E5C5C}" type="datetime1">
              <a:rPr lang="en-GB" smtClean="0"/>
              <a:t>01/08/2017</a:t>
            </a:fld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323776" y="6637711"/>
            <a:ext cx="8207208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33350" indent="0">
              <a:buNone/>
              <a:defRPr sz="600"/>
            </a:lvl2pPr>
            <a:lvl3pPr marL="267891" indent="0">
              <a:buNone/>
              <a:defRPr sz="600"/>
            </a:lvl3pPr>
            <a:lvl4pPr marL="401240" indent="0">
              <a:buNone/>
              <a:defRPr sz="600"/>
            </a:lvl4pPr>
            <a:lvl5pPr marL="535781" indent="0">
              <a:buNone/>
              <a:defRPr sz="600"/>
            </a:lvl5pPr>
          </a:lstStyle>
          <a:p>
            <a:pPr lvl="0"/>
            <a:r>
              <a:rPr lang="en-GB" dirty="0" smtClean="0"/>
              <a:t>Click to add source</a:t>
            </a:r>
            <a:endParaRPr lang="en-GB" dirty="0"/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8284713" y="6668489"/>
            <a:ext cx="535363" cy="9233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600" smtClean="0">
                <a:solidFill>
                  <a:schemeClr val="tx1"/>
                </a:solidFill>
              </a:rPr>
              <a:pPr/>
              <a:t>‹#›</a:t>
            </a:fld>
            <a:endParaRPr lang="en-GB" sz="600" dirty="0">
              <a:solidFill>
                <a:schemeClr val="tx1"/>
              </a:solidFill>
            </a:endParaRP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323850" y="522000"/>
            <a:ext cx="8496226" cy="185621"/>
          </a:xfrm>
        </p:spPr>
        <p:txBody>
          <a:bodyPr/>
          <a:lstStyle>
            <a:lvl1pPr marL="0" indent="0">
              <a:buNone/>
              <a:defRPr sz="1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 smtClean="0"/>
              <a:t>Click to add chapter header</a:t>
            </a:r>
            <a:endParaRPr lang="en-GB" dirty="0"/>
          </a:p>
        </p:txBody>
      </p:sp>
      <p:sp>
        <p:nvSpPr>
          <p:cNvPr id="20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5734050" y="54002"/>
            <a:ext cx="30861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06459" y="250748"/>
            <a:ext cx="1313691" cy="198120"/>
          </a:xfrm>
          <a:prstGeom prst="rect">
            <a:avLst/>
          </a:prstGeom>
        </p:spPr>
      </p:pic>
      <p:sp>
        <p:nvSpPr>
          <p:cNvPr id="22" name="Title 6"/>
          <p:cNvSpPr>
            <a:spLocks noGrp="1"/>
          </p:cNvSpPr>
          <p:nvPr>
            <p:ph type="title" hasCustomPrompt="1"/>
          </p:nvPr>
        </p:nvSpPr>
        <p:spPr>
          <a:xfrm>
            <a:off x="323850" y="731838"/>
            <a:ext cx="8496226" cy="681037"/>
          </a:xfrm>
        </p:spPr>
        <p:txBody>
          <a:bodyPr wrap="square"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 smtClean="0"/>
              <a:t>Click to add Slide Title – increase font size for large audience – max. two lin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376489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_Chapter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859914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1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52800" y="7019334"/>
            <a:ext cx="2057400" cy="92333"/>
          </a:xfrm>
        </p:spPr>
        <p:txBody>
          <a:bodyPr/>
          <a:lstStyle/>
          <a:p>
            <a:fld id="{A960169C-9E24-485A-B7A8-19D9A23B43F5}" type="datetime1">
              <a:rPr lang="en-GB" smtClean="0"/>
              <a:t>01/08/2017</a:t>
            </a:fld>
            <a:endParaRPr lang="en-GB" dirty="0"/>
          </a:p>
        </p:txBody>
      </p:sp>
      <p:sp>
        <p:nvSpPr>
          <p:cNvPr id="17" name="Content Placeholder 2"/>
          <p:cNvSpPr>
            <a:spLocks noGrp="1"/>
          </p:cNvSpPr>
          <p:nvPr>
            <p:ph sz="quarter" idx="17"/>
          </p:nvPr>
        </p:nvSpPr>
        <p:spPr>
          <a:xfrm>
            <a:off x="323925" y="1797050"/>
            <a:ext cx="8496225" cy="4764087"/>
          </a:xfrm>
        </p:spPr>
        <p:txBody>
          <a:bodyPr/>
          <a:lstStyle>
            <a:lvl2pPr marL="356400" indent="-180000">
              <a:defRPr/>
            </a:lvl2pPr>
            <a:lvl3pPr marL="447675" indent="-904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∙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indent="-920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∙"/>
              <a:defRPr/>
            </a:lvl4pPr>
            <a:lvl5pPr marL="808038" indent="-93663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∙"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323851" y="1522800"/>
            <a:ext cx="8496300" cy="246221"/>
          </a:xfrm>
          <a:noFill/>
        </p:spPr>
        <p:txBody>
          <a:bodyPr wrap="square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 b="1" baseline="0">
                <a:solidFill>
                  <a:srgbClr val="003755"/>
                </a:solidFill>
                <a:latin typeface="Danske Text" panose="00000400000000000000" pitchFamily="2" charset="0"/>
              </a:defRPr>
            </a:lvl1pPr>
          </a:lstStyle>
          <a:p>
            <a:pPr lvl="0"/>
            <a:r>
              <a:rPr lang="en-GB" dirty="0" smtClean="0"/>
              <a:t>Click to add Description (max 1 line)</a:t>
            </a:r>
            <a:endParaRPr lang="en-US" dirty="0" smtClean="0"/>
          </a:p>
        </p:txBody>
      </p:sp>
      <p:sp>
        <p:nvSpPr>
          <p:cNvPr id="13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323776" y="6637711"/>
            <a:ext cx="8207208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33350" indent="0">
              <a:buNone/>
              <a:defRPr sz="600"/>
            </a:lvl2pPr>
            <a:lvl3pPr marL="267891" indent="0">
              <a:buNone/>
              <a:defRPr sz="600"/>
            </a:lvl3pPr>
            <a:lvl4pPr marL="401240" indent="0">
              <a:buNone/>
              <a:defRPr sz="600"/>
            </a:lvl4pPr>
            <a:lvl5pPr marL="535781" indent="0">
              <a:buNone/>
              <a:defRPr sz="600"/>
            </a:lvl5pPr>
          </a:lstStyle>
          <a:p>
            <a:pPr lvl="0"/>
            <a:r>
              <a:rPr lang="en-GB" dirty="0" smtClean="0"/>
              <a:t>Click to add source</a:t>
            </a:r>
            <a:endParaRPr lang="en-GB" dirty="0"/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323850" y="522000"/>
            <a:ext cx="8496300" cy="185621"/>
          </a:xfrm>
        </p:spPr>
        <p:txBody>
          <a:bodyPr/>
          <a:lstStyle>
            <a:lvl1pPr marL="0" indent="0">
              <a:buNone/>
              <a:defRPr sz="1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 smtClean="0"/>
              <a:t>Click to add chapter header</a:t>
            </a:r>
            <a:endParaRPr lang="en-GB" dirty="0"/>
          </a:p>
        </p:txBody>
      </p:sp>
      <p:sp>
        <p:nvSpPr>
          <p:cNvPr id="26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5734050" y="54002"/>
            <a:ext cx="30861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06459" y="250748"/>
            <a:ext cx="1313691" cy="198120"/>
          </a:xfrm>
          <a:prstGeom prst="rect">
            <a:avLst/>
          </a:prstGeom>
        </p:spPr>
      </p:pic>
      <p:sp>
        <p:nvSpPr>
          <p:cNvPr id="28" name="Title 6"/>
          <p:cNvSpPr>
            <a:spLocks noGrp="1"/>
          </p:cNvSpPr>
          <p:nvPr>
            <p:ph type="title" hasCustomPrompt="1"/>
          </p:nvPr>
        </p:nvSpPr>
        <p:spPr>
          <a:xfrm>
            <a:off x="323850" y="731838"/>
            <a:ext cx="8496226" cy="681037"/>
          </a:xfrm>
        </p:spPr>
        <p:txBody>
          <a:bodyPr wrap="square"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 smtClean="0"/>
              <a:t>Click to add Slide Title – increase font size for large audience – max. two lines</a:t>
            </a:r>
            <a:endParaRPr lang="en-GB" dirty="0"/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8284787" y="6668489"/>
            <a:ext cx="535363" cy="9233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600" smtClean="0">
                <a:solidFill>
                  <a:schemeClr val="tx1"/>
                </a:solidFill>
              </a:rPr>
              <a:pPr/>
              <a:t>‹#›</a:t>
            </a:fld>
            <a:endParaRPr lang="en-GB" sz="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753114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23925" y="1524000"/>
            <a:ext cx="4101598" cy="5037138"/>
          </a:xfrm>
        </p:spPr>
        <p:txBody>
          <a:bodyPr vert="horz" wrap="square" lIns="0" tIns="0" rIns="0" bIns="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GB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17269" y="1524000"/>
            <a:ext cx="4102807" cy="5037138"/>
          </a:xfrm>
        </p:spPr>
        <p:txBody>
          <a:bodyPr vert="horz" wrap="square" lIns="0" tIns="0" rIns="0" bIns="0" rtlCol="0"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352800" y="7064193"/>
            <a:ext cx="2057400" cy="92333"/>
          </a:xfrm>
        </p:spPr>
        <p:txBody>
          <a:bodyPr/>
          <a:lstStyle/>
          <a:p>
            <a:fld id="{0DD20B1F-20AE-4F8D-832A-F732FDE213D5}" type="datetime1">
              <a:rPr lang="en-GB" smtClean="0"/>
              <a:t>01/08/2017</a:t>
            </a:fld>
            <a:endParaRPr lang="en-GB" dirty="0"/>
          </a:p>
        </p:txBody>
      </p:sp>
      <p:sp>
        <p:nvSpPr>
          <p:cNvPr id="10" name="Slide Number Placeholder 5"/>
          <p:cNvSpPr txBox="1">
            <a:spLocks/>
          </p:cNvSpPr>
          <p:nvPr/>
        </p:nvSpPr>
        <p:spPr>
          <a:xfrm>
            <a:off x="8284713" y="6668489"/>
            <a:ext cx="535363" cy="9233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600" smtClean="0">
                <a:solidFill>
                  <a:schemeClr val="tx1"/>
                </a:solidFill>
              </a:rPr>
              <a:pPr/>
              <a:t>‹#›</a:t>
            </a:fld>
            <a:endParaRPr lang="en-GB" sz="600" dirty="0">
              <a:solidFill>
                <a:schemeClr val="tx1"/>
              </a:solidFill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5734050" y="54002"/>
            <a:ext cx="30861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06459" y="250748"/>
            <a:ext cx="1313691" cy="198120"/>
          </a:xfrm>
          <a:prstGeom prst="rect">
            <a:avLst/>
          </a:prstGeom>
        </p:spPr>
      </p:pic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323924" y="731838"/>
            <a:ext cx="8496151" cy="681037"/>
          </a:xfrm>
        </p:spPr>
        <p:txBody>
          <a:bodyPr wrap="square"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 smtClean="0"/>
              <a:t>Click to add Slide Title – increase font size for large audience – max. two lin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157497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64918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1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352800" y="7064193"/>
            <a:ext cx="2057400" cy="92333"/>
          </a:xfrm>
        </p:spPr>
        <p:txBody>
          <a:bodyPr/>
          <a:lstStyle/>
          <a:p>
            <a:fld id="{0DD20B1F-20AE-4F8D-832A-F732FDE213D5}" type="datetime1">
              <a:rPr lang="en-GB" smtClean="0"/>
              <a:t>01/08/2017</a:t>
            </a:fld>
            <a:endParaRPr lang="en-GB" dirty="0"/>
          </a:p>
        </p:txBody>
      </p:sp>
      <p:sp>
        <p:nvSpPr>
          <p:cNvPr id="10" name="Slide Number Placeholder 5"/>
          <p:cNvSpPr txBox="1">
            <a:spLocks/>
          </p:cNvSpPr>
          <p:nvPr/>
        </p:nvSpPr>
        <p:spPr>
          <a:xfrm>
            <a:off x="8284713" y="6668489"/>
            <a:ext cx="535363" cy="9233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600" smtClean="0">
                <a:solidFill>
                  <a:schemeClr val="tx1"/>
                </a:solidFill>
              </a:rPr>
              <a:pPr/>
              <a:t>‹#›</a:t>
            </a:fld>
            <a:endParaRPr lang="en-GB" sz="600" dirty="0">
              <a:solidFill>
                <a:schemeClr val="tx1"/>
              </a:solidFill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sz="half" idx="13"/>
          </p:nvPr>
        </p:nvSpPr>
        <p:spPr>
          <a:xfrm>
            <a:off x="323850" y="1524000"/>
            <a:ext cx="8496300" cy="2343294"/>
          </a:xfrm>
        </p:spPr>
        <p:txBody>
          <a:bodyPr vert="horz" wrap="square" lIns="0" tIns="0" rIns="0" bIns="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GB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5"/>
          </p:nvPr>
        </p:nvSpPr>
        <p:spPr>
          <a:xfrm>
            <a:off x="323850" y="4216644"/>
            <a:ext cx="8496300" cy="2344494"/>
          </a:xfrm>
        </p:spPr>
        <p:txBody>
          <a:bodyPr/>
          <a:lstStyle>
            <a:lvl2pPr marL="356400" indent="-180000">
              <a:defRPr/>
            </a:lvl2pPr>
            <a:lvl3pPr marL="447675" indent="-904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∙"/>
              <a:defRPr/>
            </a:lvl3pPr>
            <a:lvl4pPr marL="627063" indent="-920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∙"/>
              <a:defRPr/>
            </a:lvl4pPr>
            <a:lvl5pPr marL="808038" indent="-93663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Danske Text" panose="00000400000000000000" pitchFamily="2" charset="0"/>
              <a:buChar char="∙"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8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5734050" y="54002"/>
            <a:ext cx="30861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06459" y="250748"/>
            <a:ext cx="1313691" cy="198120"/>
          </a:xfrm>
          <a:prstGeom prst="rect">
            <a:avLst/>
          </a:prstGeom>
        </p:spPr>
      </p:pic>
      <p:sp>
        <p:nvSpPr>
          <p:cNvPr id="20" name="Title 6"/>
          <p:cNvSpPr>
            <a:spLocks noGrp="1"/>
          </p:cNvSpPr>
          <p:nvPr>
            <p:ph type="title" hasCustomPrompt="1"/>
          </p:nvPr>
        </p:nvSpPr>
        <p:spPr>
          <a:xfrm>
            <a:off x="323850" y="731838"/>
            <a:ext cx="8496226" cy="681037"/>
          </a:xfrm>
        </p:spPr>
        <p:txBody>
          <a:bodyPr wrap="square"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 smtClean="0"/>
              <a:t>Click to add Slide Title – increase font size for large audience – max. two lin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873430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643975053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53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3925" y="1524000"/>
            <a:ext cx="8496152" cy="503713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23925" y="6606934"/>
            <a:ext cx="2064442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10E7BC8F-BFD3-4858-915D-99D9576C8415}" type="datetime1">
              <a:rPr lang="en-GB" smtClean="0"/>
              <a:pPr/>
              <a:t>01/08/2017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734050" y="53852"/>
            <a:ext cx="30861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323925" y="732075"/>
            <a:ext cx="8496225" cy="66479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GB" noProof="0" dirty="0" smtClean="0"/>
              <a:t>Click to add Slide Title – increase font size for large audience – max. two lines</a:t>
            </a:r>
            <a:endParaRPr lang="en-GB" noProof="0" dirty="0"/>
          </a:p>
        </p:txBody>
      </p:sp>
      <p:sp>
        <p:nvSpPr>
          <p:cNvPr id="2" name="empower - DO NOT DELETE!!!" hidden="1"/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de-DE" sz="1600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8973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6" r:id="rId5"/>
    <p:sldLayoutId id="2147483684" r:id="rId6"/>
    <p:sldLayoutId id="2147483685" r:id="rId7"/>
    <p:sldLayoutId id="2147483688" r:id="rId8"/>
    <p:sldLayoutId id="2147483692" r:id="rId9"/>
    <p:sldLayoutId id="2147483689" r:id="rId10"/>
    <p:sldLayoutId id="2147483691" r:id="rId11"/>
    <p:sldLayoutId id="2147483693" r:id="rId12"/>
    <p:sldLayoutId id="2147483694" r:id="rId13"/>
    <p:sldLayoutId id="2147483695" r:id="rId14"/>
    <p:sldLayoutId id="2147483690" r:id="rId15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76400" indent="-176400" algn="l" defTabSz="6858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lang="en-US" sz="16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356400" indent="-180000" algn="l" defTabSz="685800" rtl="0" eaLnBrk="1" latinLnBrk="0" hangingPunct="1">
        <a:lnSpc>
          <a:spcPct val="100000"/>
        </a:lnSpc>
        <a:spcBef>
          <a:spcPts val="0"/>
        </a:spcBef>
        <a:buFont typeface="Danske Text" panose="00000400000000000000" pitchFamily="2" charset="0"/>
        <a:buChar char="−"/>
        <a:defRPr lang="en-US" sz="16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90000" algn="l" defTabSz="685800" rtl="0" eaLnBrk="1" latinLnBrk="0" hangingPunct="1">
        <a:lnSpc>
          <a:spcPct val="100000"/>
        </a:lnSpc>
        <a:spcBef>
          <a:spcPts val="0"/>
        </a:spcBef>
        <a:buFont typeface="Danske Text" panose="00000400000000000000" pitchFamily="2" charset="0"/>
        <a:buChar char="∙"/>
        <a:defRPr lang="en-US" sz="16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626400" indent="-93600" algn="l" defTabSz="685800" rtl="0" eaLnBrk="1" latinLnBrk="0" hangingPunct="1">
        <a:lnSpc>
          <a:spcPct val="100000"/>
        </a:lnSpc>
        <a:spcBef>
          <a:spcPts val="0"/>
        </a:spcBef>
        <a:buFont typeface="Danske Text" panose="00000400000000000000" pitchFamily="2" charset="0"/>
        <a:buChar char="∙"/>
        <a:defRPr lang="en-US" sz="16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810000" indent="-93600" algn="l" defTabSz="685800" rtl="0" eaLnBrk="1" latinLnBrk="0" hangingPunct="1">
        <a:lnSpc>
          <a:spcPct val="100000"/>
        </a:lnSpc>
        <a:spcBef>
          <a:spcPts val="0"/>
        </a:spcBef>
        <a:buFont typeface="Danske Text" panose="00000400000000000000" pitchFamily="2" charset="0"/>
        <a:buChar char="∙"/>
        <a:defRPr lang="en-GB" sz="1600" kern="1200" noProof="0" dirty="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0" orient="horz" pos="323" userDrawn="1">
          <p15:clr>
            <a:srgbClr val="F26B43"/>
          </p15:clr>
        </p15:guide>
        <p15:guide id="1" pos="204" userDrawn="1">
          <p15:clr>
            <a:srgbClr val="F26B43"/>
          </p15:clr>
        </p15:guide>
        <p15:guide id="2" pos="5556" userDrawn="1">
          <p15:clr>
            <a:srgbClr val="F26B43"/>
          </p15:clr>
        </p15:guide>
        <p15:guide id="3" orient="horz" pos="4133" userDrawn="1">
          <p15:clr>
            <a:srgbClr val="F26B43"/>
          </p15:clr>
        </p15:guide>
        <p15:guide id="4" orient="horz" pos="1132" userDrawn="1">
          <p15:clr>
            <a:srgbClr val="F26B43"/>
          </p15:clr>
        </p15:guide>
        <p15:guide id="5" orient="horz" pos="890" userDrawn="1">
          <p15:clr>
            <a:srgbClr val="F26B43"/>
          </p15:clr>
        </p15:guide>
        <p15:guide id="6" orient="horz" pos="459" userDrawn="1">
          <p15:clr>
            <a:srgbClr val="F26B43"/>
          </p15:clr>
        </p15:guide>
        <p15:guide id="7" orient="horz" pos="96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emf"/><Relationship Id="rId3" Type="http://schemas.openxmlformats.org/officeDocument/2006/relationships/image" Target="../media/image15.emf"/><Relationship Id="rId7" Type="http://schemas.openxmlformats.org/officeDocument/2006/relationships/image" Target="../media/image18.emf"/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7.png"/><Relationship Id="rId5" Type="http://schemas.openxmlformats.org/officeDocument/2006/relationships/image" Target="../media/image17.emf"/><Relationship Id="rId4" Type="http://schemas.openxmlformats.org/officeDocument/2006/relationships/image" Target="../media/image16.emf"/><Relationship Id="rId9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D7E9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900" name="Group 10899"/>
          <p:cNvGrpSpPr/>
          <p:nvPr/>
        </p:nvGrpSpPr>
        <p:grpSpPr>
          <a:xfrm>
            <a:off x="7642226" y="4837544"/>
            <a:ext cx="376237" cy="479152"/>
            <a:chOff x="3591719" y="5970382"/>
            <a:chExt cx="376237" cy="479152"/>
          </a:xfrm>
        </p:grpSpPr>
        <p:sp>
          <p:nvSpPr>
            <p:cNvPr id="10901" name="AutoShape 3"/>
            <p:cNvSpPr>
              <a:spLocks noChangeAspect="1" noChangeArrowheads="1" noTextEdit="1"/>
            </p:cNvSpPr>
            <p:nvPr/>
          </p:nvSpPr>
          <p:spPr bwMode="auto">
            <a:xfrm>
              <a:off x="3611099" y="5975060"/>
              <a:ext cx="336141" cy="4731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902" name="Freeform 5"/>
            <p:cNvSpPr>
              <a:spLocks/>
            </p:cNvSpPr>
            <p:nvPr/>
          </p:nvSpPr>
          <p:spPr bwMode="auto">
            <a:xfrm>
              <a:off x="3591719" y="5984416"/>
              <a:ext cx="174419" cy="263300"/>
            </a:xfrm>
            <a:custGeom>
              <a:avLst/>
              <a:gdLst>
                <a:gd name="T0" fmla="*/ 23 w 109"/>
                <a:gd name="T1" fmla="*/ 78 h 165"/>
                <a:gd name="T2" fmla="*/ 42 w 109"/>
                <a:gd name="T3" fmla="*/ 51 h 165"/>
                <a:gd name="T4" fmla="*/ 59 w 109"/>
                <a:gd name="T5" fmla="*/ 31 h 165"/>
                <a:gd name="T6" fmla="*/ 88 w 109"/>
                <a:gd name="T7" fmla="*/ 15 h 165"/>
                <a:gd name="T8" fmla="*/ 88 w 109"/>
                <a:gd name="T9" fmla="*/ 66 h 165"/>
                <a:gd name="T10" fmla="*/ 72 w 109"/>
                <a:gd name="T11" fmla="*/ 109 h 165"/>
                <a:gd name="T12" fmla="*/ 61 w 109"/>
                <a:gd name="T13" fmla="*/ 137 h 165"/>
                <a:gd name="T14" fmla="*/ 43 w 109"/>
                <a:gd name="T15" fmla="*/ 165 h 165"/>
                <a:gd name="T16" fmla="*/ 30 w 109"/>
                <a:gd name="T17" fmla="*/ 143 h 165"/>
                <a:gd name="T18" fmla="*/ 23 w 109"/>
                <a:gd name="T19" fmla="*/ 109 h 165"/>
                <a:gd name="T20" fmla="*/ 23 w 109"/>
                <a:gd name="T21" fmla="*/ 78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9" h="165">
                  <a:moveTo>
                    <a:pt x="23" y="78"/>
                  </a:moveTo>
                  <a:cubicBezTo>
                    <a:pt x="11" y="41"/>
                    <a:pt x="42" y="51"/>
                    <a:pt x="42" y="51"/>
                  </a:cubicBezTo>
                  <a:cubicBezTo>
                    <a:pt x="40" y="29"/>
                    <a:pt x="59" y="31"/>
                    <a:pt x="59" y="31"/>
                  </a:cubicBezTo>
                  <a:cubicBezTo>
                    <a:pt x="62" y="0"/>
                    <a:pt x="88" y="15"/>
                    <a:pt x="88" y="15"/>
                  </a:cubicBezTo>
                  <a:cubicBezTo>
                    <a:pt x="102" y="24"/>
                    <a:pt x="88" y="66"/>
                    <a:pt x="88" y="66"/>
                  </a:cubicBezTo>
                  <a:cubicBezTo>
                    <a:pt x="109" y="82"/>
                    <a:pt x="72" y="109"/>
                    <a:pt x="72" y="109"/>
                  </a:cubicBezTo>
                  <a:cubicBezTo>
                    <a:pt x="88" y="127"/>
                    <a:pt x="61" y="137"/>
                    <a:pt x="61" y="137"/>
                  </a:cubicBezTo>
                  <a:cubicBezTo>
                    <a:pt x="65" y="164"/>
                    <a:pt x="43" y="165"/>
                    <a:pt x="43" y="165"/>
                  </a:cubicBezTo>
                  <a:cubicBezTo>
                    <a:pt x="25" y="163"/>
                    <a:pt x="30" y="143"/>
                    <a:pt x="30" y="143"/>
                  </a:cubicBezTo>
                  <a:cubicBezTo>
                    <a:pt x="3" y="132"/>
                    <a:pt x="23" y="109"/>
                    <a:pt x="23" y="109"/>
                  </a:cubicBezTo>
                  <a:cubicBezTo>
                    <a:pt x="0" y="92"/>
                    <a:pt x="23" y="78"/>
                    <a:pt x="23" y="78"/>
                  </a:cubicBezTo>
                  <a:close/>
                </a:path>
              </a:pathLst>
            </a:custGeom>
            <a:solidFill>
              <a:srgbClr val="09B89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903" name="Freeform 6"/>
            <p:cNvSpPr>
              <a:spLocks/>
            </p:cNvSpPr>
            <p:nvPr/>
          </p:nvSpPr>
          <p:spPr bwMode="auto">
            <a:xfrm>
              <a:off x="3726042" y="6226999"/>
              <a:ext cx="82197" cy="222535"/>
            </a:xfrm>
            <a:custGeom>
              <a:avLst/>
              <a:gdLst>
                <a:gd name="T0" fmla="*/ 4 w 51"/>
                <a:gd name="T1" fmla="*/ 12 h 140"/>
                <a:gd name="T2" fmla="*/ 18 w 51"/>
                <a:gd name="T3" fmla="*/ 38 h 140"/>
                <a:gd name="T4" fmla="*/ 19 w 51"/>
                <a:gd name="T5" fmla="*/ 39 h 140"/>
                <a:gd name="T6" fmla="*/ 18 w 51"/>
                <a:gd name="T7" fmla="*/ 38 h 140"/>
                <a:gd name="T8" fmla="*/ 23 w 51"/>
                <a:gd name="T9" fmla="*/ 0 h 140"/>
                <a:gd name="T10" fmla="*/ 32 w 51"/>
                <a:gd name="T11" fmla="*/ 5 h 140"/>
                <a:gd name="T12" fmla="*/ 26 w 51"/>
                <a:gd name="T13" fmla="*/ 46 h 140"/>
                <a:gd name="T14" fmla="*/ 26 w 51"/>
                <a:gd name="T15" fmla="*/ 48 h 140"/>
                <a:gd name="T16" fmla="*/ 26 w 51"/>
                <a:gd name="T17" fmla="*/ 46 h 140"/>
                <a:gd name="T18" fmla="*/ 50 w 51"/>
                <a:gd name="T19" fmla="*/ 6 h 140"/>
                <a:gd name="T20" fmla="*/ 51 w 51"/>
                <a:gd name="T21" fmla="*/ 19 h 140"/>
                <a:gd name="T22" fmla="*/ 32 w 51"/>
                <a:gd name="T23" fmla="*/ 63 h 140"/>
                <a:gd name="T24" fmla="*/ 35 w 51"/>
                <a:gd name="T25" fmla="*/ 137 h 140"/>
                <a:gd name="T26" fmla="*/ 19 w 51"/>
                <a:gd name="T27" fmla="*/ 140 h 140"/>
                <a:gd name="T28" fmla="*/ 7 w 51"/>
                <a:gd name="T29" fmla="*/ 138 h 140"/>
                <a:gd name="T30" fmla="*/ 4 w 51"/>
                <a:gd name="T31" fmla="*/ 137 h 140"/>
                <a:gd name="T32" fmla="*/ 10 w 51"/>
                <a:gd name="T33" fmla="*/ 81 h 140"/>
                <a:gd name="T34" fmla="*/ 0 w 51"/>
                <a:gd name="T35" fmla="*/ 25 h 140"/>
                <a:gd name="T36" fmla="*/ 4 w 51"/>
                <a:gd name="T37" fmla="*/ 12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1" h="140">
                  <a:moveTo>
                    <a:pt x="4" y="12"/>
                  </a:moveTo>
                  <a:cubicBezTo>
                    <a:pt x="14" y="21"/>
                    <a:pt x="18" y="34"/>
                    <a:pt x="18" y="38"/>
                  </a:cubicBezTo>
                  <a:cubicBezTo>
                    <a:pt x="18" y="39"/>
                    <a:pt x="19" y="39"/>
                    <a:pt x="19" y="39"/>
                  </a:cubicBezTo>
                  <a:cubicBezTo>
                    <a:pt x="19" y="39"/>
                    <a:pt x="19" y="39"/>
                    <a:pt x="18" y="38"/>
                  </a:cubicBezTo>
                  <a:cubicBezTo>
                    <a:pt x="18" y="32"/>
                    <a:pt x="23" y="0"/>
                    <a:pt x="23" y="0"/>
                  </a:cubicBezTo>
                  <a:cubicBezTo>
                    <a:pt x="32" y="5"/>
                    <a:pt x="32" y="5"/>
                    <a:pt x="32" y="5"/>
                  </a:cubicBezTo>
                  <a:cubicBezTo>
                    <a:pt x="28" y="11"/>
                    <a:pt x="26" y="38"/>
                    <a:pt x="26" y="46"/>
                  </a:cubicBezTo>
                  <a:cubicBezTo>
                    <a:pt x="26" y="47"/>
                    <a:pt x="26" y="47"/>
                    <a:pt x="26" y="48"/>
                  </a:cubicBezTo>
                  <a:cubicBezTo>
                    <a:pt x="26" y="48"/>
                    <a:pt x="26" y="47"/>
                    <a:pt x="26" y="46"/>
                  </a:cubicBezTo>
                  <a:cubicBezTo>
                    <a:pt x="28" y="29"/>
                    <a:pt x="50" y="6"/>
                    <a:pt x="50" y="6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44" y="21"/>
                    <a:pt x="37" y="41"/>
                    <a:pt x="32" y="63"/>
                  </a:cubicBezTo>
                  <a:cubicBezTo>
                    <a:pt x="27" y="85"/>
                    <a:pt x="35" y="137"/>
                    <a:pt x="35" y="137"/>
                  </a:cubicBezTo>
                  <a:cubicBezTo>
                    <a:pt x="35" y="137"/>
                    <a:pt x="23" y="140"/>
                    <a:pt x="19" y="140"/>
                  </a:cubicBezTo>
                  <a:cubicBezTo>
                    <a:pt x="16" y="140"/>
                    <a:pt x="7" y="138"/>
                    <a:pt x="7" y="138"/>
                  </a:cubicBezTo>
                  <a:cubicBezTo>
                    <a:pt x="4" y="137"/>
                    <a:pt x="4" y="137"/>
                    <a:pt x="4" y="137"/>
                  </a:cubicBezTo>
                  <a:cubicBezTo>
                    <a:pt x="7" y="130"/>
                    <a:pt x="10" y="81"/>
                    <a:pt x="10" y="81"/>
                  </a:cubicBezTo>
                  <a:cubicBezTo>
                    <a:pt x="13" y="38"/>
                    <a:pt x="0" y="25"/>
                    <a:pt x="0" y="25"/>
                  </a:cubicBezTo>
                  <a:lnTo>
                    <a:pt x="4" y="12"/>
                  </a:lnTo>
                  <a:close/>
                </a:path>
              </a:pathLst>
            </a:custGeom>
            <a:solidFill>
              <a:srgbClr val="543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904" name="Freeform 7"/>
            <p:cNvSpPr>
              <a:spLocks/>
            </p:cNvSpPr>
            <p:nvPr/>
          </p:nvSpPr>
          <p:spPr bwMode="auto">
            <a:xfrm>
              <a:off x="3754777" y="6287143"/>
              <a:ext cx="2005" cy="2005"/>
            </a:xfrm>
            <a:custGeom>
              <a:avLst/>
              <a:gdLst>
                <a:gd name="T0" fmla="*/ 0 w 1"/>
                <a:gd name="T1" fmla="*/ 0 h 1"/>
                <a:gd name="T2" fmla="*/ 1 w 1"/>
                <a:gd name="T3" fmla="*/ 1 h 1"/>
                <a:gd name="T4" fmla="*/ 0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0" y="1"/>
                    <a:pt x="0" y="0"/>
                  </a:cubicBezTo>
                  <a:close/>
                </a:path>
              </a:pathLst>
            </a:custGeom>
            <a:solidFill>
              <a:srgbClr val="543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905" name="Freeform 8"/>
            <p:cNvSpPr>
              <a:spLocks/>
            </p:cNvSpPr>
            <p:nvPr/>
          </p:nvSpPr>
          <p:spPr bwMode="auto">
            <a:xfrm>
              <a:off x="3768143" y="6299840"/>
              <a:ext cx="0" cy="3342"/>
            </a:xfrm>
            <a:custGeom>
              <a:avLst/>
              <a:gdLst>
                <a:gd name="T0" fmla="*/ 0 h 2"/>
                <a:gd name="T1" fmla="*/ 2 h 2"/>
                <a:gd name="T2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1"/>
                    <a:pt x="0" y="1"/>
                    <a:pt x="0" y="0"/>
                  </a:cubicBezTo>
                  <a:close/>
                </a:path>
              </a:pathLst>
            </a:custGeom>
            <a:solidFill>
              <a:srgbClr val="543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906" name="Freeform 9"/>
            <p:cNvSpPr>
              <a:spLocks/>
            </p:cNvSpPr>
            <p:nvPr/>
          </p:nvSpPr>
          <p:spPr bwMode="auto">
            <a:xfrm>
              <a:off x="3638498" y="6092676"/>
              <a:ext cx="87544" cy="126304"/>
            </a:xfrm>
            <a:custGeom>
              <a:avLst/>
              <a:gdLst>
                <a:gd name="T0" fmla="*/ 18 w 55"/>
                <a:gd name="T1" fmla="*/ 26 h 79"/>
                <a:gd name="T2" fmla="*/ 36 w 55"/>
                <a:gd name="T3" fmla="*/ 6 h 79"/>
                <a:gd name="T4" fmla="*/ 32 w 55"/>
                <a:gd name="T5" fmla="*/ 73 h 79"/>
                <a:gd name="T6" fmla="*/ 16 w 55"/>
                <a:gd name="T7" fmla="*/ 51 h 79"/>
                <a:gd name="T8" fmla="*/ 18 w 55"/>
                <a:gd name="T9" fmla="*/ 2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79">
                  <a:moveTo>
                    <a:pt x="18" y="26"/>
                  </a:moveTo>
                  <a:cubicBezTo>
                    <a:pt x="7" y="0"/>
                    <a:pt x="36" y="6"/>
                    <a:pt x="36" y="6"/>
                  </a:cubicBezTo>
                  <a:cubicBezTo>
                    <a:pt x="55" y="10"/>
                    <a:pt x="32" y="73"/>
                    <a:pt x="32" y="73"/>
                  </a:cubicBezTo>
                  <a:cubicBezTo>
                    <a:pt x="5" y="79"/>
                    <a:pt x="16" y="51"/>
                    <a:pt x="16" y="51"/>
                  </a:cubicBezTo>
                  <a:cubicBezTo>
                    <a:pt x="0" y="35"/>
                    <a:pt x="18" y="26"/>
                    <a:pt x="18" y="26"/>
                  </a:cubicBezTo>
                  <a:close/>
                </a:path>
              </a:pathLst>
            </a:custGeom>
            <a:solidFill>
              <a:srgbClr val="5EC3A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907" name="Freeform 10"/>
            <p:cNvSpPr>
              <a:spLocks/>
            </p:cNvSpPr>
            <p:nvPr/>
          </p:nvSpPr>
          <p:spPr bwMode="auto">
            <a:xfrm>
              <a:off x="3729383" y="6051243"/>
              <a:ext cx="4678" cy="2005"/>
            </a:xfrm>
            <a:custGeom>
              <a:avLst/>
              <a:gdLst>
                <a:gd name="T0" fmla="*/ 0 w 3"/>
                <a:gd name="T1" fmla="*/ 0 h 1"/>
                <a:gd name="T2" fmla="*/ 3 w 3"/>
                <a:gd name="T3" fmla="*/ 1 h 1"/>
                <a:gd name="T4" fmla="*/ 0 w 3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1">
                  <a:moveTo>
                    <a:pt x="0" y="0"/>
                  </a:moveTo>
                  <a:cubicBezTo>
                    <a:pt x="2" y="0"/>
                    <a:pt x="3" y="1"/>
                    <a:pt x="3" y="1"/>
                  </a:cubicBezTo>
                  <a:cubicBezTo>
                    <a:pt x="2" y="1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908" name="Freeform 11"/>
            <p:cNvSpPr>
              <a:spLocks/>
            </p:cNvSpPr>
            <p:nvPr/>
          </p:nvSpPr>
          <p:spPr bwMode="auto">
            <a:xfrm>
              <a:off x="3691291" y="5970382"/>
              <a:ext cx="142342" cy="173751"/>
            </a:xfrm>
            <a:custGeom>
              <a:avLst/>
              <a:gdLst>
                <a:gd name="T0" fmla="*/ 12 w 89"/>
                <a:gd name="T1" fmla="*/ 77 h 109"/>
                <a:gd name="T2" fmla="*/ 9 w 89"/>
                <a:gd name="T3" fmla="*/ 60 h 109"/>
                <a:gd name="T4" fmla="*/ 24 w 89"/>
                <a:gd name="T5" fmla="*/ 51 h 109"/>
                <a:gd name="T6" fmla="*/ 27 w 89"/>
                <a:gd name="T7" fmla="*/ 52 h 109"/>
                <a:gd name="T8" fmla="*/ 24 w 89"/>
                <a:gd name="T9" fmla="*/ 51 h 109"/>
                <a:gd name="T10" fmla="*/ 20 w 89"/>
                <a:gd name="T11" fmla="*/ 33 h 109"/>
                <a:gd name="T12" fmla="*/ 46 w 89"/>
                <a:gd name="T13" fmla="*/ 19 h 109"/>
                <a:gd name="T14" fmla="*/ 67 w 89"/>
                <a:gd name="T15" fmla="*/ 3 h 109"/>
                <a:gd name="T16" fmla="*/ 79 w 89"/>
                <a:gd name="T17" fmla="*/ 19 h 109"/>
                <a:gd name="T18" fmla="*/ 71 w 89"/>
                <a:gd name="T19" fmla="*/ 40 h 109"/>
                <a:gd name="T20" fmla="*/ 59 w 89"/>
                <a:gd name="T21" fmla="*/ 59 h 109"/>
                <a:gd name="T22" fmla="*/ 45 w 89"/>
                <a:gd name="T23" fmla="*/ 83 h 109"/>
                <a:gd name="T24" fmla="*/ 23 w 89"/>
                <a:gd name="T25" fmla="*/ 107 h 109"/>
                <a:gd name="T26" fmla="*/ 3 w 89"/>
                <a:gd name="T27" fmla="*/ 94 h 109"/>
                <a:gd name="T28" fmla="*/ 12 w 89"/>
                <a:gd name="T29" fmla="*/ 7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9" h="109">
                  <a:moveTo>
                    <a:pt x="12" y="77"/>
                  </a:moveTo>
                  <a:cubicBezTo>
                    <a:pt x="6" y="64"/>
                    <a:pt x="9" y="60"/>
                    <a:pt x="9" y="60"/>
                  </a:cubicBezTo>
                  <a:cubicBezTo>
                    <a:pt x="11" y="50"/>
                    <a:pt x="20" y="50"/>
                    <a:pt x="24" y="51"/>
                  </a:cubicBezTo>
                  <a:cubicBezTo>
                    <a:pt x="25" y="51"/>
                    <a:pt x="26" y="52"/>
                    <a:pt x="27" y="52"/>
                  </a:cubicBezTo>
                  <a:cubicBezTo>
                    <a:pt x="27" y="52"/>
                    <a:pt x="26" y="51"/>
                    <a:pt x="24" y="51"/>
                  </a:cubicBezTo>
                  <a:cubicBezTo>
                    <a:pt x="18" y="48"/>
                    <a:pt x="20" y="33"/>
                    <a:pt x="20" y="33"/>
                  </a:cubicBezTo>
                  <a:cubicBezTo>
                    <a:pt x="23" y="9"/>
                    <a:pt x="46" y="19"/>
                    <a:pt x="46" y="19"/>
                  </a:cubicBezTo>
                  <a:cubicBezTo>
                    <a:pt x="47" y="0"/>
                    <a:pt x="67" y="3"/>
                    <a:pt x="67" y="3"/>
                  </a:cubicBezTo>
                  <a:cubicBezTo>
                    <a:pt x="80" y="4"/>
                    <a:pt x="79" y="19"/>
                    <a:pt x="79" y="19"/>
                  </a:cubicBezTo>
                  <a:cubicBezTo>
                    <a:pt x="81" y="27"/>
                    <a:pt x="71" y="40"/>
                    <a:pt x="71" y="40"/>
                  </a:cubicBezTo>
                  <a:cubicBezTo>
                    <a:pt x="89" y="68"/>
                    <a:pt x="59" y="59"/>
                    <a:pt x="59" y="59"/>
                  </a:cubicBezTo>
                  <a:cubicBezTo>
                    <a:pt x="80" y="75"/>
                    <a:pt x="45" y="83"/>
                    <a:pt x="45" y="83"/>
                  </a:cubicBezTo>
                  <a:cubicBezTo>
                    <a:pt x="51" y="109"/>
                    <a:pt x="23" y="107"/>
                    <a:pt x="23" y="107"/>
                  </a:cubicBezTo>
                  <a:cubicBezTo>
                    <a:pt x="5" y="109"/>
                    <a:pt x="3" y="94"/>
                    <a:pt x="3" y="94"/>
                  </a:cubicBezTo>
                  <a:cubicBezTo>
                    <a:pt x="0" y="84"/>
                    <a:pt x="12" y="77"/>
                    <a:pt x="12" y="77"/>
                  </a:cubicBezTo>
                  <a:close/>
                </a:path>
              </a:pathLst>
            </a:custGeom>
            <a:solidFill>
              <a:srgbClr val="5EC3A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909" name="Freeform 12"/>
            <p:cNvSpPr>
              <a:spLocks/>
            </p:cNvSpPr>
            <p:nvPr/>
          </p:nvSpPr>
          <p:spPr bwMode="auto">
            <a:xfrm>
              <a:off x="3742080" y="5987757"/>
              <a:ext cx="176424" cy="170410"/>
            </a:xfrm>
            <a:custGeom>
              <a:avLst/>
              <a:gdLst>
                <a:gd name="T0" fmla="*/ 24 w 110"/>
                <a:gd name="T1" fmla="*/ 35 h 107"/>
                <a:gd name="T2" fmla="*/ 39 w 110"/>
                <a:gd name="T3" fmla="*/ 21 h 107"/>
                <a:gd name="T4" fmla="*/ 55 w 110"/>
                <a:gd name="T5" fmla="*/ 2 h 107"/>
                <a:gd name="T6" fmla="*/ 69 w 110"/>
                <a:gd name="T7" fmla="*/ 20 h 107"/>
                <a:gd name="T8" fmla="*/ 88 w 110"/>
                <a:gd name="T9" fmla="*/ 38 h 107"/>
                <a:gd name="T10" fmla="*/ 78 w 110"/>
                <a:gd name="T11" fmla="*/ 72 h 107"/>
                <a:gd name="T12" fmla="*/ 58 w 110"/>
                <a:gd name="T13" fmla="*/ 88 h 107"/>
                <a:gd name="T14" fmla="*/ 33 w 110"/>
                <a:gd name="T15" fmla="*/ 83 h 107"/>
                <a:gd name="T16" fmla="*/ 24 w 110"/>
                <a:gd name="T17" fmla="*/ 56 h 107"/>
                <a:gd name="T18" fmla="*/ 24 w 110"/>
                <a:gd name="T19" fmla="*/ 35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0" h="107">
                  <a:moveTo>
                    <a:pt x="24" y="35"/>
                  </a:moveTo>
                  <a:cubicBezTo>
                    <a:pt x="22" y="17"/>
                    <a:pt x="39" y="21"/>
                    <a:pt x="39" y="21"/>
                  </a:cubicBezTo>
                  <a:cubicBezTo>
                    <a:pt x="42" y="0"/>
                    <a:pt x="55" y="2"/>
                    <a:pt x="55" y="2"/>
                  </a:cubicBezTo>
                  <a:cubicBezTo>
                    <a:pt x="68" y="3"/>
                    <a:pt x="69" y="20"/>
                    <a:pt x="69" y="20"/>
                  </a:cubicBezTo>
                  <a:cubicBezTo>
                    <a:pt x="93" y="19"/>
                    <a:pt x="88" y="38"/>
                    <a:pt x="88" y="38"/>
                  </a:cubicBezTo>
                  <a:cubicBezTo>
                    <a:pt x="110" y="59"/>
                    <a:pt x="78" y="72"/>
                    <a:pt x="78" y="72"/>
                  </a:cubicBezTo>
                  <a:cubicBezTo>
                    <a:pt x="84" y="98"/>
                    <a:pt x="58" y="88"/>
                    <a:pt x="58" y="88"/>
                  </a:cubicBezTo>
                  <a:cubicBezTo>
                    <a:pt x="42" y="107"/>
                    <a:pt x="33" y="83"/>
                    <a:pt x="33" y="83"/>
                  </a:cubicBezTo>
                  <a:cubicBezTo>
                    <a:pt x="18" y="85"/>
                    <a:pt x="24" y="56"/>
                    <a:pt x="24" y="56"/>
                  </a:cubicBezTo>
                  <a:cubicBezTo>
                    <a:pt x="0" y="43"/>
                    <a:pt x="24" y="35"/>
                    <a:pt x="24" y="35"/>
                  </a:cubicBezTo>
                  <a:close/>
                </a:path>
              </a:pathLst>
            </a:custGeom>
            <a:solidFill>
              <a:srgbClr val="09B89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910" name="Freeform 13"/>
            <p:cNvSpPr>
              <a:spLocks/>
            </p:cNvSpPr>
            <p:nvPr/>
          </p:nvSpPr>
          <p:spPr bwMode="auto">
            <a:xfrm>
              <a:off x="3802893" y="6048570"/>
              <a:ext cx="161722" cy="160386"/>
            </a:xfrm>
            <a:custGeom>
              <a:avLst/>
              <a:gdLst>
                <a:gd name="T0" fmla="*/ 23 w 101"/>
                <a:gd name="T1" fmla="*/ 43 h 101"/>
                <a:gd name="T2" fmla="*/ 20 w 101"/>
                <a:gd name="T3" fmla="*/ 25 h 101"/>
                <a:gd name="T4" fmla="*/ 42 w 101"/>
                <a:gd name="T5" fmla="*/ 22 h 101"/>
                <a:gd name="T6" fmla="*/ 55 w 101"/>
                <a:gd name="T7" fmla="*/ 0 h 101"/>
                <a:gd name="T8" fmla="*/ 69 w 101"/>
                <a:gd name="T9" fmla="*/ 20 h 101"/>
                <a:gd name="T10" fmla="*/ 79 w 101"/>
                <a:gd name="T11" fmla="*/ 39 h 101"/>
                <a:gd name="T12" fmla="*/ 83 w 101"/>
                <a:gd name="T13" fmla="*/ 69 h 101"/>
                <a:gd name="T14" fmla="*/ 80 w 101"/>
                <a:gd name="T15" fmla="*/ 69 h 101"/>
                <a:gd name="T16" fmla="*/ 61 w 101"/>
                <a:gd name="T17" fmla="*/ 79 h 101"/>
                <a:gd name="T18" fmla="*/ 43 w 101"/>
                <a:gd name="T19" fmla="*/ 78 h 101"/>
                <a:gd name="T20" fmla="*/ 8 w 101"/>
                <a:gd name="T21" fmla="*/ 66 h 101"/>
                <a:gd name="T22" fmla="*/ 23 w 101"/>
                <a:gd name="T23" fmla="*/ 43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1" h="101">
                  <a:moveTo>
                    <a:pt x="23" y="43"/>
                  </a:moveTo>
                  <a:cubicBezTo>
                    <a:pt x="14" y="40"/>
                    <a:pt x="20" y="25"/>
                    <a:pt x="20" y="25"/>
                  </a:cubicBezTo>
                  <a:cubicBezTo>
                    <a:pt x="25" y="11"/>
                    <a:pt x="42" y="22"/>
                    <a:pt x="42" y="22"/>
                  </a:cubicBezTo>
                  <a:cubicBezTo>
                    <a:pt x="35" y="0"/>
                    <a:pt x="55" y="0"/>
                    <a:pt x="55" y="0"/>
                  </a:cubicBezTo>
                  <a:cubicBezTo>
                    <a:pt x="68" y="0"/>
                    <a:pt x="69" y="20"/>
                    <a:pt x="69" y="20"/>
                  </a:cubicBezTo>
                  <a:cubicBezTo>
                    <a:pt x="91" y="21"/>
                    <a:pt x="79" y="39"/>
                    <a:pt x="79" y="39"/>
                  </a:cubicBezTo>
                  <a:cubicBezTo>
                    <a:pt x="101" y="49"/>
                    <a:pt x="83" y="69"/>
                    <a:pt x="83" y="69"/>
                  </a:cubicBezTo>
                  <a:cubicBezTo>
                    <a:pt x="82" y="70"/>
                    <a:pt x="80" y="69"/>
                    <a:pt x="80" y="69"/>
                  </a:cubicBezTo>
                  <a:cubicBezTo>
                    <a:pt x="82" y="94"/>
                    <a:pt x="61" y="79"/>
                    <a:pt x="61" y="79"/>
                  </a:cubicBezTo>
                  <a:cubicBezTo>
                    <a:pt x="59" y="92"/>
                    <a:pt x="43" y="78"/>
                    <a:pt x="43" y="78"/>
                  </a:cubicBezTo>
                  <a:cubicBezTo>
                    <a:pt x="21" y="101"/>
                    <a:pt x="8" y="66"/>
                    <a:pt x="8" y="66"/>
                  </a:cubicBezTo>
                  <a:cubicBezTo>
                    <a:pt x="0" y="46"/>
                    <a:pt x="23" y="43"/>
                    <a:pt x="23" y="43"/>
                  </a:cubicBezTo>
                  <a:close/>
                </a:path>
              </a:pathLst>
            </a:custGeom>
            <a:solidFill>
              <a:srgbClr val="5EC3A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911" name="Freeform 14"/>
            <p:cNvSpPr>
              <a:spLocks/>
            </p:cNvSpPr>
            <p:nvPr/>
          </p:nvSpPr>
          <p:spPr bwMode="auto">
            <a:xfrm>
              <a:off x="3881749" y="6250388"/>
              <a:ext cx="20716" cy="30741"/>
            </a:xfrm>
            <a:custGeom>
              <a:avLst/>
              <a:gdLst>
                <a:gd name="T0" fmla="*/ 0 w 13"/>
                <a:gd name="T1" fmla="*/ 19 h 19"/>
                <a:gd name="T2" fmla="*/ 0 w 13"/>
                <a:gd name="T3" fmla="*/ 19 h 19"/>
                <a:gd name="T4" fmla="*/ 0 w 13"/>
                <a:gd name="T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9">
                  <a:moveTo>
                    <a:pt x="0" y="19"/>
                  </a:moveTo>
                  <a:cubicBezTo>
                    <a:pt x="0" y="19"/>
                    <a:pt x="0" y="19"/>
                    <a:pt x="0" y="19"/>
                  </a:cubicBezTo>
                  <a:cubicBezTo>
                    <a:pt x="2" y="17"/>
                    <a:pt x="13" y="0"/>
                    <a:pt x="0" y="19"/>
                  </a:cubicBezTo>
                  <a:close/>
                </a:path>
              </a:pathLst>
            </a:custGeom>
            <a:solidFill>
              <a:srgbClr val="4DA0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912" name="Freeform 15"/>
            <p:cNvSpPr>
              <a:spLocks/>
            </p:cNvSpPr>
            <p:nvPr/>
          </p:nvSpPr>
          <p:spPr bwMode="auto">
            <a:xfrm>
              <a:off x="3792200" y="6132772"/>
              <a:ext cx="175756" cy="181770"/>
            </a:xfrm>
            <a:custGeom>
              <a:avLst/>
              <a:gdLst>
                <a:gd name="T0" fmla="*/ 20 w 110"/>
                <a:gd name="T1" fmla="*/ 36 h 114"/>
                <a:gd name="T2" fmla="*/ 38 w 110"/>
                <a:gd name="T3" fmla="*/ 23 h 114"/>
                <a:gd name="T4" fmla="*/ 58 w 110"/>
                <a:gd name="T5" fmla="*/ 10 h 114"/>
                <a:gd name="T6" fmla="*/ 67 w 110"/>
                <a:gd name="T7" fmla="*/ 1 h 114"/>
                <a:gd name="T8" fmla="*/ 67 w 110"/>
                <a:gd name="T9" fmla="*/ 1 h 114"/>
                <a:gd name="T10" fmla="*/ 85 w 110"/>
                <a:gd name="T11" fmla="*/ 16 h 114"/>
                <a:gd name="T12" fmla="*/ 87 w 110"/>
                <a:gd name="T13" fmla="*/ 40 h 114"/>
                <a:gd name="T14" fmla="*/ 85 w 110"/>
                <a:gd name="T15" fmla="*/ 60 h 114"/>
                <a:gd name="T16" fmla="*/ 73 w 110"/>
                <a:gd name="T17" fmla="*/ 75 h 114"/>
                <a:gd name="T18" fmla="*/ 56 w 110"/>
                <a:gd name="T19" fmla="*/ 94 h 114"/>
                <a:gd name="T20" fmla="*/ 56 w 110"/>
                <a:gd name="T21" fmla="*/ 93 h 114"/>
                <a:gd name="T22" fmla="*/ 56 w 110"/>
                <a:gd name="T23" fmla="*/ 93 h 114"/>
                <a:gd name="T24" fmla="*/ 56 w 110"/>
                <a:gd name="T25" fmla="*/ 93 h 114"/>
                <a:gd name="T26" fmla="*/ 55 w 110"/>
                <a:gd name="T27" fmla="*/ 95 h 114"/>
                <a:gd name="T28" fmla="*/ 34 w 110"/>
                <a:gd name="T29" fmla="*/ 96 h 114"/>
                <a:gd name="T30" fmla="*/ 33 w 110"/>
                <a:gd name="T31" fmla="*/ 97 h 114"/>
                <a:gd name="T32" fmla="*/ 16 w 110"/>
                <a:gd name="T33" fmla="*/ 86 h 114"/>
                <a:gd name="T34" fmla="*/ 14 w 110"/>
                <a:gd name="T35" fmla="*/ 72 h 114"/>
                <a:gd name="T36" fmla="*/ 12 w 110"/>
                <a:gd name="T37" fmla="*/ 53 h 114"/>
                <a:gd name="T38" fmla="*/ 20 w 110"/>
                <a:gd name="T39" fmla="*/ 36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10" h="114">
                  <a:moveTo>
                    <a:pt x="20" y="36"/>
                  </a:moveTo>
                  <a:cubicBezTo>
                    <a:pt x="19" y="15"/>
                    <a:pt x="38" y="23"/>
                    <a:pt x="38" y="23"/>
                  </a:cubicBezTo>
                  <a:cubicBezTo>
                    <a:pt x="45" y="0"/>
                    <a:pt x="58" y="10"/>
                    <a:pt x="58" y="10"/>
                  </a:cubicBezTo>
                  <a:cubicBezTo>
                    <a:pt x="58" y="5"/>
                    <a:pt x="67" y="1"/>
                    <a:pt x="67" y="1"/>
                  </a:cubicBezTo>
                  <a:cubicBezTo>
                    <a:pt x="67" y="1"/>
                    <a:pt x="67" y="1"/>
                    <a:pt x="67" y="1"/>
                  </a:cubicBezTo>
                  <a:cubicBezTo>
                    <a:pt x="86" y="0"/>
                    <a:pt x="85" y="16"/>
                    <a:pt x="85" y="16"/>
                  </a:cubicBezTo>
                  <a:cubicBezTo>
                    <a:pt x="110" y="27"/>
                    <a:pt x="87" y="40"/>
                    <a:pt x="87" y="40"/>
                  </a:cubicBezTo>
                  <a:cubicBezTo>
                    <a:pt x="106" y="51"/>
                    <a:pt x="85" y="60"/>
                    <a:pt x="85" y="60"/>
                  </a:cubicBezTo>
                  <a:cubicBezTo>
                    <a:pt x="89" y="83"/>
                    <a:pt x="73" y="75"/>
                    <a:pt x="73" y="75"/>
                  </a:cubicBezTo>
                  <a:cubicBezTo>
                    <a:pt x="77" y="105"/>
                    <a:pt x="56" y="94"/>
                    <a:pt x="56" y="94"/>
                  </a:cubicBezTo>
                  <a:cubicBezTo>
                    <a:pt x="56" y="94"/>
                    <a:pt x="56" y="94"/>
                    <a:pt x="56" y="93"/>
                  </a:cubicBezTo>
                  <a:cubicBezTo>
                    <a:pt x="56" y="93"/>
                    <a:pt x="56" y="93"/>
                    <a:pt x="56" y="93"/>
                  </a:cubicBezTo>
                  <a:cubicBezTo>
                    <a:pt x="69" y="74"/>
                    <a:pt x="58" y="91"/>
                    <a:pt x="56" y="93"/>
                  </a:cubicBezTo>
                  <a:cubicBezTo>
                    <a:pt x="56" y="94"/>
                    <a:pt x="55" y="94"/>
                    <a:pt x="55" y="95"/>
                  </a:cubicBezTo>
                  <a:cubicBezTo>
                    <a:pt x="42" y="114"/>
                    <a:pt x="34" y="96"/>
                    <a:pt x="34" y="96"/>
                  </a:cubicBezTo>
                  <a:cubicBezTo>
                    <a:pt x="34" y="97"/>
                    <a:pt x="33" y="97"/>
                    <a:pt x="33" y="97"/>
                  </a:cubicBezTo>
                  <a:cubicBezTo>
                    <a:pt x="10" y="111"/>
                    <a:pt x="16" y="86"/>
                    <a:pt x="16" y="86"/>
                  </a:cubicBezTo>
                  <a:cubicBezTo>
                    <a:pt x="5" y="78"/>
                    <a:pt x="14" y="72"/>
                    <a:pt x="14" y="72"/>
                  </a:cubicBezTo>
                  <a:cubicBezTo>
                    <a:pt x="0" y="69"/>
                    <a:pt x="12" y="53"/>
                    <a:pt x="12" y="53"/>
                  </a:cubicBezTo>
                  <a:cubicBezTo>
                    <a:pt x="3" y="43"/>
                    <a:pt x="20" y="36"/>
                    <a:pt x="20" y="36"/>
                  </a:cubicBezTo>
                  <a:close/>
                </a:path>
              </a:pathLst>
            </a:custGeom>
            <a:solidFill>
              <a:srgbClr val="09B89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913" name="Freeform 16"/>
            <p:cNvSpPr>
              <a:spLocks/>
            </p:cNvSpPr>
            <p:nvPr/>
          </p:nvSpPr>
          <p:spPr bwMode="auto">
            <a:xfrm>
              <a:off x="3663892" y="6075301"/>
              <a:ext cx="158380" cy="218526"/>
            </a:xfrm>
            <a:custGeom>
              <a:avLst/>
              <a:gdLst>
                <a:gd name="T0" fmla="*/ 14 w 99"/>
                <a:gd name="T1" fmla="*/ 87 h 137"/>
                <a:gd name="T2" fmla="*/ 10 w 99"/>
                <a:gd name="T3" fmla="*/ 71 h 137"/>
                <a:gd name="T4" fmla="*/ 21 w 99"/>
                <a:gd name="T5" fmla="*/ 57 h 137"/>
                <a:gd name="T6" fmla="*/ 21 w 99"/>
                <a:gd name="T7" fmla="*/ 42 h 137"/>
                <a:gd name="T8" fmla="*/ 33 w 99"/>
                <a:gd name="T9" fmla="*/ 37 h 137"/>
                <a:gd name="T10" fmla="*/ 54 w 99"/>
                <a:gd name="T11" fmla="*/ 15 h 137"/>
                <a:gd name="T12" fmla="*/ 70 w 99"/>
                <a:gd name="T13" fmla="*/ 0 h 137"/>
                <a:gd name="T14" fmla="*/ 83 w 99"/>
                <a:gd name="T15" fmla="*/ 23 h 137"/>
                <a:gd name="T16" fmla="*/ 97 w 99"/>
                <a:gd name="T17" fmla="*/ 48 h 137"/>
                <a:gd name="T18" fmla="*/ 74 w 99"/>
                <a:gd name="T19" fmla="*/ 78 h 137"/>
                <a:gd name="T20" fmla="*/ 57 w 99"/>
                <a:gd name="T21" fmla="*/ 77 h 137"/>
                <a:gd name="T22" fmla="*/ 57 w 99"/>
                <a:gd name="T23" fmla="*/ 78 h 137"/>
                <a:gd name="T24" fmla="*/ 42 w 99"/>
                <a:gd name="T25" fmla="*/ 93 h 137"/>
                <a:gd name="T26" fmla="*/ 5 w 99"/>
                <a:gd name="T27" fmla="*/ 104 h 137"/>
                <a:gd name="T28" fmla="*/ 14 w 99"/>
                <a:gd name="T29" fmla="*/ 87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7">
                  <a:moveTo>
                    <a:pt x="14" y="87"/>
                  </a:moveTo>
                  <a:cubicBezTo>
                    <a:pt x="9" y="86"/>
                    <a:pt x="10" y="71"/>
                    <a:pt x="10" y="71"/>
                  </a:cubicBezTo>
                  <a:cubicBezTo>
                    <a:pt x="9" y="61"/>
                    <a:pt x="21" y="57"/>
                    <a:pt x="21" y="57"/>
                  </a:cubicBezTo>
                  <a:cubicBezTo>
                    <a:pt x="16" y="52"/>
                    <a:pt x="21" y="42"/>
                    <a:pt x="21" y="42"/>
                  </a:cubicBezTo>
                  <a:cubicBezTo>
                    <a:pt x="25" y="34"/>
                    <a:pt x="33" y="37"/>
                    <a:pt x="33" y="37"/>
                  </a:cubicBezTo>
                  <a:cubicBezTo>
                    <a:pt x="31" y="14"/>
                    <a:pt x="54" y="15"/>
                    <a:pt x="54" y="15"/>
                  </a:cubicBezTo>
                  <a:cubicBezTo>
                    <a:pt x="54" y="2"/>
                    <a:pt x="70" y="0"/>
                    <a:pt x="70" y="0"/>
                  </a:cubicBezTo>
                  <a:cubicBezTo>
                    <a:pt x="86" y="3"/>
                    <a:pt x="83" y="23"/>
                    <a:pt x="83" y="23"/>
                  </a:cubicBezTo>
                  <a:cubicBezTo>
                    <a:pt x="99" y="24"/>
                    <a:pt x="97" y="48"/>
                    <a:pt x="97" y="48"/>
                  </a:cubicBezTo>
                  <a:cubicBezTo>
                    <a:pt x="98" y="111"/>
                    <a:pt x="74" y="78"/>
                    <a:pt x="74" y="78"/>
                  </a:cubicBezTo>
                  <a:cubicBezTo>
                    <a:pt x="68" y="90"/>
                    <a:pt x="57" y="77"/>
                    <a:pt x="57" y="77"/>
                  </a:cubicBezTo>
                  <a:cubicBezTo>
                    <a:pt x="57" y="77"/>
                    <a:pt x="57" y="77"/>
                    <a:pt x="57" y="78"/>
                  </a:cubicBezTo>
                  <a:cubicBezTo>
                    <a:pt x="65" y="98"/>
                    <a:pt x="42" y="93"/>
                    <a:pt x="42" y="93"/>
                  </a:cubicBezTo>
                  <a:cubicBezTo>
                    <a:pt x="17" y="137"/>
                    <a:pt x="5" y="104"/>
                    <a:pt x="5" y="104"/>
                  </a:cubicBezTo>
                  <a:cubicBezTo>
                    <a:pt x="0" y="95"/>
                    <a:pt x="14" y="87"/>
                    <a:pt x="14" y="87"/>
                  </a:cubicBezTo>
                  <a:close/>
                </a:path>
              </a:pathLst>
            </a:custGeom>
            <a:solidFill>
              <a:srgbClr val="09B89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914" name="Freeform 17"/>
            <p:cNvSpPr>
              <a:spLocks/>
            </p:cNvSpPr>
            <p:nvPr/>
          </p:nvSpPr>
          <p:spPr bwMode="auto">
            <a:xfrm>
              <a:off x="3633151" y="6104037"/>
              <a:ext cx="251939" cy="210506"/>
            </a:xfrm>
            <a:custGeom>
              <a:avLst/>
              <a:gdLst>
                <a:gd name="T0" fmla="*/ 14 w 157"/>
                <a:gd name="T1" fmla="*/ 96 h 132"/>
                <a:gd name="T2" fmla="*/ 37 w 157"/>
                <a:gd name="T3" fmla="*/ 89 h 132"/>
                <a:gd name="T4" fmla="*/ 48 w 157"/>
                <a:gd name="T5" fmla="*/ 74 h 132"/>
                <a:gd name="T6" fmla="*/ 70 w 157"/>
                <a:gd name="T7" fmla="*/ 49 h 132"/>
                <a:gd name="T8" fmla="*/ 80 w 157"/>
                <a:gd name="T9" fmla="*/ 31 h 132"/>
                <a:gd name="T10" fmla="*/ 109 w 157"/>
                <a:gd name="T11" fmla="*/ 33 h 132"/>
                <a:gd name="T12" fmla="*/ 126 w 157"/>
                <a:gd name="T13" fmla="*/ 47 h 132"/>
                <a:gd name="T14" fmla="*/ 137 w 157"/>
                <a:gd name="T15" fmla="*/ 74 h 132"/>
                <a:gd name="T16" fmla="*/ 126 w 157"/>
                <a:gd name="T17" fmla="*/ 96 h 132"/>
                <a:gd name="T18" fmla="*/ 103 w 157"/>
                <a:gd name="T19" fmla="*/ 80 h 132"/>
                <a:gd name="T20" fmla="*/ 78 w 157"/>
                <a:gd name="T21" fmla="*/ 80 h 132"/>
                <a:gd name="T22" fmla="*/ 61 w 157"/>
                <a:gd name="T23" fmla="*/ 89 h 132"/>
                <a:gd name="T24" fmla="*/ 60 w 157"/>
                <a:gd name="T25" fmla="*/ 88 h 132"/>
                <a:gd name="T26" fmla="*/ 60 w 157"/>
                <a:gd name="T27" fmla="*/ 88 h 132"/>
                <a:gd name="T28" fmla="*/ 37 w 157"/>
                <a:gd name="T29" fmla="*/ 109 h 132"/>
                <a:gd name="T30" fmla="*/ 8 w 157"/>
                <a:gd name="T31" fmla="*/ 114 h 132"/>
                <a:gd name="T32" fmla="*/ 14 w 157"/>
                <a:gd name="T33" fmla="*/ 96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7" h="132">
                  <a:moveTo>
                    <a:pt x="14" y="96"/>
                  </a:moveTo>
                  <a:cubicBezTo>
                    <a:pt x="14" y="96"/>
                    <a:pt x="17" y="69"/>
                    <a:pt x="37" y="89"/>
                  </a:cubicBezTo>
                  <a:cubicBezTo>
                    <a:pt x="37" y="89"/>
                    <a:pt x="30" y="74"/>
                    <a:pt x="48" y="74"/>
                  </a:cubicBezTo>
                  <a:cubicBezTo>
                    <a:pt x="48" y="74"/>
                    <a:pt x="35" y="40"/>
                    <a:pt x="70" y="49"/>
                  </a:cubicBezTo>
                  <a:cubicBezTo>
                    <a:pt x="70" y="49"/>
                    <a:pt x="59" y="28"/>
                    <a:pt x="80" y="31"/>
                  </a:cubicBezTo>
                  <a:cubicBezTo>
                    <a:pt x="80" y="31"/>
                    <a:pt x="95" y="0"/>
                    <a:pt x="109" y="33"/>
                  </a:cubicBezTo>
                  <a:cubicBezTo>
                    <a:pt x="109" y="33"/>
                    <a:pt x="131" y="23"/>
                    <a:pt x="126" y="47"/>
                  </a:cubicBezTo>
                  <a:cubicBezTo>
                    <a:pt x="126" y="47"/>
                    <a:pt x="152" y="52"/>
                    <a:pt x="137" y="74"/>
                  </a:cubicBezTo>
                  <a:cubicBezTo>
                    <a:pt x="137" y="74"/>
                    <a:pt x="157" y="103"/>
                    <a:pt x="126" y="96"/>
                  </a:cubicBezTo>
                  <a:cubicBezTo>
                    <a:pt x="126" y="96"/>
                    <a:pt x="104" y="118"/>
                    <a:pt x="103" y="80"/>
                  </a:cubicBezTo>
                  <a:cubicBezTo>
                    <a:pt x="103" y="80"/>
                    <a:pt x="90" y="108"/>
                    <a:pt x="78" y="80"/>
                  </a:cubicBezTo>
                  <a:cubicBezTo>
                    <a:pt x="78" y="80"/>
                    <a:pt x="78" y="99"/>
                    <a:pt x="61" y="89"/>
                  </a:cubicBezTo>
                  <a:cubicBezTo>
                    <a:pt x="61" y="89"/>
                    <a:pt x="60" y="88"/>
                    <a:pt x="60" y="88"/>
                  </a:cubicBezTo>
                  <a:cubicBezTo>
                    <a:pt x="42" y="77"/>
                    <a:pt x="60" y="88"/>
                    <a:pt x="60" y="88"/>
                  </a:cubicBezTo>
                  <a:cubicBezTo>
                    <a:pt x="60" y="88"/>
                    <a:pt x="64" y="128"/>
                    <a:pt x="37" y="109"/>
                  </a:cubicBezTo>
                  <a:cubicBezTo>
                    <a:pt x="37" y="109"/>
                    <a:pt x="26" y="132"/>
                    <a:pt x="8" y="114"/>
                  </a:cubicBezTo>
                  <a:cubicBezTo>
                    <a:pt x="8" y="114"/>
                    <a:pt x="0" y="98"/>
                    <a:pt x="14" y="96"/>
                  </a:cubicBezTo>
                  <a:close/>
                </a:path>
              </a:pathLst>
            </a:custGeom>
            <a:solidFill>
              <a:srgbClr val="5EC3A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10884" name="Group 10883"/>
          <p:cNvGrpSpPr/>
          <p:nvPr/>
        </p:nvGrpSpPr>
        <p:grpSpPr>
          <a:xfrm>
            <a:off x="6125277" y="4328319"/>
            <a:ext cx="349250" cy="1512888"/>
            <a:chOff x="4657725" y="4216400"/>
            <a:chExt cx="349250" cy="1512888"/>
          </a:xfrm>
        </p:grpSpPr>
        <p:sp>
          <p:nvSpPr>
            <p:cNvPr id="10876" name="AutoShape 6216"/>
            <p:cNvSpPr>
              <a:spLocks noChangeAspect="1" noChangeArrowheads="1" noTextEdit="1"/>
            </p:cNvSpPr>
            <p:nvPr/>
          </p:nvSpPr>
          <p:spPr bwMode="auto">
            <a:xfrm>
              <a:off x="4667250" y="4216400"/>
              <a:ext cx="339725" cy="14970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77" name="Freeform 6218"/>
            <p:cNvSpPr>
              <a:spLocks/>
            </p:cNvSpPr>
            <p:nvPr/>
          </p:nvSpPr>
          <p:spPr bwMode="auto">
            <a:xfrm>
              <a:off x="4768850" y="5443538"/>
              <a:ext cx="80963" cy="285750"/>
            </a:xfrm>
            <a:custGeom>
              <a:avLst/>
              <a:gdLst>
                <a:gd name="T0" fmla="*/ 42 w 49"/>
                <a:gd name="T1" fmla="*/ 13 h 175"/>
                <a:gd name="T2" fmla="*/ 12 w 49"/>
                <a:gd name="T3" fmla="*/ 1 h 175"/>
                <a:gd name="T4" fmla="*/ 0 w 49"/>
                <a:gd name="T5" fmla="*/ 159 h 175"/>
                <a:gd name="T6" fmla="*/ 49 w 49"/>
                <a:gd name="T7" fmla="*/ 159 h 175"/>
                <a:gd name="T8" fmla="*/ 42 w 49"/>
                <a:gd name="T9" fmla="*/ 13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175">
                  <a:moveTo>
                    <a:pt x="42" y="13"/>
                  </a:moveTo>
                  <a:cubicBezTo>
                    <a:pt x="42" y="13"/>
                    <a:pt x="40" y="0"/>
                    <a:pt x="12" y="1"/>
                  </a:cubicBezTo>
                  <a:cubicBezTo>
                    <a:pt x="12" y="1"/>
                    <a:pt x="9" y="113"/>
                    <a:pt x="0" y="159"/>
                  </a:cubicBezTo>
                  <a:cubicBezTo>
                    <a:pt x="0" y="159"/>
                    <a:pt x="27" y="175"/>
                    <a:pt x="49" y="159"/>
                  </a:cubicBezTo>
                  <a:cubicBezTo>
                    <a:pt x="49" y="159"/>
                    <a:pt x="39" y="94"/>
                    <a:pt x="42" y="13"/>
                  </a:cubicBezTo>
                  <a:close/>
                </a:path>
              </a:pathLst>
            </a:custGeom>
            <a:solidFill>
              <a:srgbClr val="543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78" name="Freeform 6219"/>
            <p:cNvSpPr>
              <a:spLocks/>
            </p:cNvSpPr>
            <p:nvPr/>
          </p:nvSpPr>
          <p:spPr bwMode="auto">
            <a:xfrm>
              <a:off x="4703763" y="5003800"/>
              <a:ext cx="196850" cy="212725"/>
            </a:xfrm>
            <a:custGeom>
              <a:avLst/>
              <a:gdLst>
                <a:gd name="T0" fmla="*/ 88 w 120"/>
                <a:gd name="T1" fmla="*/ 38 h 130"/>
                <a:gd name="T2" fmla="*/ 67 w 120"/>
                <a:gd name="T3" fmla="*/ 0 h 130"/>
                <a:gd name="T4" fmla="*/ 46 w 120"/>
                <a:gd name="T5" fmla="*/ 28 h 130"/>
                <a:gd name="T6" fmla="*/ 36 w 120"/>
                <a:gd name="T7" fmla="*/ 73 h 130"/>
                <a:gd name="T8" fmla="*/ 116 w 120"/>
                <a:gd name="T9" fmla="*/ 52 h 130"/>
                <a:gd name="T10" fmla="*/ 88 w 120"/>
                <a:gd name="T11" fmla="*/ 38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0" h="130">
                  <a:moveTo>
                    <a:pt x="88" y="38"/>
                  </a:moveTo>
                  <a:cubicBezTo>
                    <a:pt x="93" y="0"/>
                    <a:pt x="67" y="0"/>
                    <a:pt x="67" y="0"/>
                  </a:cubicBezTo>
                  <a:cubicBezTo>
                    <a:pt x="44" y="2"/>
                    <a:pt x="46" y="28"/>
                    <a:pt x="46" y="28"/>
                  </a:cubicBezTo>
                  <a:cubicBezTo>
                    <a:pt x="0" y="52"/>
                    <a:pt x="36" y="73"/>
                    <a:pt x="36" y="73"/>
                  </a:cubicBezTo>
                  <a:cubicBezTo>
                    <a:pt x="120" y="130"/>
                    <a:pt x="116" y="52"/>
                    <a:pt x="116" y="52"/>
                  </a:cubicBezTo>
                  <a:cubicBezTo>
                    <a:pt x="111" y="26"/>
                    <a:pt x="88" y="38"/>
                    <a:pt x="88" y="38"/>
                  </a:cubicBezTo>
                  <a:close/>
                </a:path>
              </a:pathLst>
            </a:custGeom>
            <a:solidFill>
              <a:srgbClr val="5EC3A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79" name="Freeform 6220"/>
            <p:cNvSpPr>
              <a:spLocks/>
            </p:cNvSpPr>
            <p:nvPr/>
          </p:nvSpPr>
          <p:spPr bwMode="auto">
            <a:xfrm>
              <a:off x="4759325" y="5135563"/>
              <a:ext cx="3175" cy="12700"/>
            </a:xfrm>
            <a:custGeom>
              <a:avLst/>
              <a:gdLst>
                <a:gd name="T0" fmla="*/ 0 w 2"/>
                <a:gd name="T1" fmla="*/ 0 h 7"/>
                <a:gd name="T2" fmla="*/ 2 w 2"/>
                <a:gd name="T3" fmla="*/ 7 h 7"/>
                <a:gd name="T4" fmla="*/ 0 w 2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7">
                  <a:moveTo>
                    <a:pt x="0" y="0"/>
                  </a:moveTo>
                  <a:cubicBezTo>
                    <a:pt x="1" y="2"/>
                    <a:pt x="2" y="4"/>
                    <a:pt x="2" y="7"/>
                  </a:cubicBezTo>
                  <a:cubicBezTo>
                    <a:pt x="2" y="7"/>
                    <a:pt x="2" y="4"/>
                    <a:pt x="0" y="0"/>
                  </a:cubicBezTo>
                  <a:close/>
                </a:path>
              </a:pathLst>
            </a:custGeom>
            <a:solidFill>
              <a:srgbClr val="4DA0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80" name="Freeform 6221"/>
            <p:cNvSpPr>
              <a:spLocks/>
            </p:cNvSpPr>
            <p:nvPr/>
          </p:nvSpPr>
          <p:spPr bwMode="auto">
            <a:xfrm>
              <a:off x="4657725" y="5089525"/>
              <a:ext cx="314325" cy="395288"/>
            </a:xfrm>
            <a:custGeom>
              <a:avLst/>
              <a:gdLst>
                <a:gd name="T0" fmla="*/ 156 w 192"/>
                <a:gd name="T1" fmla="*/ 109 h 243"/>
                <a:gd name="T2" fmla="*/ 154 w 192"/>
                <a:gd name="T3" fmla="*/ 89 h 243"/>
                <a:gd name="T4" fmla="*/ 138 w 192"/>
                <a:gd name="T5" fmla="*/ 46 h 243"/>
                <a:gd name="T6" fmla="*/ 131 w 192"/>
                <a:gd name="T7" fmla="*/ 19 h 243"/>
                <a:gd name="T8" fmla="*/ 104 w 192"/>
                <a:gd name="T9" fmla="*/ 33 h 243"/>
                <a:gd name="T10" fmla="*/ 80 w 192"/>
                <a:gd name="T11" fmla="*/ 0 h 243"/>
                <a:gd name="T12" fmla="*/ 62 w 192"/>
                <a:gd name="T13" fmla="*/ 29 h 243"/>
                <a:gd name="T14" fmla="*/ 64 w 192"/>
                <a:gd name="T15" fmla="*/ 36 h 243"/>
                <a:gd name="T16" fmla="*/ 62 w 192"/>
                <a:gd name="T17" fmla="*/ 29 h 243"/>
                <a:gd name="T18" fmla="*/ 49 w 192"/>
                <a:gd name="T19" fmla="*/ 21 h 243"/>
                <a:gd name="T20" fmla="*/ 42 w 192"/>
                <a:gd name="T21" fmla="*/ 54 h 243"/>
                <a:gd name="T22" fmla="*/ 29 w 192"/>
                <a:gd name="T23" fmla="*/ 88 h 243"/>
                <a:gd name="T24" fmla="*/ 22 w 192"/>
                <a:gd name="T25" fmla="*/ 132 h 243"/>
                <a:gd name="T26" fmla="*/ 33 w 192"/>
                <a:gd name="T27" fmla="*/ 167 h 243"/>
                <a:gd name="T28" fmla="*/ 26 w 192"/>
                <a:gd name="T29" fmla="*/ 207 h 243"/>
                <a:gd name="T30" fmla="*/ 87 w 192"/>
                <a:gd name="T31" fmla="*/ 205 h 243"/>
                <a:gd name="T32" fmla="*/ 134 w 192"/>
                <a:gd name="T33" fmla="*/ 207 h 243"/>
                <a:gd name="T34" fmla="*/ 167 w 192"/>
                <a:gd name="T35" fmla="*/ 187 h 243"/>
                <a:gd name="T36" fmla="*/ 161 w 192"/>
                <a:gd name="T37" fmla="*/ 155 h 243"/>
                <a:gd name="T38" fmla="*/ 156 w 192"/>
                <a:gd name="T39" fmla="*/ 109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2" h="243">
                  <a:moveTo>
                    <a:pt x="156" y="109"/>
                  </a:moveTo>
                  <a:cubicBezTo>
                    <a:pt x="156" y="109"/>
                    <a:pt x="181" y="104"/>
                    <a:pt x="154" y="89"/>
                  </a:cubicBezTo>
                  <a:cubicBezTo>
                    <a:pt x="154" y="89"/>
                    <a:pt x="188" y="48"/>
                    <a:pt x="138" y="46"/>
                  </a:cubicBezTo>
                  <a:cubicBezTo>
                    <a:pt x="138" y="46"/>
                    <a:pt x="152" y="29"/>
                    <a:pt x="131" y="19"/>
                  </a:cubicBezTo>
                  <a:cubicBezTo>
                    <a:pt x="131" y="19"/>
                    <a:pt x="109" y="8"/>
                    <a:pt x="104" y="33"/>
                  </a:cubicBezTo>
                  <a:cubicBezTo>
                    <a:pt x="104" y="33"/>
                    <a:pt x="106" y="8"/>
                    <a:pt x="80" y="0"/>
                  </a:cubicBezTo>
                  <a:cubicBezTo>
                    <a:pt x="80" y="0"/>
                    <a:pt x="56" y="2"/>
                    <a:pt x="62" y="29"/>
                  </a:cubicBezTo>
                  <a:cubicBezTo>
                    <a:pt x="64" y="33"/>
                    <a:pt x="64" y="36"/>
                    <a:pt x="64" y="36"/>
                  </a:cubicBezTo>
                  <a:cubicBezTo>
                    <a:pt x="64" y="33"/>
                    <a:pt x="63" y="31"/>
                    <a:pt x="62" y="29"/>
                  </a:cubicBezTo>
                  <a:cubicBezTo>
                    <a:pt x="60" y="24"/>
                    <a:pt x="56" y="18"/>
                    <a:pt x="49" y="21"/>
                  </a:cubicBezTo>
                  <a:cubicBezTo>
                    <a:pt x="49" y="21"/>
                    <a:pt x="31" y="32"/>
                    <a:pt x="42" y="54"/>
                  </a:cubicBezTo>
                  <a:cubicBezTo>
                    <a:pt x="42" y="54"/>
                    <a:pt x="17" y="56"/>
                    <a:pt x="29" y="88"/>
                  </a:cubicBezTo>
                  <a:cubicBezTo>
                    <a:pt x="29" y="88"/>
                    <a:pt x="0" y="103"/>
                    <a:pt x="22" y="132"/>
                  </a:cubicBezTo>
                  <a:cubicBezTo>
                    <a:pt x="22" y="132"/>
                    <a:pt x="7" y="147"/>
                    <a:pt x="33" y="167"/>
                  </a:cubicBezTo>
                  <a:cubicBezTo>
                    <a:pt x="33" y="167"/>
                    <a:pt x="8" y="182"/>
                    <a:pt x="26" y="207"/>
                  </a:cubicBezTo>
                  <a:cubicBezTo>
                    <a:pt x="26" y="207"/>
                    <a:pt x="52" y="243"/>
                    <a:pt x="87" y="205"/>
                  </a:cubicBezTo>
                  <a:cubicBezTo>
                    <a:pt x="87" y="205"/>
                    <a:pt x="96" y="185"/>
                    <a:pt x="134" y="207"/>
                  </a:cubicBezTo>
                  <a:cubicBezTo>
                    <a:pt x="134" y="207"/>
                    <a:pt x="154" y="215"/>
                    <a:pt x="167" y="187"/>
                  </a:cubicBezTo>
                  <a:cubicBezTo>
                    <a:pt x="167" y="187"/>
                    <a:pt x="175" y="167"/>
                    <a:pt x="161" y="155"/>
                  </a:cubicBezTo>
                  <a:cubicBezTo>
                    <a:pt x="161" y="155"/>
                    <a:pt x="192" y="128"/>
                    <a:pt x="156" y="109"/>
                  </a:cubicBezTo>
                  <a:close/>
                </a:path>
              </a:pathLst>
            </a:custGeom>
            <a:solidFill>
              <a:srgbClr val="09B89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81" name="Freeform 6222"/>
            <p:cNvSpPr>
              <a:spLocks/>
            </p:cNvSpPr>
            <p:nvPr/>
          </p:nvSpPr>
          <p:spPr bwMode="auto">
            <a:xfrm>
              <a:off x="4716463" y="5200650"/>
              <a:ext cx="207963" cy="342900"/>
            </a:xfrm>
            <a:custGeom>
              <a:avLst/>
              <a:gdLst>
                <a:gd name="T0" fmla="*/ 95 w 127"/>
                <a:gd name="T1" fmla="*/ 91 h 210"/>
                <a:gd name="T2" fmla="*/ 95 w 127"/>
                <a:gd name="T3" fmla="*/ 48 h 210"/>
                <a:gd name="T4" fmla="*/ 82 w 127"/>
                <a:gd name="T5" fmla="*/ 7 h 210"/>
                <a:gd name="T6" fmla="*/ 51 w 127"/>
                <a:gd name="T7" fmla="*/ 29 h 210"/>
                <a:gd name="T8" fmla="*/ 18 w 127"/>
                <a:gd name="T9" fmla="*/ 38 h 210"/>
                <a:gd name="T10" fmla="*/ 24 w 127"/>
                <a:gd name="T11" fmla="*/ 59 h 210"/>
                <a:gd name="T12" fmla="*/ 19 w 127"/>
                <a:gd name="T13" fmla="*/ 97 h 210"/>
                <a:gd name="T14" fmla="*/ 0 w 127"/>
                <a:gd name="T15" fmla="*/ 124 h 210"/>
                <a:gd name="T16" fmla="*/ 17 w 127"/>
                <a:gd name="T17" fmla="*/ 139 h 210"/>
                <a:gd name="T18" fmla="*/ 41 w 127"/>
                <a:gd name="T19" fmla="*/ 163 h 210"/>
                <a:gd name="T20" fmla="*/ 89 w 127"/>
                <a:gd name="T21" fmla="*/ 162 h 210"/>
                <a:gd name="T22" fmla="*/ 98 w 127"/>
                <a:gd name="T23" fmla="*/ 129 h 210"/>
                <a:gd name="T24" fmla="*/ 95 w 127"/>
                <a:gd name="T25" fmla="*/ 91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7" h="210">
                  <a:moveTo>
                    <a:pt x="95" y="91"/>
                  </a:moveTo>
                  <a:cubicBezTo>
                    <a:pt x="95" y="91"/>
                    <a:pt x="126" y="74"/>
                    <a:pt x="95" y="48"/>
                  </a:cubicBezTo>
                  <a:cubicBezTo>
                    <a:pt x="95" y="48"/>
                    <a:pt x="109" y="25"/>
                    <a:pt x="82" y="7"/>
                  </a:cubicBezTo>
                  <a:cubicBezTo>
                    <a:pt x="82" y="7"/>
                    <a:pt x="57" y="0"/>
                    <a:pt x="51" y="29"/>
                  </a:cubicBezTo>
                  <a:cubicBezTo>
                    <a:pt x="51" y="29"/>
                    <a:pt x="35" y="10"/>
                    <a:pt x="18" y="38"/>
                  </a:cubicBezTo>
                  <a:cubicBezTo>
                    <a:pt x="18" y="38"/>
                    <a:pt x="14" y="51"/>
                    <a:pt x="24" y="59"/>
                  </a:cubicBezTo>
                  <a:cubicBezTo>
                    <a:pt x="24" y="59"/>
                    <a:pt x="3" y="71"/>
                    <a:pt x="19" y="97"/>
                  </a:cubicBezTo>
                  <a:cubicBezTo>
                    <a:pt x="19" y="97"/>
                    <a:pt x="3" y="94"/>
                    <a:pt x="0" y="124"/>
                  </a:cubicBezTo>
                  <a:cubicBezTo>
                    <a:pt x="0" y="124"/>
                    <a:pt x="1" y="139"/>
                    <a:pt x="17" y="139"/>
                  </a:cubicBezTo>
                  <a:cubicBezTo>
                    <a:pt x="17" y="139"/>
                    <a:pt x="4" y="174"/>
                    <a:pt x="41" y="163"/>
                  </a:cubicBezTo>
                  <a:cubicBezTo>
                    <a:pt x="41" y="163"/>
                    <a:pt x="59" y="210"/>
                    <a:pt x="89" y="162"/>
                  </a:cubicBezTo>
                  <a:cubicBezTo>
                    <a:pt x="89" y="162"/>
                    <a:pt x="123" y="153"/>
                    <a:pt x="98" y="129"/>
                  </a:cubicBezTo>
                  <a:cubicBezTo>
                    <a:pt x="98" y="129"/>
                    <a:pt x="127" y="112"/>
                    <a:pt x="95" y="91"/>
                  </a:cubicBezTo>
                  <a:close/>
                </a:path>
              </a:pathLst>
            </a:custGeom>
            <a:solidFill>
              <a:srgbClr val="5EC3A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82" name="Freeform 6223"/>
            <p:cNvSpPr>
              <a:spLocks/>
            </p:cNvSpPr>
            <p:nvPr/>
          </p:nvSpPr>
          <p:spPr bwMode="auto">
            <a:xfrm>
              <a:off x="4802188" y="4743450"/>
              <a:ext cx="69850" cy="176213"/>
            </a:xfrm>
            <a:custGeom>
              <a:avLst/>
              <a:gdLst>
                <a:gd name="T0" fmla="*/ 33 w 43"/>
                <a:gd name="T1" fmla="*/ 0 h 108"/>
                <a:gd name="T2" fmla="*/ 30 w 43"/>
                <a:gd name="T3" fmla="*/ 0 h 108"/>
                <a:gd name="T4" fmla="*/ 14 w 43"/>
                <a:gd name="T5" fmla="*/ 0 h 108"/>
                <a:gd name="T6" fmla="*/ 10 w 43"/>
                <a:gd name="T7" fmla="*/ 0 h 108"/>
                <a:gd name="T8" fmla="*/ 0 w 43"/>
                <a:gd name="T9" fmla="*/ 108 h 108"/>
                <a:gd name="T10" fmla="*/ 14 w 43"/>
                <a:gd name="T11" fmla="*/ 108 h 108"/>
                <a:gd name="T12" fmla="*/ 30 w 43"/>
                <a:gd name="T13" fmla="*/ 108 h 108"/>
                <a:gd name="T14" fmla="*/ 43 w 43"/>
                <a:gd name="T15" fmla="*/ 108 h 108"/>
                <a:gd name="T16" fmla="*/ 33 w 43"/>
                <a:gd name="T17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3" h="108">
                  <a:moveTo>
                    <a:pt x="33" y="0"/>
                  </a:moveTo>
                  <a:cubicBezTo>
                    <a:pt x="30" y="0"/>
                    <a:pt x="30" y="0"/>
                    <a:pt x="30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3" y="69"/>
                    <a:pt x="0" y="108"/>
                  </a:cubicBezTo>
                  <a:cubicBezTo>
                    <a:pt x="14" y="108"/>
                    <a:pt x="14" y="108"/>
                    <a:pt x="14" y="108"/>
                  </a:cubicBezTo>
                  <a:cubicBezTo>
                    <a:pt x="30" y="108"/>
                    <a:pt x="30" y="108"/>
                    <a:pt x="30" y="108"/>
                  </a:cubicBezTo>
                  <a:cubicBezTo>
                    <a:pt x="43" y="108"/>
                    <a:pt x="43" y="108"/>
                    <a:pt x="43" y="108"/>
                  </a:cubicBezTo>
                  <a:cubicBezTo>
                    <a:pt x="40" y="69"/>
                    <a:pt x="33" y="0"/>
                    <a:pt x="33" y="0"/>
                  </a:cubicBezTo>
                  <a:close/>
                </a:path>
              </a:pathLst>
            </a:custGeom>
            <a:solidFill>
              <a:srgbClr val="543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83" name="Freeform 6224"/>
            <p:cNvSpPr>
              <a:spLocks/>
            </p:cNvSpPr>
            <p:nvPr/>
          </p:nvSpPr>
          <p:spPr bwMode="auto">
            <a:xfrm>
              <a:off x="4667250" y="4216400"/>
              <a:ext cx="339725" cy="538163"/>
            </a:xfrm>
            <a:custGeom>
              <a:avLst/>
              <a:gdLst>
                <a:gd name="T0" fmla="*/ 170 w 207"/>
                <a:gd name="T1" fmla="*/ 236 h 330"/>
                <a:gd name="T2" fmla="*/ 193 w 207"/>
                <a:gd name="T3" fmla="*/ 229 h 330"/>
                <a:gd name="T4" fmla="*/ 160 w 207"/>
                <a:gd name="T5" fmla="*/ 184 h 330"/>
                <a:gd name="T6" fmla="*/ 179 w 207"/>
                <a:gd name="T7" fmla="*/ 172 h 330"/>
                <a:gd name="T8" fmla="*/ 149 w 207"/>
                <a:gd name="T9" fmla="*/ 146 h 330"/>
                <a:gd name="T10" fmla="*/ 165 w 207"/>
                <a:gd name="T11" fmla="*/ 135 h 330"/>
                <a:gd name="T12" fmla="*/ 130 w 207"/>
                <a:gd name="T13" fmla="*/ 93 h 330"/>
                <a:gd name="T14" fmla="*/ 150 w 207"/>
                <a:gd name="T15" fmla="*/ 93 h 330"/>
                <a:gd name="T16" fmla="*/ 104 w 207"/>
                <a:gd name="T17" fmla="*/ 0 h 330"/>
                <a:gd name="T18" fmla="*/ 57 w 207"/>
                <a:gd name="T19" fmla="*/ 93 h 330"/>
                <a:gd name="T20" fmla="*/ 78 w 207"/>
                <a:gd name="T21" fmla="*/ 93 h 330"/>
                <a:gd name="T22" fmla="*/ 42 w 207"/>
                <a:gd name="T23" fmla="*/ 135 h 330"/>
                <a:gd name="T24" fmla="*/ 58 w 207"/>
                <a:gd name="T25" fmla="*/ 146 h 330"/>
                <a:gd name="T26" fmla="*/ 29 w 207"/>
                <a:gd name="T27" fmla="*/ 172 h 330"/>
                <a:gd name="T28" fmla="*/ 48 w 207"/>
                <a:gd name="T29" fmla="*/ 184 h 330"/>
                <a:gd name="T30" fmla="*/ 14 w 207"/>
                <a:gd name="T31" fmla="*/ 229 h 330"/>
                <a:gd name="T32" fmla="*/ 38 w 207"/>
                <a:gd name="T33" fmla="*/ 236 h 330"/>
                <a:gd name="T34" fmla="*/ 0 w 207"/>
                <a:gd name="T35" fmla="*/ 312 h 330"/>
                <a:gd name="T36" fmla="*/ 104 w 207"/>
                <a:gd name="T37" fmla="*/ 330 h 330"/>
                <a:gd name="T38" fmla="*/ 207 w 207"/>
                <a:gd name="T39" fmla="*/ 312 h 330"/>
                <a:gd name="T40" fmla="*/ 170 w 207"/>
                <a:gd name="T41" fmla="*/ 236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07" h="330">
                  <a:moveTo>
                    <a:pt x="170" y="236"/>
                  </a:moveTo>
                  <a:cubicBezTo>
                    <a:pt x="181" y="239"/>
                    <a:pt x="193" y="229"/>
                    <a:pt x="193" y="229"/>
                  </a:cubicBezTo>
                  <a:cubicBezTo>
                    <a:pt x="189" y="228"/>
                    <a:pt x="160" y="184"/>
                    <a:pt x="160" y="184"/>
                  </a:cubicBezTo>
                  <a:cubicBezTo>
                    <a:pt x="172" y="186"/>
                    <a:pt x="179" y="172"/>
                    <a:pt x="179" y="172"/>
                  </a:cubicBezTo>
                  <a:cubicBezTo>
                    <a:pt x="168" y="171"/>
                    <a:pt x="149" y="146"/>
                    <a:pt x="149" y="146"/>
                  </a:cubicBezTo>
                  <a:cubicBezTo>
                    <a:pt x="159" y="146"/>
                    <a:pt x="165" y="135"/>
                    <a:pt x="165" y="135"/>
                  </a:cubicBezTo>
                  <a:cubicBezTo>
                    <a:pt x="152" y="128"/>
                    <a:pt x="130" y="93"/>
                    <a:pt x="130" y="93"/>
                  </a:cubicBezTo>
                  <a:cubicBezTo>
                    <a:pt x="139" y="94"/>
                    <a:pt x="150" y="93"/>
                    <a:pt x="150" y="93"/>
                  </a:cubicBezTo>
                  <a:cubicBezTo>
                    <a:pt x="128" y="69"/>
                    <a:pt x="104" y="0"/>
                    <a:pt x="104" y="0"/>
                  </a:cubicBezTo>
                  <a:cubicBezTo>
                    <a:pt x="104" y="0"/>
                    <a:pt x="79" y="69"/>
                    <a:pt x="57" y="93"/>
                  </a:cubicBezTo>
                  <a:cubicBezTo>
                    <a:pt x="57" y="93"/>
                    <a:pt x="68" y="94"/>
                    <a:pt x="78" y="93"/>
                  </a:cubicBezTo>
                  <a:cubicBezTo>
                    <a:pt x="78" y="93"/>
                    <a:pt x="55" y="128"/>
                    <a:pt x="42" y="135"/>
                  </a:cubicBezTo>
                  <a:cubicBezTo>
                    <a:pt x="42" y="135"/>
                    <a:pt x="48" y="146"/>
                    <a:pt x="58" y="146"/>
                  </a:cubicBezTo>
                  <a:cubicBezTo>
                    <a:pt x="58" y="146"/>
                    <a:pt x="39" y="171"/>
                    <a:pt x="29" y="172"/>
                  </a:cubicBezTo>
                  <a:cubicBezTo>
                    <a:pt x="29" y="172"/>
                    <a:pt x="35" y="186"/>
                    <a:pt x="48" y="184"/>
                  </a:cubicBezTo>
                  <a:cubicBezTo>
                    <a:pt x="48" y="184"/>
                    <a:pt x="18" y="228"/>
                    <a:pt x="14" y="229"/>
                  </a:cubicBezTo>
                  <a:cubicBezTo>
                    <a:pt x="14" y="229"/>
                    <a:pt x="26" y="239"/>
                    <a:pt x="38" y="236"/>
                  </a:cubicBezTo>
                  <a:cubicBezTo>
                    <a:pt x="38" y="236"/>
                    <a:pt x="18" y="300"/>
                    <a:pt x="0" y="312"/>
                  </a:cubicBezTo>
                  <a:cubicBezTo>
                    <a:pt x="0" y="312"/>
                    <a:pt x="36" y="330"/>
                    <a:pt x="104" y="330"/>
                  </a:cubicBezTo>
                  <a:cubicBezTo>
                    <a:pt x="172" y="330"/>
                    <a:pt x="207" y="312"/>
                    <a:pt x="207" y="312"/>
                  </a:cubicBezTo>
                  <a:cubicBezTo>
                    <a:pt x="190" y="300"/>
                    <a:pt x="170" y="236"/>
                    <a:pt x="170" y="236"/>
                  </a:cubicBezTo>
                  <a:close/>
                </a:path>
              </a:pathLst>
            </a:custGeom>
            <a:solidFill>
              <a:srgbClr val="09B89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8196" name="Group 8195"/>
          <p:cNvGrpSpPr/>
          <p:nvPr/>
        </p:nvGrpSpPr>
        <p:grpSpPr>
          <a:xfrm>
            <a:off x="8438526" y="3129720"/>
            <a:ext cx="606224" cy="772049"/>
            <a:chOff x="3591719" y="5970382"/>
            <a:chExt cx="376237" cy="479152"/>
          </a:xfrm>
        </p:grpSpPr>
        <p:sp>
          <p:nvSpPr>
            <p:cNvPr id="8197" name="AutoShape 3"/>
            <p:cNvSpPr>
              <a:spLocks noChangeAspect="1" noChangeArrowheads="1" noTextEdit="1"/>
            </p:cNvSpPr>
            <p:nvPr/>
          </p:nvSpPr>
          <p:spPr bwMode="auto">
            <a:xfrm>
              <a:off x="3611099" y="5975060"/>
              <a:ext cx="336141" cy="4731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98" name="Freeform 5"/>
            <p:cNvSpPr>
              <a:spLocks/>
            </p:cNvSpPr>
            <p:nvPr/>
          </p:nvSpPr>
          <p:spPr bwMode="auto">
            <a:xfrm>
              <a:off x="3591719" y="5984416"/>
              <a:ext cx="174419" cy="263300"/>
            </a:xfrm>
            <a:custGeom>
              <a:avLst/>
              <a:gdLst>
                <a:gd name="T0" fmla="*/ 23 w 109"/>
                <a:gd name="T1" fmla="*/ 78 h 165"/>
                <a:gd name="T2" fmla="*/ 42 w 109"/>
                <a:gd name="T3" fmla="*/ 51 h 165"/>
                <a:gd name="T4" fmla="*/ 59 w 109"/>
                <a:gd name="T5" fmla="*/ 31 h 165"/>
                <a:gd name="T6" fmla="*/ 88 w 109"/>
                <a:gd name="T7" fmla="*/ 15 h 165"/>
                <a:gd name="T8" fmla="*/ 88 w 109"/>
                <a:gd name="T9" fmla="*/ 66 h 165"/>
                <a:gd name="T10" fmla="*/ 72 w 109"/>
                <a:gd name="T11" fmla="*/ 109 h 165"/>
                <a:gd name="T12" fmla="*/ 61 w 109"/>
                <a:gd name="T13" fmla="*/ 137 h 165"/>
                <a:gd name="T14" fmla="*/ 43 w 109"/>
                <a:gd name="T15" fmla="*/ 165 h 165"/>
                <a:gd name="T16" fmla="*/ 30 w 109"/>
                <a:gd name="T17" fmla="*/ 143 h 165"/>
                <a:gd name="T18" fmla="*/ 23 w 109"/>
                <a:gd name="T19" fmla="*/ 109 h 165"/>
                <a:gd name="T20" fmla="*/ 23 w 109"/>
                <a:gd name="T21" fmla="*/ 78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9" h="165">
                  <a:moveTo>
                    <a:pt x="23" y="78"/>
                  </a:moveTo>
                  <a:cubicBezTo>
                    <a:pt x="11" y="41"/>
                    <a:pt x="42" y="51"/>
                    <a:pt x="42" y="51"/>
                  </a:cubicBezTo>
                  <a:cubicBezTo>
                    <a:pt x="40" y="29"/>
                    <a:pt x="59" y="31"/>
                    <a:pt x="59" y="31"/>
                  </a:cubicBezTo>
                  <a:cubicBezTo>
                    <a:pt x="62" y="0"/>
                    <a:pt x="88" y="15"/>
                    <a:pt x="88" y="15"/>
                  </a:cubicBezTo>
                  <a:cubicBezTo>
                    <a:pt x="102" y="24"/>
                    <a:pt x="88" y="66"/>
                    <a:pt x="88" y="66"/>
                  </a:cubicBezTo>
                  <a:cubicBezTo>
                    <a:pt x="109" y="82"/>
                    <a:pt x="72" y="109"/>
                    <a:pt x="72" y="109"/>
                  </a:cubicBezTo>
                  <a:cubicBezTo>
                    <a:pt x="88" y="127"/>
                    <a:pt x="61" y="137"/>
                    <a:pt x="61" y="137"/>
                  </a:cubicBezTo>
                  <a:cubicBezTo>
                    <a:pt x="65" y="164"/>
                    <a:pt x="43" y="165"/>
                    <a:pt x="43" y="165"/>
                  </a:cubicBezTo>
                  <a:cubicBezTo>
                    <a:pt x="25" y="163"/>
                    <a:pt x="30" y="143"/>
                    <a:pt x="30" y="143"/>
                  </a:cubicBezTo>
                  <a:cubicBezTo>
                    <a:pt x="3" y="132"/>
                    <a:pt x="23" y="109"/>
                    <a:pt x="23" y="109"/>
                  </a:cubicBezTo>
                  <a:cubicBezTo>
                    <a:pt x="0" y="92"/>
                    <a:pt x="23" y="78"/>
                    <a:pt x="23" y="78"/>
                  </a:cubicBezTo>
                  <a:close/>
                </a:path>
              </a:pathLst>
            </a:custGeom>
            <a:solidFill>
              <a:srgbClr val="09B89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99" name="Freeform 6"/>
            <p:cNvSpPr>
              <a:spLocks/>
            </p:cNvSpPr>
            <p:nvPr/>
          </p:nvSpPr>
          <p:spPr bwMode="auto">
            <a:xfrm>
              <a:off x="3726042" y="6226999"/>
              <a:ext cx="82197" cy="222535"/>
            </a:xfrm>
            <a:custGeom>
              <a:avLst/>
              <a:gdLst>
                <a:gd name="T0" fmla="*/ 4 w 51"/>
                <a:gd name="T1" fmla="*/ 12 h 140"/>
                <a:gd name="T2" fmla="*/ 18 w 51"/>
                <a:gd name="T3" fmla="*/ 38 h 140"/>
                <a:gd name="T4" fmla="*/ 19 w 51"/>
                <a:gd name="T5" fmla="*/ 39 h 140"/>
                <a:gd name="T6" fmla="*/ 18 w 51"/>
                <a:gd name="T7" fmla="*/ 38 h 140"/>
                <a:gd name="T8" fmla="*/ 23 w 51"/>
                <a:gd name="T9" fmla="*/ 0 h 140"/>
                <a:gd name="T10" fmla="*/ 32 w 51"/>
                <a:gd name="T11" fmla="*/ 5 h 140"/>
                <a:gd name="T12" fmla="*/ 26 w 51"/>
                <a:gd name="T13" fmla="*/ 46 h 140"/>
                <a:gd name="T14" fmla="*/ 26 w 51"/>
                <a:gd name="T15" fmla="*/ 48 h 140"/>
                <a:gd name="T16" fmla="*/ 26 w 51"/>
                <a:gd name="T17" fmla="*/ 46 h 140"/>
                <a:gd name="T18" fmla="*/ 50 w 51"/>
                <a:gd name="T19" fmla="*/ 6 h 140"/>
                <a:gd name="T20" fmla="*/ 51 w 51"/>
                <a:gd name="T21" fmla="*/ 19 h 140"/>
                <a:gd name="T22" fmla="*/ 32 w 51"/>
                <a:gd name="T23" fmla="*/ 63 h 140"/>
                <a:gd name="T24" fmla="*/ 35 w 51"/>
                <a:gd name="T25" fmla="*/ 137 h 140"/>
                <a:gd name="T26" fmla="*/ 19 w 51"/>
                <a:gd name="T27" fmla="*/ 140 h 140"/>
                <a:gd name="T28" fmla="*/ 7 w 51"/>
                <a:gd name="T29" fmla="*/ 138 h 140"/>
                <a:gd name="T30" fmla="*/ 4 w 51"/>
                <a:gd name="T31" fmla="*/ 137 h 140"/>
                <a:gd name="T32" fmla="*/ 10 w 51"/>
                <a:gd name="T33" fmla="*/ 81 h 140"/>
                <a:gd name="T34" fmla="*/ 0 w 51"/>
                <a:gd name="T35" fmla="*/ 25 h 140"/>
                <a:gd name="T36" fmla="*/ 4 w 51"/>
                <a:gd name="T37" fmla="*/ 12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1" h="140">
                  <a:moveTo>
                    <a:pt x="4" y="12"/>
                  </a:moveTo>
                  <a:cubicBezTo>
                    <a:pt x="14" y="21"/>
                    <a:pt x="18" y="34"/>
                    <a:pt x="18" y="38"/>
                  </a:cubicBezTo>
                  <a:cubicBezTo>
                    <a:pt x="18" y="39"/>
                    <a:pt x="19" y="39"/>
                    <a:pt x="19" y="39"/>
                  </a:cubicBezTo>
                  <a:cubicBezTo>
                    <a:pt x="19" y="39"/>
                    <a:pt x="19" y="39"/>
                    <a:pt x="18" y="38"/>
                  </a:cubicBezTo>
                  <a:cubicBezTo>
                    <a:pt x="18" y="32"/>
                    <a:pt x="23" y="0"/>
                    <a:pt x="23" y="0"/>
                  </a:cubicBezTo>
                  <a:cubicBezTo>
                    <a:pt x="32" y="5"/>
                    <a:pt x="32" y="5"/>
                    <a:pt x="32" y="5"/>
                  </a:cubicBezTo>
                  <a:cubicBezTo>
                    <a:pt x="28" y="11"/>
                    <a:pt x="26" y="38"/>
                    <a:pt x="26" y="46"/>
                  </a:cubicBezTo>
                  <a:cubicBezTo>
                    <a:pt x="26" y="47"/>
                    <a:pt x="26" y="47"/>
                    <a:pt x="26" y="48"/>
                  </a:cubicBezTo>
                  <a:cubicBezTo>
                    <a:pt x="26" y="48"/>
                    <a:pt x="26" y="47"/>
                    <a:pt x="26" y="46"/>
                  </a:cubicBezTo>
                  <a:cubicBezTo>
                    <a:pt x="28" y="29"/>
                    <a:pt x="50" y="6"/>
                    <a:pt x="50" y="6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44" y="21"/>
                    <a:pt x="37" y="41"/>
                    <a:pt x="32" y="63"/>
                  </a:cubicBezTo>
                  <a:cubicBezTo>
                    <a:pt x="27" y="85"/>
                    <a:pt x="35" y="137"/>
                    <a:pt x="35" y="137"/>
                  </a:cubicBezTo>
                  <a:cubicBezTo>
                    <a:pt x="35" y="137"/>
                    <a:pt x="23" y="140"/>
                    <a:pt x="19" y="140"/>
                  </a:cubicBezTo>
                  <a:cubicBezTo>
                    <a:pt x="16" y="140"/>
                    <a:pt x="7" y="138"/>
                    <a:pt x="7" y="138"/>
                  </a:cubicBezTo>
                  <a:cubicBezTo>
                    <a:pt x="4" y="137"/>
                    <a:pt x="4" y="137"/>
                    <a:pt x="4" y="137"/>
                  </a:cubicBezTo>
                  <a:cubicBezTo>
                    <a:pt x="7" y="130"/>
                    <a:pt x="10" y="81"/>
                    <a:pt x="10" y="81"/>
                  </a:cubicBezTo>
                  <a:cubicBezTo>
                    <a:pt x="13" y="38"/>
                    <a:pt x="0" y="25"/>
                    <a:pt x="0" y="25"/>
                  </a:cubicBezTo>
                  <a:lnTo>
                    <a:pt x="4" y="12"/>
                  </a:lnTo>
                  <a:close/>
                </a:path>
              </a:pathLst>
            </a:custGeom>
            <a:solidFill>
              <a:srgbClr val="543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00" name="Freeform 7"/>
            <p:cNvSpPr>
              <a:spLocks/>
            </p:cNvSpPr>
            <p:nvPr/>
          </p:nvSpPr>
          <p:spPr bwMode="auto">
            <a:xfrm>
              <a:off x="3754777" y="6287143"/>
              <a:ext cx="2005" cy="2005"/>
            </a:xfrm>
            <a:custGeom>
              <a:avLst/>
              <a:gdLst>
                <a:gd name="T0" fmla="*/ 0 w 1"/>
                <a:gd name="T1" fmla="*/ 0 h 1"/>
                <a:gd name="T2" fmla="*/ 1 w 1"/>
                <a:gd name="T3" fmla="*/ 1 h 1"/>
                <a:gd name="T4" fmla="*/ 0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0" y="1"/>
                    <a:pt x="0" y="0"/>
                  </a:cubicBezTo>
                  <a:close/>
                </a:path>
              </a:pathLst>
            </a:custGeom>
            <a:solidFill>
              <a:srgbClr val="543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01" name="Freeform 8"/>
            <p:cNvSpPr>
              <a:spLocks/>
            </p:cNvSpPr>
            <p:nvPr/>
          </p:nvSpPr>
          <p:spPr bwMode="auto">
            <a:xfrm>
              <a:off x="3768143" y="6299840"/>
              <a:ext cx="0" cy="3342"/>
            </a:xfrm>
            <a:custGeom>
              <a:avLst/>
              <a:gdLst>
                <a:gd name="T0" fmla="*/ 0 h 2"/>
                <a:gd name="T1" fmla="*/ 2 h 2"/>
                <a:gd name="T2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1"/>
                    <a:pt x="0" y="1"/>
                    <a:pt x="0" y="0"/>
                  </a:cubicBezTo>
                  <a:close/>
                </a:path>
              </a:pathLst>
            </a:custGeom>
            <a:solidFill>
              <a:srgbClr val="543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02" name="Freeform 9"/>
            <p:cNvSpPr>
              <a:spLocks/>
            </p:cNvSpPr>
            <p:nvPr/>
          </p:nvSpPr>
          <p:spPr bwMode="auto">
            <a:xfrm>
              <a:off x="3638498" y="6092676"/>
              <a:ext cx="87544" cy="126304"/>
            </a:xfrm>
            <a:custGeom>
              <a:avLst/>
              <a:gdLst>
                <a:gd name="T0" fmla="*/ 18 w 55"/>
                <a:gd name="T1" fmla="*/ 26 h 79"/>
                <a:gd name="T2" fmla="*/ 36 w 55"/>
                <a:gd name="T3" fmla="*/ 6 h 79"/>
                <a:gd name="T4" fmla="*/ 32 w 55"/>
                <a:gd name="T5" fmla="*/ 73 h 79"/>
                <a:gd name="T6" fmla="*/ 16 w 55"/>
                <a:gd name="T7" fmla="*/ 51 h 79"/>
                <a:gd name="T8" fmla="*/ 18 w 55"/>
                <a:gd name="T9" fmla="*/ 2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79">
                  <a:moveTo>
                    <a:pt x="18" y="26"/>
                  </a:moveTo>
                  <a:cubicBezTo>
                    <a:pt x="7" y="0"/>
                    <a:pt x="36" y="6"/>
                    <a:pt x="36" y="6"/>
                  </a:cubicBezTo>
                  <a:cubicBezTo>
                    <a:pt x="55" y="10"/>
                    <a:pt x="32" y="73"/>
                    <a:pt x="32" y="73"/>
                  </a:cubicBezTo>
                  <a:cubicBezTo>
                    <a:pt x="5" y="79"/>
                    <a:pt x="16" y="51"/>
                    <a:pt x="16" y="51"/>
                  </a:cubicBezTo>
                  <a:cubicBezTo>
                    <a:pt x="0" y="35"/>
                    <a:pt x="18" y="26"/>
                    <a:pt x="18" y="26"/>
                  </a:cubicBezTo>
                  <a:close/>
                </a:path>
              </a:pathLst>
            </a:custGeom>
            <a:solidFill>
              <a:srgbClr val="5EC3A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03" name="Freeform 10"/>
            <p:cNvSpPr>
              <a:spLocks/>
            </p:cNvSpPr>
            <p:nvPr/>
          </p:nvSpPr>
          <p:spPr bwMode="auto">
            <a:xfrm>
              <a:off x="3729383" y="6051243"/>
              <a:ext cx="4678" cy="2005"/>
            </a:xfrm>
            <a:custGeom>
              <a:avLst/>
              <a:gdLst>
                <a:gd name="T0" fmla="*/ 0 w 3"/>
                <a:gd name="T1" fmla="*/ 0 h 1"/>
                <a:gd name="T2" fmla="*/ 3 w 3"/>
                <a:gd name="T3" fmla="*/ 1 h 1"/>
                <a:gd name="T4" fmla="*/ 0 w 3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1">
                  <a:moveTo>
                    <a:pt x="0" y="0"/>
                  </a:moveTo>
                  <a:cubicBezTo>
                    <a:pt x="2" y="0"/>
                    <a:pt x="3" y="1"/>
                    <a:pt x="3" y="1"/>
                  </a:cubicBezTo>
                  <a:cubicBezTo>
                    <a:pt x="2" y="1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04" name="Freeform 11"/>
            <p:cNvSpPr>
              <a:spLocks/>
            </p:cNvSpPr>
            <p:nvPr/>
          </p:nvSpPr>
          <p:spPr bwMode="auto">
            <a:xfrm>
              <a:off x="3691291" y="5970382"/>
              <a:ext cx="142342" cy="173751"/>
            </a:xfrm>
            <a:custGeom>
              <a:avLst/>
              <a:gdLst>
                <a:gd name="T0" fmla="*/ 12 w 89"/>
                <a:gd name="T1" fmla="*/ 77 h 109"/>
                <a:gd name="T2" fmla="*/ 9 w 89"/>
                <a:gd name="T3" fmla="*/ 60 h 109"/>
                <a:gd name="T4" fmla="*/ 24 w 89"/>
                <a:gd name="T5" fmla="*/ 51 h 109"/>
                <a:gd name="T6" fmla="*/ 27 w 89"/>
                <a:gd name="T7" fmla="*/ 52 h 109"/>
                <a:gd name="T8" fmla="*/ 24 w 89"/>
                <a:gd name="T9" fmla="*/ 51 h 109"/>
                <a:gd name="T10" fmla="*/ 20 w 89"/>
                <a:gd name="T11" fmla="*/ 33 h 109"/>
                <a:gd name="T12" fmla="*/ 46 w 89"/>
                <a:gd name="T13" fmla="*/ 19 h 109"/>
                <a:gd name="T14" fmla="*/ 67 w 89"/>
                <a:gd name="T15" fmla="*/ 3 h 109"/>
                <a:gd name="T16" fmla="*/ 79 w 89"/>
                <a:gd name="T17" fmla="*/ 19 h 109"/>
                <a:gd name="T18" fmla="*/ 71 w 89"/>
                <a:gd name="T19" fmla="*/ 40 h 109"/>
                <a:gd name="T20" fmla="*/ 59 w 89"/>
                <a:gd name="T21" fmla="*/ 59 h 109"/>
                <a:gd name="T22" fmla="*/ 45 w 89"/>
                <a:gd name="T23" fmla="*/ 83 h 109"/>
                <a:gd name="T24" fmla="*/ 23 w 89"/>
                <a:gd name="T25" fmla="*/ 107 h 109"/>
                <a:gd name="T26" fmla="*/ 3 w 89"/>
                <a:gd name="T27" fmla="*/ 94 h 109"/>
                <a:gd name="T28" fmla="*/ 12 w 89"/>
                <a:gd name="T29" fmla="*/ 7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9" h="109">
                  <a:moveTo>
                    <a:pt x="12" y="77"/>
                  </a:moveTo>
                  <a:cubicBezTo>
                    <a:pt x="6" y="64"/>
                    <a:pt x="9" y="60"/>
                    <a:pt x="9" y="60"/>
                  </a:cubicBezTo>
                  <a:cubicBezTo>
                    <a:pt x="11" y="50"/>
                    <a:pt x="20" y="50"/>
                    <a:pt x="24" y="51"/>
                  </a:cubicBezTo>
                  <a:cubicBezTo>
                    <a:pt x="25" y="51"/>
                    <a:pt x="26" y="52"/>
                    <a:pt x="27" y="52"/>
                  </a:cubicBezTo>
                  <a:cubicBezTo>
                    <a:pt x="27" y="52"/>
                    <a:pt x="26" y="51"/>
                    <a:pt x="24" y="51"/>
                  </a:cubicBezTo>
                  <a:cubicBezTo>
                    <a:pt x="18" y="48"/>
                    <a:pt x="20" y="33"/>
                    <a:pt x="20" y="33"/>
                  </a:cubicBezTo>
                  <a:cubicBezTo>
                    <a:pt x="23" y="9"/>
                    <a:pt x="46" y="19"/>
                    <a:pt x="46" y="19"/>
                  </a:cubicBezTo>
                  <a:cubicBezTo>
                    <a:pt x="47" y="0"/>
                    <a:pt x="67" y="3"/>
                    <a:pt x="67" y="3"/>
                  </a:cubicBezTo>
                  <a:cubicBezTo>
                    <a:pt x="80" y="4"/>
                    <a:pt x="79" y="19"/>
                    <a:pt x="79" y="19"/>
                  </a:cubicBezTo>
                  <a:cubicBezTo>
                    <a:pt x="81" y="27"/>
                    <a:pt x="71" y="40"/>
                    <a:pt x="71" y="40"/>
                  </a:cubicBezTo>
                  <a:cubicBezTo>
                    <a:pt x="89" y="68"/>
                    <a:pt x="59" y="59"/>
                    <a:pt x="59" y="59"/>
                  </a:cubicBezTo>
                  <a:cubicBezTo>
                    <a:pt x="80" y="75"/>
                    <a:pt x="45" y="83"/>
                    <a:pt x="45" y="83"/>
                  </a:cubicBezTo>
                  <a:cubicBezTo>
                    <a:pt x="51" y="109"/>
                    <a:pt x="23" y="107"/>
                    <a:pt x="23" y="107"/>
                  </a:cubicBezTo>
                  <a:cubicBezTo>
                    <a:pt x="5" y="109"/>
                    <a:pt x="3" y="94"/>
                    <a:pt x="3" y="94"/>
                  </a:cubicBezTo>
                  <a:cubicBezTo>
                    <a:pt x="0" y="84"/>
                    <a:pt x="12" y="77"/>
                    <a:pt x="12" y="77"/>
                  </a:cubicBezTo>
                  <a:close/>
                </a:path>
              </a:pathLst>
            </a:custGeom>
            <a:solidFill>
              <a:srgbClr val="5EC3A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05" name="Freeform 12"/>
            <p:cNvSpPr>
              <a:spLocks/>
            </p:cNvSpPr>
            <p:nvPr/>
          </p:nvSpPr>
          <p:spPr bwMode="auto">
            <a:xfrm>
              <a:off x="3742080" y="5987757"/>
              <a:ext cx="176424" cy="170410"/>
            </a:xfrm>
            <a:custGeom>
              <a:avLst/>
              <a:gdLst>
                <a:gd name="T0" fmla="*/ 24 w 110"/>
                <a:gd name="T1" fmla="*/ 35 h 107"/>
                <a:gd name="T2" fmla="*/ 39 w 110"/>
                <a:gd name="T3" fmla="*/ 21 h 107"/>
                <a:gd name="T4" fmla="*/ 55 w 110"/>
                <a:gd name="T5" fmla="*/ 2 h 107"/>
                <a:gd name="T6" fmla="*/ 69 w 110"/>
                <a:gd name="T7" fmla="*/ 20 h 107"/>
                <a:gd name="T8" fmla="*/ 88 w 110"/>
                <a:gd name="T9" fmla="*/ 38 h 107"/>
                <a:gd name="T10" fmla="*/ 78 w 110"/>
                <a:gd name="T11" fmla="*/ 72 h 107"/>
                <a:gd name="T12" fmla="*/ 58 w 110"/>
                <a:gd name="T13" fmla="*/ 88 h 107"/>
                <a:gd name="T14" fmla="*/ 33 w 110"/>
                <a:gd name="T15" fmla="*/ 83 h 107"/>
                <a:gd name="T16" fmla="*/ 24 w 110"/>
                <a:gd name="T17" fmla="*/ 56 h 107"/>
                <a:gd name="T18" fmla="*/ 24 w 110"/>
                <a:gd name="T19" fmla="*/ 35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0" h="107">
                  <a:moveTo>
                    <a:pt x="24" y="35"/>
                  </a:moveTo>
                  <a:cubicBezTo>
                    <a:pt x="22" y="17"/>
                    <a:pt x="39" y="21"/>
                    <a:pt x="39" y="21"/>
                  </a:cubicBezTo>
                  <a:cubicBezTo>
                    <a:pt x="42" y="0"/>
                    <a:pt x="55" y="2"/>
                    <a:pt x="55" y="2"/>
                  </a:cubicBezTo>
                  <a:cubicBezTo>
                    <a:pt x="68" y="3"/>
                    <a:pt x="69" y="20"/>
                    <a:pt x="69" y="20"/>
                  </a:cubicBezTo>
                  <a:cubicBezTo>
                    <a:pt x="93" y="19"/>
                    <a:pt x="88" y="38"/>
                    <a:pt x="88" y="38"/>
                  </a:cubicBezTo>
                  <a:cubicBezTo>
                    <a:pt x="110" y="59"/>
                    <a:pt x="78" y="72"/>
                    <a:pt x="78" y="72"/>
                  </a:cubicBezTo>
                  <a:cubicBezTo>
                    <a:pt x="84" y="98"/>
                    <a:pt x="58" y="88"/>
                    <a:pt x="58" y="88"/>
                  </a:cubicBezTo>
                  <a:cubicBezTo>
                    <a:pt x="42" y="107"/>
                    <a:pt x="33" y="83"/>
                    <a:pt x="33" y="83"/>
                  </a:cubicBezTo>
                  <a:cubicBezTo>
                    <a:pt x="18" y="85"/>
                    <a:pt x="24" y="56"/>
                    <a:pt x="24" y="56"/>
                  </a:cubicBezTo>
                  <a:cubicBezTo>
                    <a:pt x="0" y="43"/>
                    <a:pt x="24" y="35"/>
                    <a:pt x="24" y="35"/>
                  </a:cubicBezTo>
                  <a:close/>
                </a:path>
              </a:pathLst>
            </a:custGeom>
            <a:solidFill>
              <a:srgbClr val="09B89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06" name="Freeform 13"/>
            <p:cNvSpPr>
              <a:spLocks/>
            </p:cNvSpPr>
            <p:nvPr/>
          </p:nvSpPr>
          <p:spPr bwMode="auto">
            <a:xfrm>
              <a:off x="3802893" y="6048570"/>
              <a:ext cx="161722" cy="160386"/>
            </a:xfrm>
            <a:custGeom>
              <a:avLst/>
              <a:gdLst>
                <a:gd name="T0" fmla="*/ 23 w 101"/>
                <a:gd name="T1" fmla="*/ 43 h 101"/>
                <a:gd name="T2" fmla="*/ 20 w 101"/>
                <a:gd name="T3" fmla="*/ 25 h 101"/>
                <a:gd name="T4" fmla="*/ 42 w 101"/>
                <a:gd name="T5" fmla="*/ 22 h 101"/>
                <a:gd name="T6" fmla="*/ 55 w 101"/>
                <a:gd name="T7" fmla="*/ 0 h 101"/>
                <a:gd name="T8" fmla="*/ 69 w 101"/>
                <a:gd name="T9" fmla="*/ 20 h 101"/>
                <a:gd name="T10" fmla="*/ 79 w 101"/>
                <a:gd name="T11" fmla="*/ 39 h 101"/>
                <a:gd name="T12" fmla="*/ 83 w 101"/>
                <a:gd name="T13" fmla="*/ 69 h 101"/>
                <a:gd name="T14" fmla="*/ 80 w 101"/>
                <a:gd name="T15" fmla="*/ 69 h 101"/>
                <a:gd name="T16" fmla="*/ 61 w 101"/>
                <a:gd name="T17" fmla="*/ 79 h 101"/>
                <a:gd name="T18" fmla="*/ 43 w 101"/>
                <a:gd name="T19" fmla="*/ 78 h 101"/>
                <a:gd name="T20" fmla="*/ 8 w 101"/>
                <a:gd name="T21" fmla="*/ 66 h 101"/>
                <a:gd name="T22" fmla="*/ 23 w 101"/>
                <a:gd name="T23" fmla="*/ 43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1" h="101">
                  <a:moveTo>
                    <a:pt x="23" y="43"/>
                  </a:moveTo>
                  <a:cubicBezTo>
                    <a:pt x="14" y="40"/>
                    <a:pt x="20" y="25"/>
                    <a:pt x="20" y="25"/>
                  </a:cubicBezTo>
                  <a:cubicBezTo>
                    <a:pt x="25" y="11"/>
                    <a:pt x="42" y="22"/>
                    <a:pt x="42" y="22"/>
                  </a:cubicBezTo>
                  <a:cubicBezTo>
                    <a:pt x="35" y="0"/>
                    <a:pt x="55" y="0"/>
                    <a:pt x="55" y="0"/>
                  </a:cubicBezTo>
                  <a:cubicBezTo>
                    <a:pt x="68" y="0"/>
                    <a:pt x="69" y="20"/>
                    <a:pt x="69" y="20"/>
                  </a:cubicBezTo>
                  <a:cubicBezTo>
                    <a:pt x="91" y="21"/>
                    <a:pt x="79" y="39"/>
                    <a:pt x="79" y="39"/>
                  </a:cubicBezTo>
                  <a:cubicBezTo>
                    <a:pt x="101" y="49"/>
                    <a:pt x="83" y="69"/>
                    <a:pt x="83" y="69"/>
                  </a:cubicBezTo>
                  <a:cubicBezTo>
                    <a:pt x="82" y="70"/>
                    <a:pt x="80" y="69"/>
                    <a:pt x="80" y="69"/>
                  </a:cubicBezTo>
                  <a:cubicBezTo>
                    <a:pt x="82" y="94"/>
                    <a:pt x="61" y="79"/>
                    <a:pt x="61" y="79"/>
                  </a:cubicBezTo>
                  <a:cubicBezTo>
                    <a:pt x="59" y="92"/>
                    <a:pt x="43" y="78"/>
                    <a:pt x="43" y="78"/>
                  </a:cubicBezTo>
                  <a:cubicBezTo>
                    <a:pt x="21" y="101"/>
                    <a:pt x="8" y="66"/>
                    <a:pt x="8" y="66"/>
                  </a:cubicBezTo>
                  <a:cubicBezTo>
                    <a:pt x="0" y="46"/>
                    <a:pt x="23" y="43"/>
                    <a:pt x="23" y="43"/>
                  </a:cubicBezTo>
                  <a:close/>
                </a:path>
              </a:pathLst>
            </a:custGeom>
            <a:solidFill>
              <a:srgbClr val="5EC3A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07" name="Freeform 14"/>
            <p:cNvSpPr>
              <a:spLocks/>
            </p:cNvSpPr>
            <p:nvPr/>
          </p:nvSpPr>
          <p:spPr bwMode="auto">
            <a:xfrm>
              <a:off x="3881749" y="6250388"/>
              <a:ext cx="20716" cy="30741"/>
            </a:xfrm>
            <a:custGeom>
              <a:avLst/>
              <a:gdLst>
                <a:gd name="T0" fmla="*/ 0 w 13"/>
                <a:gd name="T1" fmla="*/ 19 h 19"/>
                <a:gd name="T2" fmla="*/ 0 w 13"/>
                <a:gd name="T3" fmla="*/ 19 h 19"/>
                <a:gd name="T4" fmla="*/ 0 w 13"/>
                <a:gd name="T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9">
                  <a:moveTo>
                    <a:pt x="0" y="19"/>
                  </a:moveTo>
                  <a:cubicBezTo>
                    <a:pt x="0" y="19"/>
                    <a:pt x="0" y="19"/>
                    <a:pt x="0" y="19"/>
                  </a:cubicBezTo>
                  <a:cubicBezTo>
                    <a:pt x="2" y="17"/>
                    <a:pt x="13" y="0"/>
                    <a:pt x="0" y="19"/>
                  </a:cubicBezTo>
                  <a:close/>
                </a:path>
              </a:pathLst>
            </a:custGeom>
            <a:solidFill>
              <a:srgbClr val="4DA0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08" name="Freeform 15"/>
            <p:cNvSpPr>
              <a:spLocks/>
            </p:cNvSpPr>
            <p:nvPr/>
          </p:nvSpPr>
          <p:spPr bwMode="auto">
            <a:xfrm>
              <a:off x="3792200" y="6132772"/>
              <a:ext cx="175756" cy="181770"/>
            </a:xfrm>
            <a:custGeom>
              <a:avLst/>
              <a:gdLst>
                <a:gd name="T0" fmla="*/ 20 w 110"/>
                <a:gd name="T1" fmla="*/ 36 h 114"/>
                <a:gd name="T2" fmla="*/ 38 w 110"/>
                <a:gd name="T3" fmla="*/ 23 h 114"/>
                <a:gd name="T4" fmla="*/ 58 w 110"/>
                <a:gd name="T5" fmla="*/ 10 h 114"/>
                <a:gd name="T6" fmla="*/ 67 w 110"/>
                <a:gd name="T7" fmla="*/ 1 h 114"/>
                <a:gd name="T8" fmla="*/ 67 w 110"/>
                <a:gd name="T9" fmla="*/ 1 h 114"/>
                <a:gd name="T10" fmla="*/ 85 w 110"/>
                <a:gd name="T11" fmla="*/ 16 h 114"/>
                <a:gd name="T12" fmla="*/ 87 w 110"/>
                <a:gd name="T13" fmla="*/ 40 h 114"/>
                <a:gd name="T14" fmla="*/ 85 w 110"/>
                <a:gd name="T15" fmla="*/ 60 h 114"/>
                <a:gd name="T16" fmla="*/ 73 w 110"/>
                <a:gd name="T17" fmla="*/ 75 h 114"/>
                <a:gd name="T18" fmla="*/ 56 w 110"/>
                <a:gd name="T19" fmla="*/ 94 h 114"/>
                <a:gd name="T20" fmla="*/ 56 w 110"/>
                <a:gd name="T21" fmla="*/ 93 h 114"/>
                <a:gd name="T22" fmla="*/ 56 w 110"/>
                <a:gd name="T23" fmla="*/ 93 h 114"/>
                <a:gd name="T24" fmla="*/ 56 w 110"/>
                <a:gd name="T25" fmla="*/ 93 h 114"/>
                <a:gd name="T26" fmla="*/ 55 w 110"/>
                <a:gd name="T27" fmla="*/ 95 h 114"/>
                <a:gd name="T28" fmla="*/ 34 w 110"/>
                <a:gd name="T29" fmla="*/ 96 h 114"/>
                <a:gd name="T30" fmla="*/ 33 w 110"/>
                <a:gd name="T31" fmla="*/ 97 h 114"/>
                <a:gd name="T32" fmla="*/ 16 w 110"/>
                <a:gd name="T33" fmla="*/ 86 h 114"/>
                <a:gd name="T34" fmla="*/ 14 w 110"/>
                <a:gd name="T35" fmla="*/ 72 h 114"/>
                <a:gd name="T36" fmla="*/ 12 w 110"/>
                <a:gd name="T37" fmla="*/ 53 h 114"/>
                <a:gd name="T38" fmla="*/ 20 w 110"/>
                <a:gd name="T39" fmla="*/ 36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10" h="114">
                  <a:moveTo>
                    <a:pt x="20" y="36"/>
                  </a:moveTo>
                  <a:cubicBezTo>
                    <a:pt x="19" y="15"/>
                    <a:pt x="38" y="23"/>
                    <a:pt x="38" y="23"/>
                  </a:cubicBezTo>
                  <a:cubicBezTo>
                    <a:pt x="45" y="0"/>
                    <a:pt x="58" y="10"/>
                    <a:pt x="58" y="10"/>
                  </a:cubicBezTo>
                  <a:cubicBezTo>
                    <a:pt x="58" y="5"/>
                    <a:pt x="67" y="1"/>
                    <a:pt x="67" y="1"/>
                  </a:cubicBezTo>
                  <a:cubicBezTo>
                    <a:pt x="67" y="1"/>
                    <a:pt x="67" y="1"/>
                    <a:pt x="67" y="1"/>
                  </a:cubicBezTo>
                  <a:cubicBezTo>
                    <a:pt x="86" y="0"/>
                    <a:pt x="85" y="16"/>
                    <a:pt x="85" y="16"/>
                  </a:cubicBezTo>
                  <a:cubicBezTo>
                    <a:pt x="110" y="27"/>
                    <a:pt x="87" y="40"/>
                    <a:pt x="87" y="40"/>
                  </a:cubicBezTo>
                  <a:cubicBezTo>
                    <a:pt x="106" y="51"/>
                    <a:pt x="85" y="60"/>
                    <a:pt x="85" y="60"/>
                  </a:cubicBezTo>
                  <a:cubicBezTo>
                    <a:pt x="89" y="83"/>
                    <a:pt x="73" y="75"/>
                    <a:pt x="73" y="75"/>
                  </a:cubicBezTo>
                  <a:cubicBezTo>
                    <a:pt x="77" y="105"/>
                    <a:pt x="56" y="94"/>
                    <a:pt x="56" y="94"/>
                  </a:cubicBezTo>
                  <a:cubicBezTo>
                    <a:pt x="56" y="94"/>
                    <a:pt x="56" y="94"/>
                    <a:pt x="56" y="93"/>
                  </a:cubicBezTo>
                  <a:cubicBezTo>
                    <a:pt x="56" y="93"/>
                    <a:pt x="56" y="93"/>
                    <a:pt x="56" y="93"/>
                  </a:cubicBezTo>
                  <a:cubicBezTo>
                    <a:pt x="69" y="74"/>
                    <a:pt x="58" y="91"/>
                    <a:pt x="56" y="93"/>
                  </a:cubicBezTo>
                  <a:cubicBezTo>
                    <a:pt x="56" y="94"/>
                    <a:pt x="55" y="94"/>
                    <a:pt x="55" y="95"/>
                  </a:cubicBezTo>
                  <a:cubicBezTo>
                    <a:pt x="42" y="114"/>
                    <a:pt x="34" y="96"/>
                    <a:pt x="34" y="96"/>
                  </a:cubicBezTo>
                  <a:cubicBezTo>
                    <a:pt x="34" y="97"/>
                    <a:pt x="33" y="97"/>
                    <a:pt x="33" y="97"/>
                  </a:cubicBezTo>
                  <a:cubicBezTo>
                    <a:pt x="10" y="111"/>
                    <a:pt x="16" y="86"/>
                    <a:pt x="16" y="86"/>
                  </a:cubicBezTo>
                  <a:cubicBezTo>
                    <a:pt x="5" y="78"/>
                    <a:pt x="14" y="72"/>
                    <a:pt x="14" y="72"/>
                  </a:cubicBezTo>
                  <a:cubicBezTo>
                    <a:pt x="0" y="69"/>
                    <a:pt x="12" y="53"/>
                    <a:pt x="12" y="53"/>
                  </a:cubicBezTo>
                  <a:cubicBezTo>
                    <a:pt x="3" y="43"/>
                    <a:pt x="20" y="36"/>
                    <a:pt x="20" y="36"/>
                  </a:cubicBezTo>
                  <a:close/>
                </a:path>
              </a:pathLst>
            </a:custGeom>
            <a:solidFill>
              <a:srgbClr val="09B89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09" name="Freeform 16"/>
            <p:cNvSpPr>
              <a:spLocks/>
            </p:cNvSpPr>
            <p:nvPr/>
          </p:nvSpPr>
          <p:spPr bwMode="auto">
            <a:xfrm>
              <a:off x="3663892" y="6075301"/>
              <a:ext cx="158380" cy="218526"/>
            </a:xfrm>
            <a:custGeom>
              <a:avLst/>
              <a:gdLst>
                <a:gd name="T0" fmla="*/ 14 w 99"/>
                <a:gd name="T1" fmla="*/ 87 h 137"/>
                <a:gd name="T2" fmla="*/ 10 w 99"/>
                <a:gd name="T3" fmla="*/ 71 h 137"/>
                <a:gd name="T4" fmla="*/ 21 w 99"/>
                <a:gd name="T5" fmla="*/ 57 h 137"/>
                <a:gd name="T6" fmla="*/ 21 w 99"/>
                <a:gd name="T7" fmla="*/ 42 h 137"/>
                <a:gd name="T8" fmla="*/ 33 w 99"/>
                <a:gd name="T9" fmla="*/ 37 h 137"/>
                <a:gd name="T10" fmla="*/ 54 w 99"/>
                <a:gd name="T11" fmla="*/ 15 h 137"/>
                <a:gd name="T12" fmla="*/ 70 w 99"/>
                <a:gd name="T13" fmla="*/ 0 h 137"/>
                <a:gd name="T14" fmla="*/ 83 w 99"/>
                <a:gd name="T15" fmla="*/ 23 h 137"/>
                <a:gd name="T16" fmla="*/ 97 w 99"/>
                <a:gd name="T17" fmla="*/ 48 h 137"/>
                <a:gd name="T18" fmla="*/ 74 w 99"/>
                <a:gd name="T19" fmla="*/ 78 h 137"/>
                <a:gd name="T20" fmla="*/ 57 w 99"/>
                <a:gd name="T21" fmla="*/ 77 h 137"/>
                <a:gd name="T22" fmla="*/ 57 w 99"/>
                <a:gd name="T23" fmla="*/ 78 h 137"/>
                <a:gd name="T24" fmla="*/ 42 w 99"/>
                <a:gd name="T25" fmla="*/ 93 h 137"/>
                <a:gd name="T26" fmla="*/ 5 w 99"/>
                <a:gd name="T27" fmla="*/ 104 h 137"/>
                <a:gd name="T28" fmla="*/ 14 w 99"/>
                <a:gd name="T29" fmla="*/ 87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7">
                  <a:moveTo>
                    <a:pt x="14" y="87"/>
                  </a:moveTo>
                  <a:cubicBezTo>
                    <a:pt x="9" y="86"/>
                    <a:pt x="10" y="71"/>
                    <a:pt x="10" y="71"/>
                  </a:cubicBezTo>
                  <a:cubicBezTo>
                    <a:pt x="9" y="61"/>
                    <a:pt x="21" y="57"/>
                    <a:pt x="21" y="57"/>
                  </a:cubicBezTo>
                  <a:cubicBezTo>
                    <a:pt x="16" y="52"/>
                    <a:pt x="21" y="42"/>
                    <a:pt x="21" y="42"/>
                  </a:cubicBezTo>
                  <a:cubicBezTo>
                    <a:pt x="25" y="34"/>
                    <a:pt x="33" y="37"/>
                    <a:pt x="33" y="37"/>
                  </a:cubicBezTo>
                  <a:cubicBezTo>
                    <a:pt x="31" y="14"/>
                    <a:pt x="54" y="15"/>
                    <a:pt x="54" y="15"/>
                  </a:cubicBezTo>
                  <a:cubicBezTo>
                    <a:pt x="54" y="2"/>
                    <a:pt x="70" y="0"/>
                    <a:pt x="70" y="0"/>
                  </a:cubicBezTo>
                  <a:cubicBezTo>
                    <a:pt x="86" y="3"/>
                    <a:pt x="83" y="23"/>
                    <a:pt x="83" y="23"/>
                  </a:cubicBezTo>
                  <a:cubicBezTo>
                    <a:pt x="99" y="24"/>
                    <a:pt x="97" y="48"/>
                    <a:pt x="97" y="48"/>
                  </a:cubicBezTo>
                  <a:cubicBezTo>
                    <a:pt x="98" y="111"/>
                    <a:pt x="74" y="78"/>
                    <a:pt x="74" y="78"/>
                  </a:cubicBezTo>
                  <a:cubicBezTo>
                    <a:pt x="68" y="90"/>
                    <a:pt x="57" y="77"/>
                    <a:pt x="57" y="77"/>
                  </a:cubicBezTo>
                  <a:cubicBezTo>
                    <a:pt x="57" y="77"/>
                    <a:pt x="57" y="77"/>
                    <a:pt x="57" y="78"/>
                  </a:cubicBezTo>
                  <a:cubicBezTo>
                    <a:pt x="65" y="98"/>
                    <a:pt x="42" y="93"/>
                    <a:pt x="42" y="93"/>
                  </a:cubicBezTo>
                  <a:cubicBezTo>
                    <a:pt x="17" y="137"/>
                    <a:pt x="5" y="104"/>
                    <a:pt x="5" y="104"/>
                  </a:cubicBezTo>
                  <a:cubicBezTo>
                    <a:pt x="0" y="95"/>
                    <a:pt x="14" y="87"/>
                    <a:pt x="14" y="87"/>
                  </a:cubicBezTo>
                  <a:close/>
                </a:path>
              </a:pathLst>
            </a:custGeom>
            <a:solidFill>
              <a:srgbClr val="09B89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10" name="Freeform 17"/>
            <p:cNvSpPr>
              <a:spLocks/>
            </p:cNvSpPr>
            <p:nvPr/>
          </p:nvSpPr>
          <p:spPr bwMode="auto">
            <a:xfrm>
              <a:off x="3633151" y="6104037"/>
              <a:ext cx="251939" cy="210506"/>
            </a:xfrm>
            <a:custGeom>
              <a:avLst/>
              <a:gdLst>
                <a:gd name="T0" fmla="*/ 14 w 157"/>
                <a:gd name="T1" fmla="*/ 96 h 132"/>
                <a:gd name="T2" fmla="*/ 37 w 157"/>
                <a:gd name="T3" fmla="*/ 89 h 132"/>
                <a:gd name="T4" fmla="*/ 48 w 157"/>
                <a:gd name="T5" fmla="*/ 74 h 132"/>
                <a:gd name="T6" fmla="*/ 70 w 157"/>
                <a:gd name="T7" fmla="*/ 49 h 132"/>
                <a:gd name="T8" fmla="*/ 80 w 157"/>
                <a:gd name="T9" fmla="*/ 31 h 132"/>
                <a:gd name="T10" fmla="*/ 109 w 157"/>
                <a:gd name="T11" fmla="*/ 33 h 132"/>
                <a:gd name="T12" fmla="*/ 126 w 157"/>
                <a:gd name="T13" fmla="*/ 47 h 132"/>
                <a:gd name="T14" fmla="*/ 137 w 157"/>
                <a:gd name="T15" fmla="*/ 74 h 132"/>
                <a:gd name="T16" fmla="*/ 126 w 157"/>
                <a:gd name="T17" fmla="*/ 96 h 132"/>
                <a:gd name="T18" fmla="*/ 103 w 157"/>
                <a:gd name="T19" fmla="*/ 80 h 132"/>
                <a:gd name="T20" fmla="*/ 78 w 157"/>
                <a:gd name="T21" fmla="*/ 80 h 132"/>
                <a:gd name="T22" fmla="*/ 61 w 157"/>
                <a:gd name="T23" fmla="*/ 89 h 132"/>
                <a:gd name="T24" fmla="*/ 60 w 157"/>
                <a:gd name="T25" fmla="*/ 88 h 132"/>
                <a:gd name="T26" fmla="*/ 60 w 157"/>
                <a:gd name="T27" fmla="*/ 88 h 132"/>
                <a:gd name="T28" fmla="*/ 37 w 157"/>
                <a:gd name="T29" fmla="*/ 109 h 132"/>
                <a:gd name="T30" fmla="*/ 8 w 157"/>
                <a:gd name="T31" fmla="*/ 114 h 132"/>
                <a:gd name="T32" fmla="*/ 14 w 157"/>
                <a:gd name="T33" fmla="*/ 96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7" h="132">
                  <a:moveTo>
                    <a:pt x="14" y="96"/>
                  </a:moveTo>
                  <a:cubicBezTo>
                    <a:pt x="14" y="96"/>
                    <a:pt x="17" y="69"/>
                    <a:pt x="37" y="89"/>
                  </a:cubicBezTo>
                  <a:cubicBezTo>
                    <a:pt x="37" y="89"/>
                    <a:pt x="30" y="74"/>
                    <a:pt x="48" y="74"/>
                  </a:cubicBezTo>
                  <a:cubicBezTo>
                    <a:pt x="48" y="74"/>
                    <a:pt x="35" y="40"/>
                    <a:pt x="70" y="49"/>
                  </a:cubicBezTo>
                  <a:cubicBezTo>
                    <a:pt x="70" y="49"/>
                    <a:pt x="59" y="28"/>
                    <a:pt x="80" y="31"/>
                  </a:cubicBezTo>
                  <a:cubicBezTo>
                    <a:pt x="80" y="31"/>
                    <a:pt x="95" y="0"/>
                    <a:pt x="109" y="33"/>
                  </a:cubicBezTo>
                  <a:cubicBezTo>
                    <a:pt x="109" y="33"/>
                    <a:pt x="131" y="23"/>
                    <a:pt x="126" y="47"/>
                  </a:cubicBezTo>
                  <a:cubicBezTo>
                    <a:pt x="126" y="47"/>
                    <a:pt x="152" y="52"/>
                    <a:pt x="137" y="74"/>
                  </a:cubicBezTo>
                  <a:cubicBezTo>
                    <a:pt x="137" y="74"/>
                    <a:pt x="157" y="103"/>
                    <a:pt x="126" y="96"/>
                  </a:cubicBezTo>
                  <a:cubicBezTo>
                    <a:pt x="126" y="96"/>
                    <a:pt x="104" y="118"/>
                    <a:pt x="103" y="80"/>
                  </a:cubicBezTo>
                  <a:cubicBezTo>
                    <a:pt x="103" y="80"/>
                    <a:pt x="90" y="108"/>
                    <a:pt x="78" y="80"/>
                  </a:cubicBezTo>
                  <a:cubicBezTo>
                    <a:pt x="78" y="80"/>
                    <a:pt x="78" y="99"/>
                    <a:pt x="61" y="89"/>
                  </a:cubicBezTo>
                  <a:cubicBezTo>
                    <a:pt x="61" y="89"/>
                    <a:pt x="60" y="88"/>
                    <a:pt x="60" y="88"/>
                  </a:cubicBezTo>
                  <a:cubicBezTo>
                    <a:pt x="42" y="77"/>
                    <a:pt x="60" y="88"/>
                    <a:pt x="60" y="88"/>
                  </a:cubicBezTo>
                  <a:cubicBezTo>
                    <a:pt x="60" y="88"/>
                    <a:pt x="64" y="128"/>
                    <a:pt x="37" y="109"/>
                  </a:cubicBezTo>
                  <a:cubicBezTo>
                    <a:pt x="37" y="109"/>
                    <a:pt x="26" y="132"/>
                    <a:pt x="8" y="114"/>
                  </a:cubicBezTo>
                  <a:cubicBezTo>
                    <a:pt x="8" y="114"/>
                    <a:pt x="0" y="98"/>
                    <a:pt x="14" y="96"/>
                  </a:cubicBezTo>
                  <a:close/>
                </a:path>
              </a:pathLst>
            </a:custGeom>
            <a:solidFill>
              <a:srgbClr val="5EC3A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8050" name="Group 8049"/>
          <p:cNvGrpSpPr/>
          <p:nvPr/>
        </p:nvGrpSpPr>
        <p:grpSpPr>
          <a:xfrm>
            <a:off x="2870579" y="4012727"/>
            <a:ext cx="1504219" cy="499359"/>
            <a:chOff x="-2268538" y="2841625"/>
            <a:chExt cx="2720976" cy="903288"/>
          </a:xfrm>
        </p:grpSpPr>
        <p:grpSp>
          <p:nvGrpSpPr>
            <p:cNvPr id="7832" name="Group 6197"/>
            <p:cNvGrpSpPr>
              <a:grpSpLocks/>
            </p:cNvGrpSpPr>
            <p:nvPr/>
          </p:nvGrpSpPr>
          <p:grpSpPr bwMode="auto">
            <a:xfrm>
              <a:off x="-2268538" y="2841625"/>
              <a:ext cx="2570163" cy="903288"/>
              <a:chOff x="-1429" y="1790"/>
              <a:chExt cx="1619" cy="569"/>
            </a:xfrm>
            <a:solidFill>
              <a:srgbClr val="5EC3AE"/>
            </a:solidFill>
          </p:grpSpPr>
          <p:sp>
            <p:nvSpPr>
              <p:cNvPr id="7850" name="Freeform 5997"/>
              <p:cNvSpPr>
                <a:spLocks/>
              </p:cNvSpPr>
              <p:nvPr/>
            </p:nvSpPr>
            <p:spPr bwMode="auto">
              <a:xfrm>
                <a:off x="-310" y="2018"/>
                <a:ext cx="124" cy="189"/>
              </a:xfrm>
              <a:custGeom>
                <a:avLst/>
                <a:gdLst>
                  <a:gd name="T0" fmla="*/ 62 w 77"/>
                  <a:gd name="T1" fmla="*/ 55 h 117"/>
                  <a:gd name="T2" fmla="*/ 47 w 77"/>
                  <a:gd name="T3" fmla="*/ 36 h 117"/>
                  <a:gd name="T4" fmla="*/ 35 w 77"/>
                  <a:gd name="T5" fmla="*/ 22 h 117"/>
                  <a:gd name="T6" fmla="*/ 15 w 77"/>
                  <a:gd name="T7" fmla="*/ 11 h 117"/>
                  <a:gd name="T8" fmla="*/ 15 w 77"/>
                  <a:gd name="T9" fmla="*/ 47 h 117"/>
                  <a:gd name="T10" fmla="*/ 26 w 77"/>
                  <a:gd name="T11" fmla="*/ 77 h 117"/>
                  <a:gd name="T12" fmla="*/ 34 w 77"/>
                  <a:gd name="T13" fmla="*/ 97 h 117"/>
                  <a:gd name="T14" fmla="*/ 47 w 77"/>
                  <a:gd name="T15" fmla="*/ 117 h 117"/>
                  <a:gd name="T16" fmla="*/ 56 w 77"/>
                  <a:gd name="T17" fmla="*/ 101 h 117"/>
                  <a:gd name="T18" fmla="*/ 61 w 77"/>
                  <a:gd name="T19" fmla="*/ 77 h 117"/>
                  <a:gd name="T20" fmla="*/ 62 w 77"/>
                  <a:gd name="T21" fmla="*/ 55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7" h="117">
                    <a:moveTo>
                      <a:pt x="62" y="55"/>
                    </a:moveTo>
                    <a:cubicBezTo>
                      <a:pt x="70" y="29"/>
                      <a:pt x="47" y="36"/>
                      <a:pt x="47" y="36"/>
                    </a:cubicBezTo>
                    <a:cubicBezTo>
                      <a:pt x="49" y="21"/>
                      <a:pt x="35" y="22"/>
                      <a:pt x="35" y="22"/>
                    </a:cubicBezTo>
                    <a:cubicBezTo>
                      <a:pt x="33" y="0"/>
                      <a:pt x="15" y="11"/>
                      <a:pt x="15" y="11"/>
                    </a:cubicBezTo>
                    <a:cubicBezTo>
                      <a:pt x="5" y="17"/>
                      <a:pt x="15" y="47"/>
                      <a:pt x="15" y="47"/>
                    </a:cubicBezTo>
                    <a:cubicBezTo>
                      <a:pt x="0" y="58"/>
                      <a:pt x="26" y="77"/>
                      <a:pt x="26" y="77"/>
                    </a:cubicBezTo>
                    <a:cubicBezTo>
                      <a:pt x="15" y="90"/>
                      <a:pt x="34" y="97"/>
                      <a:pt x="34" y="97"/>
                    </a:cubicBezTo>
                    <a:cubicBezTo>
                      <a:pt x="32" y="116"/>
                      <a:pt x="47" y="117"/>
                      <a:pt x="47" y="117"/>
                    </a:cubicBezTo>
                    <a:cubicBezTo>
                      <a:pt x="60" y="116"/>
                      <a:pt x="56" y="101"/>
                      <a:pt x="56" y="101"/>
                    </a:cubicBezTo>
                    <a:cubicBezTo>
                      <a:pt x="76" y="94"/>
                      <a:pt x="61" y="77"/>
                      <a:pt x="61" y="77"/>
                    </a:cubicBezTo>
                    <a:cubicBezTo>
                      <a:pt x="77" y="65"/>
                      <a:pt x="62" y="55"/>
                      <a:pt x="62" y="5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851" name="Freeform 5998"/>
              <p:cNvSpPr>
                <a:spLocks/>
              </p:cNvSpPr>
              <p:nvPr/>
            </p:nvSpPr>
            <p:spPr bwMode="auto">
              <a:xfrm>
                <a:off x="-302" y="2236"/>
                <a:ext cx="0" cy="1"/>
              </a:xfrm>
              <a:custGeom>
                <a:avLst/>
                <a:gdLst>
                  <a:gd name="T0" fmla="*/ 0 h 1"/>
                  <a:gd name="T1" fmla="*/ 1 h 1"/>
                  <a:gd name="T2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1"/>
                      <a:pt x="0" y="1"/>
                    </a:cubicBezTo>
                    <a:cubicBezTo>
                      <a:pt x="0" y="1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852" name="Freeform 5999"/>
              <p:cNvSpPr>
                <a:spLocks/>
              </p:cNvSpPr>
              <p:nvPr/>
            </p:nvSpPr>
            <p:spPr bwMode="auto">
              <a:xfrm>
                <a:off x="-341" y="2192"/>
                <a:ext cx="60" cy="157"/>
              </a:xfrm>
              <a:custGeom>
                <a:avLst/>
                <a:gdLst>
                  <a:gd name="T0" fmla="*/ 34 w 37"/>
                  <a:gd name="T1" fmla="*/ 9 h 97"/>
                  <a:gd name="T2" fmla="*/ 24 w 37"/>
                  <a:gd name="T3" fmla="*/ 27 h 97"/>
                  <a:gd name="T4" fmla="*/ 24 w 37"/>
                  <a:gd name="T5" fmla="*/ 28 h 97"/>
                  <a:gd name="T6" fmla="*/ 24 w 37"/>
                  <a:gd name="T7" fmla="*/ 27 h 97"/>
                  <a:gd name="T8" fmla="*/ 21 w 37"/>
                  <a:gd name="T9" fmla="*/ 0 h 97"/>
                  <a:gd name="T10" fmla="*/ 14 w 37"/>
                  <a:gd name="T11" fmla="*/ 3 h 97"/>
                  <a:gd name="T12" fmla="*/ 18 w 37"/>
                  <a:gd name="T13" fmla="*/ 33 h 97"/>
                  <a:gd name="T14" fmla="*/ 18 w 37"/>
                  <a:gd name="T15" fmla="*/ 34 h 97"/>
                  <a:gd name="T16" fmla="*/ 18 w 37"/>
                  <a:gd name="T17" fmla="*/ 33 h 97"/>
                  <a:gd name="T18" fmla="*/ 2 w 37"/>
                  <a:gd name="T19" fmla="*/ 4 h 97"/>
                  <a:gd name="T20" fmla="*/ 0 w 37"/>
                  <a:gd name="T21" fmla="*/ 14 h 97"/>
                  <a:gd name="T22" fmla="*/ 14 w 37"/>
                  <a:gd name="T23" fmla="*/ 45 h 97"/>
                  <a:gd name="T24" fmla="*/ 12 w 37"/>
                  <a:gd name="T25" fmla="*/ 97 h 97"/>
                  <a:gd name="T26" fmla="*/ 32 w 37"/>
                  <a:gd name="T27" fmla="*/ 97 h 97"/>
                  <a:gd name="T28" fmla="*/ 34 w 37"/>
                  <a:gd name="T29" fmla="*/ 97 h 97"/>
                  <a:gd name="T30" fmla="*/ 30 w 37"/>
                  <a:gd name="T31" fmla="*/ 57 h 97"/>
                  <a:gd name="T32" fmla="*/ 37 w 37"/>
                  <a:gd name="T33" fmla="*/ 17 h 97"/>
                  <a:gd name="T34" fmla="*/ 34 w 37"/>
                  <a:gd name="T35" fmla="*/ 9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7" h="97">
                    <a:moveTo>
                      <a:pt x="34" y="9"/>
                    </a:moveTo>
                    <a:cubicBezTo>
                      <a:pt x="27" y="15"/>
                      <a:pt x="24" y="24"/>
                      <a:pt x="24" y="27"/>
                    </a:cubicBezTo>
                    <a:cubicBezTo>
                      <a:pt x="24" y="27"/>
                      <a:pt x="24" y="28"/>
                      <a:pt x="24" y="28"/>
                    </a:cubicBezTo>
                    <a:cubicBezTo>
                      <a:pt x="24" y="28"/>
                      <a:pt x="24" y="27"/>
                      <a:pt x="24" y="27"/>
                    </a:cubicBezTo>
                    <a:cubicBezTo>
                      <a:pt x="24" y="23"/>
                      <a:pt x="21" y="0"/>
                      <a:pt x="21" y="0"/>
                    </a:cubicBezTo>
                    <a:cubicBezTo>
                      <a:pt x="14" y="3"/>
                      <a:pt x="14" y="3"/>
                      <a:pt x="14" y="3"/>
                    </a:cubicBezTo>
                    <a:cubicBezTo>
                      <a:pt x="17" y="8"/>
                      <a:pt x="18" y="27"/>
                      <a:pt x="18" y="33"/>
                    </a:cubicBezTo>
                    <a:cubicBezTo>
                      <a:pt x="18" y="33"/>
                      <a:pt x="18" y="34"/>
                      <a:pt x="18" y="34"/>
                    </a:cubicBezTo>
                    <a:cubicBezTo>
                      <a:pt x="18" y="34"/>
                      <a:pt x="18" y="34"/>
                      <a:pt x="18" y="33"/>
                    </a:cubicBezTo>
                    <a:cubicBezTo>
                      <a:pt x="17" y="20"/>
                      <a:pt x="2" y="4"/>
                      <a:pt x="2" y="4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5" y="15"/>
                      <a:pt x="11" y="29"/>
                      <a:pt x="14" y="45"/>
                    </a:cubicBezTo>
                    <a:cubicBezTo>
                      <a:pt x="18" y="60"/>
                      <a:pt x="12" y="97"/>
                      <a:pt x="12" y="97"/>
                    </a:cubicBezTo>
                    <a:cubicBezTo>
                      <a:pt x="32" y="97"/>
                      <a:pt x="32" y="97"/>
                      <a:pt x="32" y="97"/>
                    </a:cubicBezTo>
                    <a:cubicBezTo>
                      <a:pt x="34" y="97"/>
                      <a:pt x="34" y="97"/>
                      <a:pt x="34" y="97"/>
                    </a:cubicBezTo>
                    <a:cubicBezTo>
                      <a:pt x="32" y="92"/>
                      <a:pt x="30" y="57"/>
                      <a:pt x="30" y="57"/>
                    </a:cubicBezTo>
                    <a:cubicBezTo>
                      <a:pt x="28" y="27"/>
                      <a:pt x="37" y="17"/>
                      <a:pt x="37" y="17"/>
                    </a:cubicBezTo>
                    <a:lnTo>
                      <a:pt x="34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853" name="Freeform 6000"/>
              <p:cNvSpPr>
                <a:spLocks/>
              </p:cNvSpPr>
              <p:nvPr/>
            </p:nvSpPr>
            <p:spPr bwMode="auto">
              <a:xfrm>
                <a:off x="-312" y="2246"/>
                <a:ext cx="0" cy="1"/>
              </a:xfrm>
              <a:custGeom>
                <a:avLst/>
                <a:gdLst>
                  <a:gd name="T0" fmla="*/ 0 h 1"/>
                  <a:gd name="T1" fmla="*/ 1 h 1"/>
                  <a:gd name="T2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854" name="Freeform 6001"/>
              <p:cNvSpPr>
                <a:spLocks/>
              </p:cNvSpPr>
              <p:nvPr/>
            </p:nvSpPr>
            <p:spPr bwMode="auto">
              <a:xfrm>
                <a:off x="-281" y="2095"/>
                <a:ext cx="63" cy="91"/>
              </a:xfrm>
              <a:custGeom>
                <a:avLst/>
                <a:gdLst>
                  <a:gd name="T0" fmla="*/ 26 w 39"/>
                  <a:gd name="T1" fmla="*/ 19 h 56"/>
                  <a:gd name="T2" fmla="*/ 14 w 39"/>
                  <a:gd name="T3" fmla="*/ 4 h 56"/>
                  <a:gd name="T4" fmla="*/ 16 w 39"/>
                  <a:gd name="T5" fmla="*/ 52 h 56"/>
                  <a:gd name="T6" fmla="*/ 28 w 39"/>
                  <a:gd name="T7" fmla="*/ 36 h 56"/>
                  <a:gd name="T8" fmla="*/ 26 w 39"/>
                  <a:gd name="T9" fmla="*/ 19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56">
                    <a:moveTo>
                      <a:pt x="26" y="19"/>
                    </a:moveTo>
                    <a:cubicBezTo>
                      <a:pt x="34" y="0"/>
                      <a:pt x="14" y="4"/>
                      <a:pt x="14" y="4"/>
                    </a:cubicBezTo>
                    <a:cubicBezTo>
                      <a:pt x="0" y="7"/>
                      <a:pt x="16" y="52"/>
                      <a:pt x="16" y="52"/>
                    </a:cubicBezTo>
                    <a:cubicBezTo>
                      <a:pt x="35" y="56"/>
                      <a:pt x="28" y="36"/>
                      <a:pt x="28" y="36"/>
                    </a:cubicBezTo>
                    <a:cubicBezTo>
                      <a:pt x="39" y="25"/>
                      <a:pt x="26" y="19"/>
                      <a:pt x="26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855" name="Freeform 6002"/>
              <p:cNvSpPr>
                <a:spLocks/>
              </p:cNvSpPr>
              <p:nvPr/>
            </p:nvSpPr>
            <p:spPr bwMode="auto">
              <a:xfrm>
                <a:off x="-288" y="2066"/>
                <a:ext cx="4" cy="0"/>
              </a:xfrm>
              <a:custGeom>
                <a:avLst/>
                <a:gdLst>
                  <a:gd name="T0" fmla="*/ 2 w 2"/>
                  <a:gd name="T1" fmla="*/ 0 w 2"/>
                  <a:gd name="T2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cubicBezTo>
                      <a:pt x="1" y="0"/>
                      <a:pt x="0" y="0"/>
                      <a:pt x="0" y="0"/>
                    </a:cubicBezTo>
                    <a:cubicBezTo>
                      <a:pt x="1" y="0"/>
                      <a:pt x="2" y="0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856" name="Freeform 6003"/>
              <p:cNvSpPr>
                <a:spLocks/>
              </p:cNvSpPr>
              <p:nvPr/>
            </p:nvSpPr>
            <p:spPr bwMode="auto">
              <a:xfrm>
                <a:off x="-358" y="2006"/>
                <a:ext cx="103" cy="126"/>
              </a:xfrm>
              <a:custGeom>
                <a:avLst/>
                <a:gdLst>
                  <a:gd name="T0" fmla="*/ 55 w 64"/>
                  <a:gd name="T1" fmla="*/ 55 h 78"/>
                  <a:gd name="T2" fmla="*/ 57 w 64"/>
                  <a:gd name="T3" fmla="*/ 43 h 78"/>
                  <a:gd name="T4" fmla="*/ 46 w 64"/>
                  <a:gd name="T5" fmla="*/ 37 h 78"/>
                  <a:gd name="T6" fmla="*/ 44 w 64"/>
                  <a:gd name="T7" fmla="*/ 37 h 78"/>
                  <a:gd name="T8" fmla="*/ 46 w 64"/>
                  <a:gd name="T9" fmla="*/ 37 h 78"/>
                  <a:gd name="T10" fmla="*/ 49 w 64"/>
                  <a:gd name="T11" fmla="*/ 24 h 78"/>
                  <a:gd name="T12" fmla="*/ 31 w 64"/>
                  <a:gd name="T13" fmla="*/ 14 h 78"/>
                  <a:gd name="T14" fmla="*/ 16 w 64"/>
                  <a:gd name="T15" fmla="*/ 2 h 78"/>
                  <a:gd name="T16" fmla="*/ 7 w 64"/>
                  <a:gd name="T17" fmla="*/ 14 h 78"/>
                  <a:gd name="T18" fmla="*/ 13 w 64"/>
                  <a:gd name="T19" fmla="*/ 29 h 78"/>
                  <a:gd name="T20" fmla="*/ 21 w 64"/>
                  <a:gd name="T21" fmla="*/ 42 h 78"/>
                  <a:gd name="T22" fmla="*/ 31 w 64"/>
                  <a:gd name="T23" fmla="*/ 59 h 78"/>
                  <a:gd name="T24" fmla="*/ 47 w 64"/>
                  <a:gd name="T25" fmla="*/ 77 h 78"/>
                  <a:gd name="T26" fmla="*/ 61 w 64"/>
                  <a:gd name="T27" fmla="*/ 68 h 78"/>
                  <a:gd name="T28" fmla="*/ 55 w 64"/>
                  <a:gd name="T29" fmla="*/ 55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64" h="78">
                    <a:moveTo>
                      <a:pt x="55" y="55"/>
                    </a:moveTo>
                    <a:cubicBezTo>
                      <a:pt x="59" y="46"/>
                      <a:pt x="57" y="43"/>
                      <a:pt x="57" y="43"/>
                    </a:cubicBezTo>
                    <a:cubicBezTo>
                      <a:pt x="55" y="36"/>
                      <a:pt x="49" y="36"/>
                      <a:pt x="46" y="37"/>
                    </a:cubicBezTo>
                    <a:cubicBezTo>
                      <a:pt x="46" y="37"/>
                      <a:pt x="45" y="37"/>
                      <a:pt x="44" y="37"/>
                    </a:cubicBezTo>
                    <a:cubicBezTo>
                      <a:pt x="44" y="37"/>
                      <a:pt x="45" y="37"/>
                      <a:pt x="46" y="37"/>
                    </a:cubicBezTo>
                    <a:cubicBezTo>
                      <a:pt x="51" y="35"/>
                      <a:pt x="49" y="24"/>
                      <a:pt x="49" y="24"/>
                    </a:cubicBezTo>
                    <a:cubicBezTo>
                      <a:pt x="47" y="7"/>
                      <a:pt x="31" y="14"/>
                      <a:pt x="31" y="14"/>
                    </a:cubicBezTo>
                    <a:cubicBezTo>
                      <a:pt x="30" y="0"/>
                      <a:pt x="16" y="2"/>
                      <a:pt x="16" y="2"/>
                    </a:cubicBezTo>
                    <a:cubicBezTo>
                      <a:pt x="7" y="3"/>
                      <a:pt x="7" y="14"/>
                      <a:pt x="7" y="14"/>
                    </a:cubicBezTo>
                    <a:cubicBezTo>
                      <a:pt x="6" y="20"/>
                      <a:pt x="13" y="29"/>
                      <a:pt x="13" y="29"/>
                    </a:cubicBezTo>
                    <a:cubicBezTo>
                      <a:pt x="0" y="49"/>
                      <a:pt x="21" y="42"/>
                      <a:pt x="21" y="42"/>
                    </a:cubicBezTo>
                    <a:cubicBezTo>
                      <a:pt x="7" y="54"/>
                      <a:pt x="31" y="59"/>
                      <a:pt x="31" y="59"/>
                    </a:cubicBezTo>
                    <a:cubicBezTo>
                      <a:pt x="27" y="78"/>
                      <a:pt x="47" y="77"/>
                      <a:pt x="47" y="77"/>
                    </a:cubicBezTo>
                    <a:cubicBezTo>
                      <a:pt x="60" y="78"/>
                      <a:pt x="61" y="68"/>
                      <a:pt x="61" y="68"/>
                    </a:cubicBezTo>
                    <a:cubicBezTo>
                      <a:pt x="64" y="60"/>
                      <a:pt x="55" y="55"/>
                      <a:pt x="55" y="5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857" name="Freeform 6004"/>
              <p:cNvSpPr>
                <a:spLocks/>
              </p:cNvSpPr>
              <p:nvPr/>
            </p:nvSpPr>
            <p:spPr bwMode="auto">
              <a:xfrm>
                <a:off x="-418" y="2021"/>
                <a:ext cx="126" cy="121"/>
              </a:xfrm>
              <a:custGeom>
                <a:avLst/>
                <a:gdLst>
                  <a:gd name="T0" fmla="*/ 61 w 78"/>
                  <a:gd name="T1" fmla="*/ 24 h 75"/>
                  <a:gd name="T2" fmla="*/ 50 w 78"/>
                  <a:gd name="T3" fmla="*/ 14 h 75"/>
                  <a:gd name="T4" fmla="*/ 39 w 78"/>
                  <a:gd name="T5" fmla="*/ 1 h 75"/>
                  <a:gd name="T6" fmla="*/ 29 w 78"/>
                  <a:gd name="T7" fmla="*/ 13 h 75"/>
                  <a:gd name="T8" fmla="*/ 15 w 78"/>
                  <a:gd name="T9" fmla="*/ 27 h 75"/>
                  <a:gd name="T10" fmla="*/ 22 w 78"/>
                  <a:gd name="T11" fmla="*/ 51 h 75"/>
                  <a:gd name="T12" fmla="*/ 36 w 78"/>
                  <a:gd name="T13" fmla="*/ 62 h 75"/>
                  <a:gd name="T14" fmla="*/ 54 w 78"/>
                  <a:gd name="T15" fmla="*/ 58 h 75"/>
                  <a:gd name="T16" fmla="*/ 61 w 78"/>
                  <a:gd name="T17" fmla="*/ 39 h 75"/>
                  <a:gd name="T18" fmla="*/ 61 w 78"/>
                  <a:gd name="T19" fmla="*/ 24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8" h="75">
                    <a:moveTo>
                      <a:pt x="61" y="24"/>
                    </a:moveTo>
                    <a:cubicBezTo>
                      <a:pt x="62" y="11"/>
                      <a:pt x="50" y="14"/>
                      <a:pt x="50" y="14"/>
                    </a:cubicBezTo>
                    <a:cubicBezTo>
                      <a:pt x="48" y="0"/>
                      <a:pt x="39" y="1"/>
                      <a:pt x="39" y="1"/>
                    </a:cubicBezTo>
                    <a:cubicBezTo>
                      <a:pt x="29" y="2"/>
                      <a:pt x="29" y="13"/>
                      <a:pt x="29" y="13"/>
                    </a:cubicBezTo>
                    <a:cubicBezTo>
                      <a:pt x="12" y="13"/>
                      <a:pt x="15" y="27"/>
                      <a:pt x="15" y="27"/>
                    </a:cubicBezTo>
                    <a:cubicBezTo>
                      <a:pt x="0" y="41"/>
                      <a:pt x="22" y="51"/>
                      <a:pt x="22" y="51"/>
                    </a:cubicBezTo>
                    <a:cubicBezTo>
                      <a:pt x="18" y="69"/>
                      <a:pt x="36" y="62"/>
                      <a:pt x="36" y="62"/>
                    </a:cubicBezTo>
                    <a:cubicBezTo>
                      <a:pt x="48" y="75"/>
                      <a:pt x="54" y="58"/>
                      <a:pt x="54" y="58"/>
                    </a:cubicBezTo>
                    <a:cubicBezTo>
                      <a:pt x="65" y="60"/>
                      <a:pt x="61" y="39"/>
                      <a:pt x="61" y="39"/>
                    </a:cubicBezTo>
                    <a:cubicBezTo>
                      <a:pt x="78" y="30"/>
                      <a:pt x="61" y="24"/>
                      <a:pt x="61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858" name="Freeform 6005"/>
              <p:cNvSpPr>
                <a:spLocks/>
              </p:cNvSpPr>
              <p:nvPr/>
            </p:nvSpPr>
            <p:spPr bwMode="auto">
              <a:xfrm>
                <a:off x="-452" y="2063"/>
                <a:ext cx="116" cy="116"/>
              </a:xfrm>
              <a:custGeom>
                <a:avLst/>
                <a:gdLst>
                  <a:gd name="T0" fmla="*/ 55 w 72"/>
                  <a:gd name="T1" fmla="*/ 31 h 72"/>
                  <a:gd name="T2" fmla="*/ 57 w 72"/>
                  <a:gd name="T3" fmla="*/ 18 h 72"/>
                  <a:gd name="T4" fmla="*/ 42 w 72"/>
                  <a:gd name="T5" fmla="*/ 16 h 72"/>
                  <a:gd name="T6" fmla="*/ 32 w 72"/>
                  <a:gd name="T7" fmla="*/ 1 h 72"/>
                  <a:gd name="T8" fmla="*/ 22 w 72"/>
                  <a:gd name="T9" fmla="*/ 14 h 72"/>
                  <a:gd name="T10" fmla="*/ 16 w 72"/>
                  <a:gd name="T11" fmla="*/ 28 h 72"/>
                  <a:gd name="T12" fmla="*/ 13 w 72"/>
                  <a:gd name="T13" fmla="*/ 49 h 72"/>
                  <a:gd name="T14" fmla="*/ 15 w 72"/>
                  <a:gd name="T15" fmla="*/ 50 h 72"/>
                  <a:gd name="T16" fmla="*/ 29 w 72"/>
                  <a:gd name="T17" fmla="*/ 56 h 72"/>
                  <a:gd name="T18" fmla="*/ 41 w 72"/>
                  <a:gd name="T19" fmla="*/ 56 h 72"/>
                  <a:gd name="T20" fmla="*/ 66 w 72"/>
                  <a:gd name="T21" fmla="*/ 48 h 72"/>
                  <a:gd name="T22" fmla="*/ 55 w 72"/>
                  <a:gd name="T23" fmla="*/ 31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2" h="72">
                    <a:moveTo>
                      <a:pt x="55" y="31"/>
                    </a:moveTo>
                    <a:cubicBezTo>
                      <a:pt x="62" y="29"/>
                      <a:pt x="57" y="18"/>
                      <a:pt x="57" y="18"/>
                    </a:cubicBezTo>
                    <a:cubicBezTo>
                      <a:pt x="54" y="8"/>
                      <a:pt x="42" y="16"/>
                      <a:pt x="42" y="16"/>
                    </a:cubicBezTo>
                    <a:cubicBezTo>
                      <a:pt x="47" y="0"/>
                      <a:pt x="32" y="1"/>
                      <a:pt x="32" y="1"/>
                    </a:cubicBezTo>
                    <a:cubicBezTo>
                      <a:pt x="24" y="0"/>
                      <a:pt x="22" y="14"/>
                      <a:pt x="22" y="14"/>
                    </a:cubicBezTo>
                    <a:cubicBezTo>
                      <a:pt x="7" y="16"/>
                      <a:pt x="16" y="28"/>
                      <a:pt x="16" y="28"/>
                    </a:cubicBezTo>
                    <a:cubicBezTo>
                      <a:pt x="0" y="35"/>
                      <a:pt x="13" y="49"/>
                      <a:pt x="13" y="49"/>
                    </a:cubicBezTo>
                    <a:cubicBezTo>
                      <a:pt x="14" y="50"/>
                      <a:pt x="15" y="50"/>
                      <a:pt x="15" y="50"/>
                    </a:cubicBezTo>
                    <a:cubicBezTo>
                      <a:pt x="14" y="67"/>
                      <a:pt x="29" y="56"/>
                      <a:pt x="29" y="56"/>
                    </a:cubicBezTo>
                    <a:cubicBezTo>
                      <a:pt x="30" y="66"/>
                      <a:pt x="41" y="56"/>
                      <a:pt x="41" y="56"/>
                    </a:cubicBezTo>
                    <a:cubicBezTo>
                      <a:pt x="57" y="72"/>
                      <a:pt x="66" y="48"/>
                      <a:pt x="66" y="48"/>
                    </a:cubicBezTo>
                    <a:cubicBezTo>
                      <a:pt x="72" y="33"/>
                      <a:pt x="55" y="31"/>
                      <a:pt x="55" y="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859" name="Freeform 6006"/>
              <p:cNvSpPr>
                <a:spLocks/>
              </p:cNvSpPr>
              <p:nvPr/>
            </p:nvSpPr>
            <p:spPr bwMode="auto">
              <a:xfrm>
                <a:off x="-455" y="2124"/>
                <a:ext cx="127" cy="131"/>
              </a:xfrm>
              <a:custGeom>
                <a:avLst/>
                <a:gdLst>
                  <a:gd name="T0" fmla="*/ 65 w 79"/>
                  <a:gd name="T1" fmla="*/ 26 h 81"/>
                  <a:gd name="T2" fmla="*/ 51 w 79"/>
                  <a:gd name="T3" fmla="*/ 16 h 81"/>
                  <a:gd name="T4" fmla="*/ 37 w 79"/>
                  <a:gd name="T5" fmla="*/ 7 h 81"/>
                  <a:gd name="T6" fmla="*/ 31 w 79"/>
                  <a:gd name="T7" fmla="*/ 1 h 81"/>
                  <a:gd name="T8" fmla="*/ 31 w 79"/>
                  <a:gd name="T9" fmla="*/ 1 h 81"/>
                  <a:gd name="T10" fmla="*/ 18 w 79"/>
                  <a:gd name="T11" fmla="*/ 11 h 81"/>
                  <a:gd name="T12" fmla="*/ 17 w 79"/>
                  <a:gd name="T13" fmla="*/ 29 h 81"/>
                  <a:gd name="T14" fmla="*/ 19 w 79"/>
                  <a:gd name="T15" fmla="*/ 43 h 81"/>
                  <a:gd name="T16" fmla="*/ 27 w 79"/>
                  <a:gd name="T17" fmla="*/ 53 h 81"/>
                  <a:gd name="T18" fmla="*/ 39 w 79"/>
                  <a:gd name="T19" fmla="*/ 67 h 81"/>
                  <a:gd name="T20" fmla="*/ 39 w 79"/>
                  <a:gd name="T21" fmla="*/ 66 h 81"/>
                  <a:gd name="T22" fmla="*/ 40 w 79"/>
                  <a:gd name="T23" fmla="*/ 67 h 81"/>
                  <a:gd name="T24" fmla="*/ 55 w 79"/>
                  <a:gd name="T25" fmla="*/ 68 h 81"/>
                  <a:gd name="T26" fmla="*/ 55 w 79"/>
                  <a:gd name="T27" fmla="*/ 69 h 81"/>
                  <a:gd name="T28" fmla="*/ 68 w 79"/>
                  <a:gd name="T29" fmla="*/ 61 h 81"/>
                  <a:gd name="T30" fmla="*/ 69 w 79"/>
                  <a:gd name="T31" fmla="*/ 51 h 81"/>
                  <a:gd name="T32" fmla="*/ 70 w 79"/>
                  <a:gd name="T33" fmla="*/ 38 h 81"/>
                  <a:gd name="T34" fmla="*/ 65 w 79"/>
                  <a:gd name="T35" fmla="*/ 26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79" h="81">
                    <a:moveTo>
                      <a:pt x="65" y="26"/>
                    </a:moveTo>
                    <a:cubicBezTo>
                      <a:pt x="65" y="11"/>
                      <a:pt x="51" y="16"/>
                      <a:pt x="51" y="16"/>
                    </a:cubicBezTo>
                    <a:cubicBezTo>
                      <a:pt x="47" y="0"/>
                      <a:pt x="37" y="7"/>
                      <a:pt x="37" y="7"/>
                    </a:cubicBezTo>
                    <a:cubicBezTo>
                      <a:pt x="37" y="3"/>
                      <a:pt x="31" y="1"/>
                      <a:pt x="31" y="1"/>
                    </a:cubicBezTo>
                    <a:cubicBezTo>
                      <a:pt x="31" y="1"/>
                      <a:pt x="31" y="1"/>
                      <a:pt x="31" y="1"/>
                    </a:cubicBezTo>
                    <a:cubicBezTo>
                      <a:pt x="17" y="0"/>
                      <a:pt x="18" y="11"/>
                      <a:pt x="18" y="11"/>
                    </a:cubicBezTo>
                    <a:cubicBezTo>
                      <a:pt x="0" y="20"/>
                      <a:pt x="17" y="29"/>
                      <a:pt x="17" y="29"/>
                    </a:cubicBezTo>
                    <a:cubicBezTo>
                      <a:pt x="4" y="36"/>
                      <a:pt x="19" y="43"/>
                      <a:pt x="19" y="43"/>
                    </a:cubicBezTo>
                    <a:cubicBezTo>
                      <a:pt x="15" y="59"/>
                      <a:pt x="27" y="53"/>
                      <a:pt x="27" y="53"/>
                    </a:cubicBezTo>
                    <a:cubicBezTo>
                      <a:pt x="24" y="75"/>
                      <a:pt x="39" y="67"/>
                      <a:pt x="39" y="67"/>
                    </a:cubicBezTo>
                    <a:cubicBezTo>
                      <a:pt x="39" y="67"/>
                      <a:pt x="29" y="51"/>
                      <a:pt x="39" y="66"/>
                    </a:cubicBezTo>
                    <a:cubicBezTo>
                      <a:pt x="39" y="67"/>
                      <a:pt x="39" y="67"/>
                      <a:pt x="40" y="67"/>
                    </a:cubicBezTo>
                    <a:cubicBezTo>
                      <a:pt x="49" y="81"/>
                      <a:pt x="55" y="68"/>
                      <a:pt x="55" y="68"/>
                    </a:cubicBezTo>
                    <a:cubicBezTo>
                      <a:pt x="55" y="69"/>
                      <a:pt x="55" y="69"/>
                      <a:pt x="55" y="69"/>
                    </a:cubicBezTo>
                    <a:cubicBezTo>
                      <a:pt x="72" y="79"/>
                      <a:pt x="68" y="61"/>
                      <a:pt x="68" y="61"/>
                    </a:cubicBezTo>
                    <a:cubicBezTo>
                      <a:pt x="75" y="56"/>
                      <a:pt x="69" y="51"/>
                      <a:pt x="69" y="51"/>
                    </a:cubicBezTo>
                    <a:cubicBezTo>
                      <a:pt x="79" y="49"/>
                      <a:pt x="70" y="38"/>
                      <a:pt x="70" y="38"/>
                    </a:cubicBezTo>
                    <a:cubicBezTo>
                      <a:pt x="76" y="30"/>
                      <a:pt x="65" y="26"/>
                      <a:pt x="65" y="2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860" name="Freeform 6007"/>
              <p:cNvSpPr>
                <a:spLocks/>
              </p:cNvSpPr>
              <p:nvPr/>
            </p:nvSpPr>
            <p:spPr bwMode="auto">
              <a:xfrm>
                <a:off x="-350" y="2084"/>
                <a:ext cx="114" cy="157"/>
              </a:xfrm>
              <a:custGeom>
                <a:avLst/>
                <a:gdLst>
                  <a:gd name="T0" fmla="*/ 61 w 71"/>
                  <a:gd name="T1" fmla="*/ 62 h 97"/>
                  <a:gd name="T2" fmla="*/ 64 w 71"/>
                  <a:gd name="T3" fmla="*/ 50 h 97"/>
                  <a:gd name="T4" fmla="*/ 56 w 71"/>
                  <a:gd name="T5" fmla="*/ 40 h 97"/>
                  <a:gd name="T6" fmla="*/ 56 w 71"/>
                  <a:gd name="T7" fmla="*/ 29 h 97"/>
                  <a:gd name="T8" fmla="*/ 47 w 71"/>
                  <a:gd name="T9" fmla="*/ 26 h 97"/>
                  <a:gd name="T10" fmla="*/ 32 w 71"/>
                  <a:gd name="T11" fmla="*/ 10 h 97"/>
                  <a:gd name="T12" fmla="*/ 21 w 71"/>
                  <a:gd name="T13" fmla="*/ 0 h 97"/>
                  <a:gd name="T14" fmla="*/ 12 w 71"/>
                  <a:gd name="T15" fmla="*/ 15 h 97"/>
                  <a:gd name="T16" fmla="*/ 2 w 71"/>
                  <a:gd name="T17" fmla="*/ 33 h 97"/>
                  <a:gd name="T18" fmla="*/ 18 w 71"/>
                  <a:gd name="T19" fmla="*/ 55 h 97"/>
                  <a:gd name="T20" fmla="*/ 30 w 71"/>
                  <a:gd name="T21" fmla="*/ 54 h 97"/>
                  <a:gd name="T22" fmla="*/ 30 w 71"/>
                  <a:gd name="T23" fmla="*/ 55 h 97"/>
                  <a:gd name="T24" fmla="*/ 41 w 71"/>
                  <a:gd name="T25" fmla="*/ 66 h 97"/>
                  <a:gd name="T26" fmla="*/ 67 w 71"/>
                  <a:gd name="T27" fmla="*/ 74 h 97"/>
                  <a:gd name="T28" fmla="*/ 61 w 71"/>
                  <a:gd name="T29" fmla="*/ 62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71" h="97">
                    <a:moveTo>
                      <a:pt x="61" y="62"/>
                    </a:moveTo>
                    <a:cubicBezTo>
                      <a:pt x="64" y="60"/>
                      <a:pt x="64" y="50"/>
                      <a:pt x="64" y="50"/>
                    </a:cubicBezTo>
                    <a:cubicBezTo>
                      <a:pt x="64" y="43"/>
                      <a:pt x="56" y="40"/>
                      <a:pt x="56" y="40"/>
                    </a:cubicBezTo>
                    <a:cubicBezTo>
                      <a:pt x="59" y="37"/>
                      <a:pt x="56" y="29"/>
                      <a:pt x="56" y="29"/>
                    </a:cubicBezTo>
                    <a:cubicBezTo>
                      <a:pt x="53" y="24"/>
                      <a:pt x="47" y="26"/>
                      <a:pt x="47" y="26"/>
                    </a:cubicBezTo>
                    <a:cubicBezTo>
                      <a:pt x="49" y="9"/>
                      <a:pt x="32" y="10"/>
                      <a:pt x="32" y="10"/>
                    </a:cubicBezTo>
                    <a:cubicBezTo>
                      <a:pt x="32" y="0"/>
                      <a:pt x="21" y="0"/>
                      <a:pt x="21" y="0"/>
                    </a:cubicBezTo>
                    <a:cubicBezTo>
                      <a:pt x="9" y="2"/>
                      <a:pt x="12" y="15"/>
                      <a:pt x="12" y="15"/>
                    </a:cubicBezTo>
                    <a:cubicBezTo>
                      <a:pt x="0" y="17"/>
                      <a:pt x="2" y="33"/>
                      <a:pt x="2" y="33"/>
                    </a:cubicBezTo>
                    <a:cubicBezTo>
                      <a:pt x="1" y="78"/>
                      <a:pt x="18" y="55"/>
                      <a:pt x="18" y="55"/>
                    </a:cubicBezTo>
                    <a:cubicBezTo>
                      <a:pt x="23" y="63"/>
                      <a:pt x="30" y="54"/>
                      <a:pt x="30" y="54"/>
                    </a:cubicBezTo>
                    <a:cubicBezTo>
                      <a:pt x="30" y="54"/>
                      <a:pt x="30" y="54"/>
                      <a:pt x="30" y="55"/>
                    </a:cubicBezTo>
                    <a:cubicBezTo>
                      <a:pt x="25" y="69"/>
                      <a:pt x="41" y="66"/>
                      <a:pt x="41" y="66"/>
                    </a:cubicBezTo>
                    <a:cubicBezTo>
                      <a:pt x="59" y="97"/>
                      <a:pt x="67" y="74"/>
                      <a:pt x="67" y="74"/>
                    </a:cubicBezTo>
                    <a:cubicBezTo>
                      <a:pt x="71" y="67"/>
                      <a:pt x="61" y="62"/>
                      <a:pt x="61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861" name="Freeform 6008"/>
              <p:cNvSpPr>
                <a:spLocks/>
              </p:cNvSpPr>
              <p:nvPr/>
            </p:nvSpPr>
            <p:spPr bwMode="auto">
              <a:xfrm>
                <a:off x="-394" y="2103"/>
                <a:ext cx="179" cy="152"/>
              </a:xfrm>
              <a:custGeom>
                <a:avLst/>
                <a:gdLst>
                  <a:gd name="T0" fmla="*/ 101 w 111"/>
                  <a:gd name="T1" fmla="*/ 69 h 94"/>
                  <a:gd name="T2" fmla="*/ 85 w 111"/>
                  <a:gd name="T3" fmla="*/ 64 h 94"/>
                  <a:gd name="T4" fmla="*/ 77 w 111"/>
                  <a:gd name="T5" fmla="*/ 53 h 94"/>
                  <a:gd name="T6" fmla="*/ 61 w 111"/>
                  <a:gd name="T7" fmla="*/ 35 h 94"/>
                  <a:gd name="T8" fmla="*/ 54 w 111"/>
                  <a:gd name="T9" fmla="*/ 22 h 94"/>
                  <a:gd name="T10" fmla="*/ 33 w 111"/>
                  <a:gd name="T11" fmla="*/ 24 h 94"/>
                  <a:gd name="T12" fmla="*/ 21 w 111"/>
                  <a:gd name="T13" fmla="*/ 34 h 94"/>
                  <a:gd name="T14" fmla="*/ 14 w 111"/>
                  <a:gd name="T15" fmla="*/ 53 h 94"/>
                  <a:gd name="T16" fmla="*/ 21 w 111"/>
                  <a:gd name="T17" fmla="*/ 68 h 94"/>
                  <a:gd name="T18" fmla="*/ 38 w 111"/>
                  <a:gd name="T19" fmla="*/ 57 h 94"/>
                  <a:gd name="T20" fmla="*/ 55 w 111"/>
                  <a:gd name="T21" fmla="*/ 57 h 94"/>
                  <a:gd name="T22" fmla="*/ 68 w 111"/>
                  <a:gd name="T23" fmla="*/ 63 h 94"/>
                  <a:gd name="T24" fmla="*/ 69 w 111"/>
                  <a:gd name="T25" fmla="*/ 63 h 94"/>
                  <a:gd name="T26" fmla="*/ 68 w 111"/>
                  <a:gd name="T27" fmla="*/ 63 h 94"/>
                  <a:gd name="T28" fmla="*/ 85 w 111"/>
                  <a:gd name="T29" fmla="*/ 78 h 94"/>
                  <a:gd name="T30" fmla="*/ 105 w 111"/>
                  <a:gd name="T31" fmla="*/ 81 h 94"/>
                  <a:gd name="T32" fmla="*/ 101 w 111"/>
                  <a:gd name="T33" fmla="*/ 69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1" h="94">
                    <a:moveTo>
                      <a:pt x="101" y="69"/>
                    </a:moveTo>
                    <a:cubicBezTo>
                      <a:pt x="101" y="69"/>
                      <a:pt x="99" y="49"/>
                      <a:pt x="85" y="64"/>
                    </a:cubicBezTo>
                    <a:cubicBezTo>
                      <a:pt x="85" y="64"/>
                      <a:pt x="89" y="53"/>
                      <a:pt x="77" y="53"/>
                    </a:cubicBezTo>
                    <a:cubicBezTo>
                      <a:pt x="77" y="53"/>
                      <a:pt x="86" y="28"/>
                      <a:pt x="61" y="35"/>
                    </a:cubicBezTo>
                    <a:cubicBezTo>
                      <a:pt x="61" y="35"/>
                      <a:pt x="69" y="20"/>
                      <a:pt x="54" y="22"/>
                    </a:cubicBezTo>
                    <a:cubicBezTo>
                      <a:pt x="54" y="22"/>
                      <a:pt x="44" y="0"/>
                      <a:pt x="33" y="24"/>
                    </a:cubicBezTo>
                    <a:cubicBezTo>
                      <a:pt x="33" y="24"/>
                      <a:pt x="18" y="16"/>
                      <a:pt x="21" y="34"/>
                    </a:cubicBezTo>
                    <a:cubicBezTo>
                      <a:pt x="21" y="34"/>
                      <a:pt x="3" y="37"/>
                      <a:pt x="14" y="53"/>
                    </a:cubicBezTo>
                    <a:cubicBezTo>
                      <a:pt x="14" y="53"/>
                      <a:pt x="0" y="73"/>
                      <a:pt x="21" y="68"/>
                    </a:cubicBezTo>
                    <a:cubicBezTo>
                      <a:pt x="21" y="68"/>
                      <a:pt x="37" y="84"/>
                      <a:pt x="38" y="57"/>
                    </a:cubicBezTo>
                    <a:cubicBezTo>
                      <a:pt x="38" y="57"/>
                      <a:pt x="47" y="77"/>
                      <a:pt x="55" y="57"/>
                    </a:cubicBezTo>
                    <a:cubicBezTo>
                      <a:pt x="55" y="57"/>
                      <a:pt x="56" y="70"/>
                      <a:pt x="68" y="63"/>
                    </a:cubicBezTo>
                    <a:cubicBezTo>
                      <a:pt x="68" y="63"/>
                      <a:pt x="68" y="63"/>
                      <a:pt x="69" y="63"/>
                    </a:cubicBezTo>
                    <a:cubicBezTo>
                      <a:pt x="81" y="55"/>
                      <a:pt x="68" y="63"/>
                      <a:pt x="68" y="63"/>
                    </a:cubicBezTo>
                    <a:cubicBezTo>
                      <a:pt x="68" y="63"/>
                      <a:pt x="66" y="91"/>
                      <a:pt x="85" y="78"/>
                    </a:cubicBezTo>
                    <a:cubicBezTo>
                      <a:pt x="85" y="78"/>
                      <a:pt x="92" y="94"/>
                      <a:pt x="105" y="81"/>
                    </a:cubicBezTo>
                    <a:cubicBezTo>
                      <a:pt x="105" y="81"/>
                      <a:pt x="111" y="70"/>
                      <a:pt x="101" y="6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862" name="Freeform 6009"/>
              <p:cNvSpPr>
                <a:spLocks/>
              </p:cNvSpPr>
              <p:nvPr/>
            </p:nvSpPr>
            <p:spPr bwMode="auto">
              <a:xfrm>
                <a:off x="-654" y="2081"/>
                <a:ext cx="104" cy="158"/>
              </a:xfrm>
              <a:custGeom>
                <a:avLst/>
                <a:gdLst>
                  <a:gd name="T0" fmla="*/ 53 w 65"/>
                  <a:gd name="T1" fmla="*/ 39 h 98"/>
                  <a:gd name="T2" fmla="*/ 53 w 65"/>
                  <a:gd name="T3" fmla="*/ 9 h 98"/>
                  <a:gd name="T4" fmla="*/ 35 w 65"/>
                  <a:gd name="T5" fmla="*/ 18 h 98"/>
                  <a:gd name="T6" fmla="*/ 25 w 65"/>
                  <a:gd name="T7" fmla="*/ 30 h 98"/>
                  <a:gd name="T8" fmla="*/ 14 w 65"/>
                  <a:gd name="T9" fmla="*/ 46 h 98"/>
                  <a:gd name="T10" fmla="*/ 14 w 65"/>
                  <a:gd name="T11" fmla="*/ 65 h 98"/>
                  <a:gd name="T12" fmla="*/ 18 w 65"/>
                  <a:gd name="T13" fmla="*/ 85 h 98"/>
                  <a:gd name="T14" fmla="*/ 25 w 65"/>
                  <a:gd name="T15" fmla="*/ 98 h 98"/>
                  <a:gd name="T16" fmla="*/ 36 w 65"/>
                  <a:gd name="T17" fmla="*/ 82 h 98"/>
                  <a:gd name="T18" fmla="*/ 43 w 65"/>
                  <a:gd name="T19" fmla="*/ 65 h 98"/>
                  <a:gd name="T20" fmla="*/ 53 w 65"/>
                  <a:gd name="T21" fmla="*/ 39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5" h="98">
                    <a:moveTo>
                      <a:pt x="53" y="39"/>
                    </a:moveTo>
                    <a:cubicBezTo>
                      <a:pt x="53" y="39"/>
                      <a:pt x="61" y="14"/>
                      <a:pt x="53" y="9"/>
                    </a:cubicBezTo>
                    <a:cubicBezTo>
                      <a:pt x="53" y="9"/>
                      <a:pt x="37" y="0"/>
                      <a:pt x="35" y="18"/>
                    </a:cubicBezTo>
                    <a:cubicBezTo>
                      <a:pt x="35" y="18"/>
                      <a:pt x="24" y="18"/>
                      <a:pt x="25" y="30"/>
                    </a:cubicBezTo>
                    <a:cubicBezTo>
                      <a:pt x="25" y="30"/>
                      <a:pt x="7" y="25"/>
                      <a:pt x="14" y="46"/>
                    </a:cubicBezTo>
                    <a:cubicBezTo>
                      <a:pt x="14" y="46"/>
                      <a:pt x="0" y="55"/>
                      <a:pt x="14" y="65"/>
                    </a:cubicBezTo>
                    <a:cubicBezTo>
                      <a:pt x="14" y="65"/>
                      <a:pt x="2" y="78"/>
                      <a:pt x="18" y="85"/>
                    </a:cubicBezTo>
                    <a:cubicBezTo>
                      <a:pt x="18" y="85"/>
                      <a:pt x="15" y="97"/>
                      <a:pt x="25" y="98"/>
                    </a:cubicBezTo>
                    <a:cubicBezTo>
                      <a:pt x="25" y="98"/>
                      <a:pt x="39" y="97"/>
                      <a:pt x="36" y="82"/>
                    </a:cubicBezTo>
                    <a:cubicBezTo>
                      <a:pt x="36" y="82"/>
                      <a:pt x="53" y="76"/>
                      <a:pt x="43" y="65"/>
                    </a:cubicBezTo>
                    <a:cubicBezTo>
                      <a:pt x="43" y="65"/>
                      <a:pt x="65" y="49"/>
                      <a:pt x="53" y="3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863" name="Freeform 6010"/>
              <p:cNvSpPr>
                <a:spLocks/>
              </p:cNvSpPr>
              <p:nvPr/>
            </p:nvSpPr>
            <p:spPr bwMode="auto">
              <a:xfrm>
                <a:off x="-550" y="2271"/>
                <a:ext cx="2" cy="2"/>
              </a:xfrm>
              <a:custGeom>
                <a:avLst/>
                <a:gdLst>
                  <a:gd name="T0" fmla="*/ 1 w 1"/>
                  <a:gd name="T1" fmla="*/ 0 h 1"/>
                  <a:gd name="T2" fmla="*/ 0 w 1"/>
                  <a:gd name="T3" fmla="*/ 1 h 1"/>
                  <a:gd name="T4" fmla="*/ 1 w 1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864" name="Freeform 6011"/>
              <p:cNvSpPr>
                <a:spLocks/>
              </p:cNvSpPr>
              <p:nvPr/>
            </p:nvSpPr>
            <p:spPr bwMode="auto">
              <a:xfrm>
                <a:off x="-574" y="2226"/>
                <a:ext cx="50" cy="133"/>
              </a:xfrm>
              <a:custGeom>
                <a:avLst/>
                <a:gdLst>
                  <a:gd name="T0" fmla="*/ 16 w 31"/>
                  <a:gd name="T1" fmla="*/ 28 h 82"/>
                  <a:gd name="T2" fmla="*/ 15 w 31"/>
                  <a:gd name="T3" fmla="*/ 29 h 82"/>
                  <a:gd name="T4" fmla="*/ 16 w 31"/>
                  <a:gd name="T5" fmla="*/ 28 h 82"/>
                  <a:gd name="T6" fmla="*/ 19 w 31"/>
                  <a:gd name="T7" fmla="*/ 3 h 82"/>
                  <a:gd name="T8" fmla="*/ 14 w 31"/>
                  <a:gd name="T9" fmla="*/ 0 h 82"/>
                  <a:gd name="T10" fmla="*/ 11 w 31"/>
                  <a:gd name="T11" fmla="*/ 23 h 82"/>
                  <a:gd name="T12" fmla="*/ 11 w 31"/>
                  <a:gd name="T13" fmla="*/ 23 h 82"/>
                  <a:gd name="T14" fmla="*/ 11 w 31"/>
                  <a:gd name="T15" fmla="*/ 23 h 82"/>
                  <a:gd name="T16" fmla="*/ 2 w 31"/>
                  <a:gd name="T17" fmla="*/ 8 h 82"/>
                  <a:gd name="T18" fmla="*/ 0 w 31"/>
                  <a:gd name="T19" fmla="*/ 15 h 82"/>
                  <a:gd name="T20" fmla="*/ 6 w 31"/>
                  <a:gd name="T21" fmla="*/ 48 h 82"/>
                  <a:gd name="T22" fmla="*/ 3 w 31"/>
                  <a:gd name="T23" fmla="*/ 82 h 82"/>
                  <a:gd name="T24" fmla="*/ 4 w 31"/>
                  <a:gd name="T25" fmla="*/ 82 h 82"/>
                  <a:gd name="T26" fmla="*/ 21 w 31"/>
                  <a:gd name="T27" fmla="*/ 82 h 82"/>
                  <a:gd name="T28" fmla="*/ 19 w 31"/>
                  <a:gd name="T29" fmla="*/ 38 h 82"/>
                  <a:gd name="T30" fmla="*/ 31 w 31"/>
                  <a:gd name="T31" fmla="*/ 12 h 82"/>
                  <a:gd name="T32" fmla="*/ 29 w 31"/>
                  <a:gd name="T33" fmla="*/ 4 h 82"/>
                  <a:gd name="T34" fmla="*/ 16 w 31"/>
                  <a:gd name="T35" fmla="*/ 28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1" h="82">
                    <a:moveTo>
                      <a:pt x="16" y="28"/>
                    </a:moveTo>
                    <a:cubicBezTo>
                      <a:pt x="15" y="28"/>
                      <a:pt x="15" y="29"/>
                      <a:pt x="15" y="29"/>
                    </a:cubicBezTo>
                    <a:cubicBezTo>
                      <a:pt x="15" y="28"/>
                      <a:pt x="15" y="28"/>
                      <a:pt x="16" y="28"/>
                    </a:cubicBezTo>
                    <a:cubicBezTo>
                      <a:pt x="16" y="23"/>
                      <a:pt x="17" y="7"/>
                      <a:pt x="19" y="3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4" y="0"/>
                      <a:pt x="11" y="20"/>
                      <a:pt x="11" y="23"/>
                    </a:cubicBezTo>
                    <a:cubicBezTo>
                      <a:pt x="11" y="23"/>
                      <a:pt x="11" y="23"/>
                      <a:pt x="11" y="23"/>
                    </a:cubicBezTo>
                    <a:cubicBezTo>
                      <a:pt x="11" y="23"/>
                      <a:pt x="11" y="23"/>
                      <a:pt x="11" y="23"/>
                    </a:cubicBezTo>
                    <a:cubicBezTo>
                      <a:pt x="10" y="21"/>
                      <a:pt x="8" y="13"/>
                      <a:pt x="2" y="8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0" y="15"/>
                      <a:pt x="8" y="23"/>
                      <a:pt x="6" y="48"/>
                    </a:cubicBezTo>
                    <a:cubicBezTo>
                      <a:pt x="6" y="48"/>
                      <a:pt x="4" y="78"/>
                      <a:pt x="3" y="82"/>
                    </a:cubicBezTo>
                    <a:cubicBezTo>
                      <a:pt x="4" y="82"/>
                      <a:pt x="4" y="82"/>
                      <a:pt x="4" y="82"/>
                    </a:cubicBezTo>
                    <a:cubicBezTo>
                      <a:pt x="21" y="82"/>
                      <a:pt x="21" y="82"/>
                      <a:pt x="21" y="82"/>
                    </a:cubicBezTo>
                    <a:cubicBezTo>
                      <a:pt x="21" y="82"/>
                      <a:pt x="16" y="51"/>
                      <a:pt x="19" y="38"/>
                    </a:cubicBezTo>
                    <a:cubicBezTo>
                      <a:pt x="22" y="25"/>
                      <a:pt x="26" y="13"/>
                      <a:pt x="31" y="12"/>
                    </a:cubicBezTo>
                    <a:cubicBezTo>
                      <a:pt x="29" y="4"/>
                      <a:pt x="29" y="4"/>
                      <a:pt x="29" y="4"/>
                    </a:cubicBezTo>
                    <a:cubicBezTo>
                      <a:pt x="29" y="4"/>
                      <a:pt x="16" y="17"/>
                      <a:pt x="16" y="2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865" name="Freeform 6012"/>
              <p:cNvSpPr>
                <a:spLocks/>
              </p:cNvSpPr>
              <p:nvPr/>
            </p:nvSpPr>
            <p:spPr bwMode="auto">
              <a:xfrm>
                <a:off x="-556" y="2263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866" name="Freeform 6013"/>
              <p:cNvSpPr>
                <a:spLocks/>
              </p:cNvSpPr>
              <p:nvPr/>
            </p:nvSpPr>
            <p:spPr bwMode="auto">
              <a:xfrm>
                <a:off x="-627" y="2147"/>
                <a:ext cx="53" cy="74"/>
              </a:xfrm>
              <a:custGeom>
                <a:avLst/>
                <a:gdLst>
                  <a:gd name="T0" fmla="*/ 22 w 33"/>
                  <a:gd name="T1" fmla="*/ 3 h 46"/>
                  <a:gd name="T2" fmla="*/ 11 w 33"/>
                  <a:gd name="T3" fmla="*/ 15 h 46"/>
                  <a:gd name="T4" fmla="*/ 10 w 33"/>
                  <a:gd name="T5" fmla="*/ 29 h 46"/>
                  <a:gd name="T6" fmla="*/ 20 w 33"/>
                  <a:gd name="T7" fmla="*/ 43 h 46"/>
                  <a:gd name="T8" fmla="*/ 22 w 33"/>
                  <a:gd name="T9" fmla="*/ 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46">
                    <a:moveTo>
                      <a:pt x="22" y="3"/>
                    </a:moveTo>
                    <a:cubicBezTo>
                      <a:pt x="22" y="3"/>
                      <a:pt x="5" y="0"/>
                      <a:pt x="11" y="15"/>
                    </a:cubicBezTo>
                    <a:cubicBezTo>
                      <a:pt x="11" y="15"/>
                      <a:pt x="0" y="21"/>
                      <a:pt x="10" y="29"/>
                    </a:cubicBezTo>
                    <a:cubicBezTo>
                      <a:pt x="10" y="29"/>
                      <a:pt x="4" y="46"/>
                      <a:pt x="20" y="43"/>
                    </a:cubicBezTo>
                    <a:cubicBezTo>
                      <a:pt x="20" y="43"/>
                      <a:pt x="33" y="5"/>
                      <a:pt x="22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867" name="Freeform 6014"/>
              <p:cNvSpPr>
                <a:spLocks/>
              </p:cNvSpPr>
              <p:nvPr/>
            </p:nvSpPr>
            <p:spPr bwMode="auto">
              <a:xfrm>
                <a:off x="-570" y="2121"/>
                <a:ext cx="1" cy="0"/>
              </a:xfrm>
              <a:custGeom>
                <a:avLst/>
                <a:gdLst>
                  <a:gd name="T0" fmla="*/ 0 w 1"/>
                  <a:gd name="T1" fmla="*/ 1 w 1"/>
                  <a:gd name="T2" fmla="*/ 0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1" y="0"/>
                    </a:cubicBezTo>
                    <a:cubicBezTo>
                      <a:pt x="1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868" name="Freeform 6015"/>
              <p:cNvSpPr>
                <a:spLocks/>
              </p:cNvSpPr>
              <p:nvPr/>
            </p:nvSpPr>
            <p:spPr bwMode="auto">
              <a:xfrm>
                <a:off x="-595" y="2073"/>
                <a:ext cx="86" cy="105"/>
              </a:xfrm>
              <a:custGeom>
                <a:avLst/>
                <a:gdLst>
                  <a:gd name="T0" fmla="*/ 47 w 53"/>
                  <a:gd name="T1" fmla="*/ 11 h 65"/>
                  <a:gd name="T2" fmla="*/ 40 w 53"/>
                  <a:gd name="T3" fmla="*/ 1 h 65"/>
                  <a:gd name="T4" fmla="*/ 27 w 53"/>
                  <a:gd name="T5" fmla="*/ 11 h 65"/>
                  <a:gd name="T6" fmla="*/ 12 w 53"/>
                  <a:gd name="T7" fmla="*/ 20 h 65"/>
                  <a:gd name="T8" fmla="*/ 15 w 53"/>
                  <a:gd name="T9" fmla="*/ 30 h 65"/>
                  <a:gd name="T10" fmla="*/ 16 w 53"/>
                  <a:gd name="T11" fmla="*/ 30 h 65"/>
                  <a:gd name="T12" fmla="*/ 15 w 53"/>
                  <a:gd name="T13" fmla="*/ 30 h 65"/>
                  <a:gd name="T14" fmla="*/ 6 w 53"/>
                  <a:gd name="T15" fmla="*/ 35 h 65"/>
                  <a:gd name="T16" fmla="*/ 7 w 53"/>
                  <a:gd name="T17" fmla="*/ 45 h 65"/>
                  <a:gd name="T18" fmla="*/ 2 w 53"/>
                  <a:gd name="T19" fmla="*/ 56 h 65"/>
                  <a:gd name="T20" fmla="*/ 13 w 53"/>
                  <a:gd name="T21" fmla="*/ 63 h 65"/>
                  <a:gd name="T22" fmla="*/ 27 w 53"/>
                  <a:gd name="T23" fmla="*/ 49 h 65"/>
                  <a:gd name="T24" fmla="*/ 35 w 53"/>
                  <a:gd name="T25" fmla="*/ 35 h 65"/>
                  <a:gd name="T26" fmla="*/ 42 w 53"/>
                  <a:gd name="T27" fmla="*/ 23 h 65"/>
                  <a:gd name="T28" fmla="*/ 47 w 53"/>
                  <a:gd name="T29" fmla="*/ 11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3" h="65">
                    <a:moveTo>
                      <a:pt x="47" y="11"/>
                    </a:moveTo>
                    <a:cubicBezTo>
                      <a:pt x="47" y="11"/>
                      <a:pt x="47" y="2"/>
                      <a:pt x="40" y="1"/>
                    </a:cubicBezTo>
                    <a:cubicBezTo>
                      <a:pt x="40" y="1"/>
                      <a:pt x="28" y="0"/>
                      <a:pt x="27" y="11"/>
                    </a:cubicBezTo>
                    <a:cubicBezTo>
                      <a:pt x="27" y="11"/>
                      <a:pt x="14" y="5"/>
                      <a:pt x="12" y="20"/>
                    </a:cubicBezTo>
                    <a:cubicBezTo>
                      <a:pt x="12" y="20"/>
                      <a:pt x="11" y="28"/>
                      <a:pt x="15" y="30"/>
                    </a:cubicBezTo>
                    <a:cubicBezTo>
                      <a:pt x="15" y="30"/>
                      <a:pt x="16" y="30"/>
                      <a:pt x="16" y="30"/>
                    </a:cubicBezTo>
                    <a:cubicBezTo>
                      <a:pt x="15" y="30"/>
                      <a:pt x="15" y="30"/>
                      <a:pt x="15" y="30"/>
                    </a:cubicBezTo>
                    <a:cubicBezTo>
                      <a:pt x="12" y="30"/>
                      <a:pt x="7" y="29"/>
                      <a:pt x="6" y="35"/>
                    </a:cubicBezTo>
                    <a:cubicBezTo>
                      <a:pt x="6" y="35"/>
                      <a:pt x="4" y="38"/>
                      <a:pt x="7" y="45"/>
                    </a:cubicBezTo>
                    <a:cubicBezTo>
                      <a:pt x="7" y="45"/>
                      <a:pt x="0" y="50"/>
                      <a:pt x="2" y="56"/>
                    </a:cubicBezTo>
                    <a:cubicBezTo>
                      <a:pt x="2" y="56"/>
                      <a:pt x="3" y="64"/>
                      <a:pt x="13" y="63"/>
                    </a:cubicBezTo>
                    <a:cubicBezTo>
                      <a:pt x="13" y="63"/>
                      <a:pt x="30" y="65"/>
                      <a:pt x="27" y="49"/>
                    </a:cubicBezTo>
                    <a:cubicBezTo>
                      <a:pt x="27" y="49"/>
                      <a:pt x="47" y="44"/>
                      <a:pt x="35" y="35"/>
                    </a:cubicBezTo>
                    <a:cubicBezTo>
                      <a:pt x="35" y="35"/>
                      <a:pt x="53" y="40"/>
                      <a:pt x="42" y="23"/>
                    </a:cubicBezTo>
                    <a:cubicBezTo>
                      <a:pt x="42" y="23"/>
                      <a:pt x="48" y="16"/>
                      <a:pt x="47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869" name="Freeform 6016"/>
              <p:cNvSpPr>
                <a:spLocks/>
              </p:cNvSpPr>
              <p:nvPr/>
            </p:nvSpPr>
            <p:spPr bwMode="auto">
              <a:xfrm>
                <a:off x="-564" y="2084"/>
                <a:ext cx="104" cy="102"/>
              </a:xfrm>
              <a:custGeom>
                <a:avLst/>
                <a:gdLst>
                  <a:gd name="T0" fmla="*/ 41 w 65"/>
                  <a:gd name="T1" fmla="*/ 11 h 63"/>
                  <a:gd name="T2" fmla="*/ 32 w 65"/>
                  <a:gd name="T3" fmla="*/ 1 h 63"/>
                  <a:gd name="T4" fmla="*/ 23 w 65"/>
                  <a:gd name="T5" fmla="*/ 12 h 63"/>
                  <a:gd name="T6" fmla="*/ 14 w 65"/>
                  <a:gd name="T7" fmla="*/ 20 h 63"/>
                  <a:gd name="T8" fmla="*/ 14 w 65"/>
                  <a:gd name="T9" fmla="*/ 33 h 63"/>
                  <a:gd name="T10" fmla="*/ 20 w 65"/>
                  <a:gd name="T11" fmla="*/ 49 h 63"/>
                  <a:gd name="T12" fmla="*/ 35 w 65"/>
                  <a:gd name="T13" fmla="*/ 51 h 63"/>
                  <a:gd name="T14" fmla="*/ 46 w 65"/>
                  <a:gd name="T15" fmla="*/ 42 h 63"/>
                  <a:gd name="T16" fmla="*/ 52 w 65"/>
                  <a:gd name="T17" fmla="*/ 22 h 63"/>
                  <a:gd name="T18" fmla="*/ 41 w 65"/>
                  <a:gd name="T19" fmla="*/ 11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5" h="63">
                    <a:moveTo>
                      <a:pt x="41" y="11"/>
                    </a:moveTo>
                    <a:cubicBezTo>
                      <a:pt x="41" y="11"/>
                      <a:pt x="40" y="1"/>
                      <a:pt x="32" y="1"/>
                    </a:cubicBezTo>
                    <a:cubicBezTo>
                      <a:pt x="32" y="1"/>
                      <a:pt x="25" y="0"/>
                      <a:pt x="23" y="12"/>
                    </a:cubicBezTo>
                    <a:cubicBezTo>
                      <a:pt x="23" y="12"/>
                      <a:pt x="13" y="9"/>
                      <a:pt x="14" y="20"/>
                    </a:cubicBezTo>
                    <a:cubicBezTo>
                      <a:pt x="14" y="20"/>
                      <a:pt x="0" y="25"/>
                      <a:pt x="14" y="33"/>
                    </a:cubicBezTo>
                    <a:cubicBezTo>
                      <a:pt x="14" y="33"/>
                      <a:pt x="11" y="50"/>
                      <a:pt x="20" y="49"/>
                    </a:cubicBezTo>
                    <a:cubicBezTo>
                      <a:pt x="20" y="49"/>
                      <a:pt x="25" y="63"/>
                      <a:pt x="35" y="51"/>
                    </a:cubicBezTo>
                    <a:cubicBezTo>
                      <a:pt x="35" y="51"/>
                      <a:pt x="50" y="58"/>
                      <a:pt x="46" y="42"/>
                    </a:cubicBezTo>
                    <a:cubicBezTo>
                      <a:pt x="46" y="42"/>
                      <a:pt x="65" y="34"/>
                      <a:pt x="52" y="22"/>
                    </a:cubicBezTo>
                    <a:cubicBezTo>
                      <a:pt x="52" y="22"/>
                      <a:pt x="55" y="10"/>
                      <a:pt x="41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870" name="Freeform 6017"/>
              <p:cNvSpPr>
                <a:spLocks/>
              </p:cNvSpPr>
              <p:nvPr/>
            </p:nvSpPr>
            <p:spPr bwMode="auto">
              <a:xfrm>
                <a:off x="-529" y="2120"/>
                <a:ext cx="97" cy="96"/>
              </a:xfrm>
              <a:custGeom>
                <a:avLst/>
                <a:gdLst>
                  <a:gd name="T0" fmla="*/ 47 w 60"/>
                  <a:gd name="T1" fmla="*/ 23 h 60"/>
                  <a:gd name="T2" fmla="*/ 42 w 60"/>
                  <a:gd name="T3" fmla="*/ 11 h 60"/>
                  <a:gd name="T4" fmla="*/ 33 w 60"/>
                  <a:gd name="T5" fmla="*/ 0 h 60"/>
                  <a:gd name="T6" fmla="*/ 25 w 60"/>
                  <a:gd name="T7" fmla="*/ 13 h 60"/>
                  <a:gd name="T8" fmla="*/ 13 w 60"/>
                  <a:gd name="T9" fmla="*/ 15 h 60"/>
                  <a:gd name="T10" fmla="*/ 14 w 60"/>
                  <a:gd name="T11" fmla="*/ 25 h 60"/>
                  <a:gd name="T12" fmla="*/ 5 w 60"/>
                  <a:gd name="T13" fmla="*/ 39 h 60"/>
                  <a:gd name="T14" fmla="*/ 26 w 60"/>
                  <a:gd name="T15" fmla="*/ 46 h 60"/>
                  <a:gd name="T16" fmla="*/ 37 w 60"/>
                  <a:gd name="T17" fmla="*/ 47 h 60"/>
                  <a:gd name="T18" fmla="*/ 48 w 60"/>
                  <a:gd name="T19" fmla="*/ 41 h 60"/>
                  <a:gd name="T20" fmla="*/ 50 w 60"/>
                  <a:gd name="T21" fmla="*/ 41 h 60"/>
                  <a:gd name="T22" fmla="*/ 47 w 60"/>
                  <a:gd name="T23" fmla="*/ 23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0" h="60">
                    <a:moveTo>
                      <a:pt x="47" y="23"/>
                    </a:moveTo>
                    <a:cubicBezTo>
                      <a:pt x="47" y="23"/>
                      <a:pt x="54" y="13"/>
                      <a:pt x="42" y="11"/>
                    </a:cubicBezTo>
                    <a:cubicBezTo>
                      <a:pt x="42" y="11"/>
                      <a:pt x="41" y="0"/>
                      <a:pt x="33" y="0"/>
                    </a:cubicBezTo>
                    <a:cubicBezTo>
                      <a:pt x="33" y="0"/>
                      <a:pt x="21" y="0"/>
                      <a:pt x="25" y="13"/>
                    </a:cubicBezTo>
                    <a:cubicBezTo>
                      <a:pt x="25" y="13"/>
                      <a:pt x="16" y="7"/>
                      <a:pt x="13" y="15"/>
                    </a:cubicBezTo>
                    <a:cubicBezTo>
                      <a:pt x="13" y="15"/>
                      <a:pt x="9" y="24"/>
                      <a:pt x="14" y="25"/>
                    </a:cubicBezTo>
                    <a:cubicBezTo>
                      <a:pt x="14" y="25"/>
                      <a:pt x="0" y="27"/>
                      <a:pt x="5" y="39"/>
                    </a:cubicBezTo>
                    <a:cubicBezTo>
                      <a:pt x="5" y="39"/>
                      <a:pt x="13" y="60"/>
                      <a:pt x="26" y="46"/>
                    </a:cubicBezTo>
                    <a:cubicBezTo>
                      <a:pt x="26" y="46"/>
                      <a:pt x="35" y="54"/>
                      <a:pt x="37" y="47"/>
                    </a:cubicBezTo>
                    <a:cubicBezTo>
                      <a:pt x="37" y="47"/>
                      <a:pt x="49" y="55"/>
                      <a:pt x="48" y="41"/>
                    </a:cubicBezTo>
                    <a:cubicBezTo>
                      <a:pt x="48" y="41"/>
                      <a:pt x="49" y="42"/>
                      <a:pt x="50" y="41"/>
                    </a:cubicBezTo>
                    <a:cubicBezTo>
                      <a:pt x="50" y="41"/>
                      <a:pt x="60" y="29"/>
                      <a:pt x="47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871" name="Freeform 6018"/>
              <p:cNvSpPr>
                <a:spLocks/>
              </p:cNvSpPr>
              <p:nvPr/>
            </p:nvSpPr>
            <p:spPr bwMode="auto">
              <a:xfrm>
                <a:off x="-480" y="2250"/>
                <a:ext cx="4" cy="10"/>
              </a:xfrm>
              <a:custGeom>
                <a:avLst/>
                <a:gdLst>
                  <a:gd name="T0" fmla="*/ 3 w 3"/>
                  <a:gd name="T1" fmla="*/ 0 h 6"/>
                  <a:gd name="T2" fmla="*/ 0 w 3"/>
                  <a:gd name="T3" fmla="*/ 6 h 6"/>
                  <a:gd name="T4" fmla="*/ 0 w 3"/>
                  <a:gd name="T5" fmla="*/ 6 h 6"/>
                  <a:gd name="T6" fmla="*/ 3 w 3"/>
                  <a:gd name="T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6">
                    <a:moveTo>
                      <a:pt x="3" y="0"/>
                    </a:moveTo>
                    <a:cubicBezTo>
                      <a:pt x="3" y="1"/>
                      <a:pt x="0" y="5"/>
                      <a:pt x="0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2" y="2"/>
                      <a:pt x="3" y="1"/>
                      <a:pt x="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872" name="Freeform 6019"/>
              <p:cNvSpPr>
                <a:spLocks/>
              </p:cNvSpPr>
              <p:nvPr/>
            </p:nvSpPr>
            <p:spPr bwMode="auto">
              <a:xfrm>
                <a:off x="-535" y="2170"/>
                <a:ext cx="106" cy="109"/>
              </a:xfrm>
              <a:custGeom>
                <a:avLst/>
                <a:gdLst>
                  <a:gd name="T0" fmla="*/ 51 w 66"/>
                  <a:gd name="T1" fmla="*/ 10 h 68"/>
                  <a:gd name="T2" fmla="*/ 40 w 66"/>
                  <a:gd name="T3" fmla="*/ 1 h 68"/>
                  <a:gd name="T4" fmla="*/ 40 w 66"/>
                  <a:gd name="T5" fmla="*/ 1 h 68"/>
                  <a:gd name="T6" fmla="*/ 35 w 66"/>
                  <a:gd name="T7" fmla="*/ 6 h 68"/>
                  <a:gd name="T8" fmla="*/ 23 w 66"/>
                  <a:gd name="T9" fmla="*/ 14 h 68"/>
                  <a:gd name="T10" fmla="*/ 12 w 66"/>
                  <a:gd name="T11" fmla="*/ 22 h 68"/>
                  <a:gd name="T12" fmla="*/ 7 w 66"/>
                  <a:gd name="T13" fmla="*/ 32 h 68"/>
                  <a:gd name="T14" fmla="*/ 9 w 66"/>
                  <a:gd name="T15" fmla="*/ 43 h 68"/>
                  <a:gd name="T16" fmla="*/ 10 w 66"/>
                  <a:gd name="T17" fmla="*/ 51 h 68"/>
                  <a:gd name="T18" fmla="*/ 20 w 66"/>
                  <a:gd name="T19" fmla="*/ 58 h 68"/>
                  <a:gd name="T20" fmla="*/ 20 w 66"/>
                  <a:gd name="T21" fmla="*/ 58 h 68"/>
                  <a:gd name="T22" fmla="*/ 33 w 66"/>
                  <a:gd name="T23" fmla="*/ 57 h 68"/>
                  <a:gd name="T24" fmla="*/ 34 w 66"/>
                  <a:gd name="T25" fmla="*/ 56 h 68"/>
                  <a:gd name="T26" fmla="*/ 37 w 66"/>
                  <a:gd name="T27" fmla="*/ 50 h 68"/>
                  <a:gd name="T28" fmla="*/ 37 w 66"/>
                  <a:gd name="T29" fmla="*/ 50 h 68"/>
                  <a:gd name="T30" fmla="*/ 34 w 66"/>
                  <a:gd name="T31" fmla="*/ 56 h 68"/>
                  <a:gd name="T32" fmla="*/ 34 w 66"/>
                  <a:gd name="T33" fmla="*/ 56 h 68"/>
                  <a:gd name="T34" fmla="*/ 33 w 66"/>
                  <a:gd name="T35" fmla="*/ 56 h 68"/>
                  <a:gd name="T36" fmla="*/ 44 w 66"/>
                  <a:gd name="T37" fmla="*/ 45 h 68"/>
                  <a:gd name="T38" fmla="*/ 51 w 66"/>
                  <a:gd name="T39" fmla="*/ 36 h 68"/>
                  <a:gd name="T40" fmla="*/ 52 w 66"/>
                  <a:gd name="T41" fmla="*/ 24 h 68"/>
                  <a:gd name="T42" fmla="*/ 51 w 66"/>
                  <a:gd name="T43" fmla="*/ 10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66" h="68">
                    <a:moveTo>
                      <a:pt x="51" y="10"/>
                    </a:moveTo>
                    <a:cubicBezTo>
                      <a:pt x="51" y="10"/>
                      <a:pt x="52" y="0"/>
                      <a:pt x="40" y="1"/>
                    </a:cubicBezTo>
                    <a:cubicBezTo>
                      <a:pt x="40" y="1"/>
                      <a:pt x="40" y="1"/>
                      <a:pt x="40" y="1"/>
                    </a:cubicBezTo>
                    <a:cubicBezTo>
                      <a:pt x="40" y="1"/>
                      <a:pt x="35" y="3"/>
                      <a:pt x="35" y="6"/>
                    </a:cubicBezTo>
                    <a:cubicBezTo>
                      <a:pt x="35" y="6"/>
                      <a:pt x="27" y="0"/>
                      <a:pt x="23" y="14"/>
                    </a:cubicBezTo>
                    <a:cubicBezTo>
                      <a:pt x="23" y="14"/>
                      <a:pt x="12" y="9"/>
                      <a:pt x="12" y="22"/>
                    </a:cubicBezTo>
                    <a:cubicBezTo>
                      <a:pt x="12" y="22"/>
                      <a:pt x="2" y="26"/>
                      <a:pt x="7" y="32"/>
                    </a:cubicBezTo>
                    <a:cubicBezTo>
                      <a:pt x="7" y="32"/>
                      <a:pt x="0" y="41"/>
                      <a:pt x="9" y="43"/>
                    </a:cubicBezTo>
                    <a:cubicBezTo>
                      <a:pt x="9" y="43"/>
                      <a:pt x="3" y="47"/>
                      <a:pt x="10" y="51"/>
                    </a:cubicBezTo>
                    <a:cubicBezTo>
                      <a:pt x="10" y="51"/>
                      <a:pt x="6" y="66"/>
                      <a:pt x="20" y="58"/>
                    </a:cubicBezTo>
                    <a:cubicBezTo>
                      <a:pt x="20" y="58"/>
                      <a:pt x="20" y="58"/>
                      <a:pt x="20" y="58"/>
                    </a:cubicBezTo>
                    <a:cubicBezTo>
                      <a:pt x="20" y="58"/>
                      <a:pt x="25" y="68"/>
                      <a:pt x="33" y="57"/>
                    </a:cubicBezTo>
                    <a:cubicBezTo>
                      <a:pt x="33" y="56"/>
                      <a:pt x="33" y="56"/>
                      <a:pt x="34" y="56"/>
                    </a:cubicBezTo>
                    <a:cubicBezTo>
                      <a:pt x="34" y="55"/>
                      <a:pt x="37" y="51"/>
                      <a:pt x="37" y="50"/>
                    </a:cubicBezTo>
                    <a:cubicBezTo>
                      <a:pt x="37" y="50"/>
                      <a:pt x="37" y="50"/>
                      <a:pt x="37" y="50"/>
                    </a:cubicBezTo>
                    <a:cubicBezTo>
                      <a:pt x="37" y="51"/>
                      <a:pt x="36" y="52"/>
                      <a:pt x="34" y="56"/>
                    </a:cubicBezTo>
                    <a:cubicBezTo>
                      <a:pt x="34" y="56"/>
                      <a:pt x="34" y="56"/>
                      <a:pt x="34" y="56"/>
                    </a:cubicBezTo>
                    <a:cubicBezTo>
                      <a:pt x="33" y="56"/>
                      <a:pt x="33" y="56"/>
                      <a:pt x="33" y="56"/>
                    </a:cubicBezTo>
                    <a:cubicBezTo>
                      <a:pt x="33" y="56"/>
                      <a:pt x="46" y="63"/>
                      <a:pt x="44" y="45"/>
                    </a:cubicBezTo>
                    <a:cubicBezTo>
                      <a:pt x="44" y="45"/>
                      <a:pt x="53" y="50"/>
                      <a:pt x="51" y="36"/>
                    </a:cubicBezTo>
                    <a:cubicBezTo>
                      <a:pt x="51" y="36"/>
                      <a:pt x="63" y="30"/>
                      <a:pt x="52" y="24"/>
                    </a:cubicBezTo>
                    <a:cubicBezTo>
                      <a:pt x="52" y="24"/>
                      <a:pt x="66" y="17"/>
                      <a:pt x="51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873" name="Freeform 6020"/>
              <p:cNvSpPr>
                <a:spLocks/>
              </p:cNvSpPr>
              <p:nvPr/>
            </p:nvSpPr>
            <p:spPr bwMode="auto">
              <a:xfrm>
                <a:off x="-611" y="2136"/>
                <a:ext cx="95" cy="132"/>
              </a:xfrm>
              <a:custGeom>
                <a:avLst/>
                <a:gdLst>
                  <a:gd name="T0" fmla="*/ 49 w 59"/>
                  <a:gd name="T1" fmla="*/ 13 h 82"/>
                  <a:gd name="T2" fmla="*/ 41 w 59"/>
                  <a:gd name="T3" fmla="*/ 0 h 82"/>
                  <a:gd name="T4" fmla="*/ 32 w 59"/>
                  <a:gd name="T5" fmla="*/ 9 h 82"/>
                  <a:gd name="T6" fmla="*/ 20 w 59"/>
                  <a:gd name="T7" fmla="*/ 22 h 82"/>
                  <a:gd name="T8" fmla="*/ 12 w 59"/>
                  <a:gd name="T9" fmla="*/ 25 h 82"/>
                  <a:gd name="T10" fmla="*/ 12 w 59"/>
                  <a:gd name="T11" fmla="*/ 34 h 82"/>
                  <a:gd name="T12" fmla="*/ 6 w 59"/>
                  <a:gd name="T13" fmla="*/ 42 h 82"/>
                  <a:gd name="T14" fmla="*/ 8 w 59"/>
                  <a:gd name="T15" fmla="*/ 52 h 82"/>
                  <a:gd name="T16" fmla="*/ 3 w 59"/>
                  <a:gd name="T17" fmla="*/ 62 h 82"/>
                  <a:gd name="T18" fmla="*/ 25 w 59"/>
                  <a:gd name="T19" fmla="*/ 55 h 82"/>
                  <a:gd name="T20" fmla="*/ 34 w 59"/>
                  <a:gd name="T21" fmla="*/ 46 h 82"/>
                  <a:gd name="T22" fmla="*/ 34 w 59"/>
                  <a:gd name="T23" fmla="*/ 45 h 82"/>
                  <a:gd name="T24" fmla="*/ 44 w 59"/>
                  <a:gd name="T25" fmla="*/ 46 h 82"/>
                  <a:gd name="T26" fmla="*/ 57 w 59"/>
                  <a:gd name="T27" fmla="*/ 28 h 82"/>
                  <a:gd name="T28" fmla="*/ 49 w 59"/>
                  <a:gd name="T29" fmla="*/ 13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9" h="82">
                    <a:moveTo>
                      <a:pt x="49" y="13"/>
                    </a:moveTo>
                    <a:cubicBezTo>
                      <a:pt x="49" y="13"/>
                      <a:pt x="51" y="2"/>
                      <a:pt x="41" y="0"/>
                    </a:cubicBezTo>
                    <a:cubicBezTo>
                      <a:pt x="41" y="0"/>
                      <a:pt x="32" y="1"/>
                      <a:pt x="32" y="9"/>
                    </a:cubicBezTo>
                    <a:cubicBezTo>
                      <a:pt x="32" y="9"/>
                      <a:pt x="18" y="8"/>
                      <a:pt x="20" y="22"/>
                    </a:cubicBezTo>
                    <a:cubicBezTo>
                      <a:pt x="20" y="22"/>
                      <a:pt x="15" y="20"/>
                      <a:pt x="12" y="25"/>
                    </a:cubicBezTo>
                    <a:cubicBezTo>
                      <a:pt x="12" y="25"/>
                      <a:pt x="9" y="31"/>
                      <a:pt x="12" y="34"/>
                    </a:cubicBezTo>
                    <a:cubicBezTo>
                      <a:pt x="12" y="34"/>
                      <a:pt x="5" y="36"/>
                      <a:pt x="6" y="42"/>
                    </a:cubicBezTo>
                    <a:cubicBezTo>
                      <a:pt x="6" y="42"/>
                      <a:pt x="5" y="51"/>
                      <a:pt x="8" y="52"/>
                    </a:cubicBezTo>
                    <a:cubicBezTo>
                      <a:pt x="8" y="52"/>
                      <a:pt x="0" y="56"/>
                      <a:pt x="3" y="62"/>
                    </a:cubicBezTo>
                    <a:cubicBezTo>
                      <a:pt x="3" y="62"/>
                      <a:pt x="10" y="82"/>
                      <a:pt x="25" y="55"/>
                    </a:cubicBezTo>
                    <a:cubicBezTo>
                      <a:pt x="25" y="55"/>
                      <a:pt x="38" y="58"/>
                      <a:pt x="34" y="46"/>
                    </a:cubicBezTo>
                    <a:cubicBezTo>
                      <a:pt x="34" y="46"/>
                      <a:pt x="34" y="46"/>
                      <a:pt x="34" y="45"/>
                    </a:cubicBezTo>
                    <a:cubicBezTo>
                      <a:pt x="34" y="45"/>
                      <a:pt x="40" y="53"/>
                      <a:pt x="44" y="46"/>
                    </a:cubicBezTo>
                    <a:cubicBezTo>
                      <a:pt x="44" y="46"/>
                      <a:pt x="58" y="66"/>
                      <a:pt x="57" y="28"/>
                    </a:cubicBezTo>
                    <a:cubicBezTo>
                      <a:pt x="57" y="28"/>
                      <a:pt x="59" y="14"/>
                      <a:pt x="49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874" name="Rectangle 6021"/>
              <p:cNvSpPr>
                <a:spLocks noChangeArrowheads="1"/>
              </p:cNvSpPr>
              <p:nvPr/>
            </p:nvSpPr>
            <p:spPr bwMode="auto">
              <a:xfrm>
                <a:off x="-580" y="2233"/>
                <a:ext cx="1" cy="1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875" name="Freeform 6022"/>
              <p:cNvSpPr>
                <a:spLocks/>
              </p:cNvSpPr>
              <p:nvPr/>
            </p:nvSpPr>
            <p:spPr bwMode="auto">
              <a:xfrm>
                <a:off x="-579" y="2233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876" name="Freeform 6023"/>
              <p:cNvSpPr>
                <a:spLocks/>
              </p:cNvSpPr>
              <p:nvPr/>
            </p:nvSpPr>
            <p:spPr bwMode="auto">
              <a:xfrm>
                <a:off x="-628" y="2153"/>
                <a:ext cx="149" cy="126"/>
              </a:xfrm>
              <a:custGeom>
                <a:avLst/>
                <a:gdLst>
                  <a:gd name="T0" fmla="*/ 75 w 93"/>
                  <a:gd name="T1" fmla="*/ 28 h 78"/>
                  <a:gd name="T2" fmla="*/ 65 w 93"/>
                  <a:gd name="T3" fmla="*/ 19 h 78"/>
                  <a:gd name="T4" fmla="*/ 47 w 93"/>
                  <a:gd name="T5" fmla="*/ 18 h 78"/>
                  <a:gd name="T6" fmla="*/ 41 w 93"/>
                  <a:gd name="T7" fmla="*/ 28 h 78"/>
                  <a:gd name="T8" fmla="*/ 28 w 93"/>
                  <a:gd name="T9" fmla="*/ 44 h 78"/>
                  <a:gd name="T10" fmla="*/ 22 w 93"/>
                  <a:gd name="T11" fmla="*/ 53 h 78"/>
                  <a:gd name="T12" fmla="*/ 8 w 93"/>
                  <a:gd name="T13" fmla="*/ 57 h 78"/>
                  <a:gd name="T14" fmla="*/ 4 w 93"/>
                  <a:gd name="T15" fmla="*/ 67 h 78"/>
                  <a:gd name="T16" fmla="*/ 21 w 93"/>
                  <a:gd name="T17" fmla="*/ 65 h 78"/>
                  <a:gd name="T18" fmla="*/ 35 w 93"/>
                  <a:gd name="T19" fmla="*/ 52 h 78"/>
                  <a:gd name="T20" fmla="*/ 31 w 93"/>
                  <a:gd name="T21" fmla="*/ 49 h 78"/>
                  <a:gd name="T22" fmla="*/ 31 w 93"/>
                  <a:gd name="T23" fmla="*/ 49 h 78"/>
                  <a:gd name="T24" fmla="*/ 30 w 93"/>
                  <a:gd name="T25" fmla="*/ 49 h 78"/>
                  <a:gd name="T26" fmla="*/ 30 w 93"/>
                  <a:gd name="T27" fmla="*/ 49 h 78"/>
                  <a:gd name="T28" fmla="*/ 31 w 93"/>
                  <a:gd name="T29" fmla="*/ 49 h 78"/>
                  <a:gd name="T30" fmla="*/ 31 w 93"/>
                  <a:gd name="T31" fmla="*/ 49 h 78"/>
                  <a:gd name="T32" fmla="*/ 35 w 93"/>
                  <a:gd name="T33" fmla="*/ 52 h 78"/>
                  <a:gd name="T34" fmla="*/ 36 w 93"/>
                  <a:gd name="T35" fmla="*/ 52 h 78"/>
                  <a:gd name="T36" fmla="*/ 46 w 93"/>
                  <a:gd name="T37" fmla="*/ 47 h 78"/>
                  <a:gd name="T38" fmla="*/ 61 w 93"/>
                  <a:gd name="T39" fmla="*/ 47 h 78"/>
                  <a:gd name="T40" fmla="*/ 75 w 93"/>
                  <a:gd name="T41" fmla="*/ 57 h 78"/>
                  <a:gd name="T42" fmla="*/ 81 w 93"/>
                  <a:gd name="T43" fmla="*/ 44 h 78"/>
                  <a:gd name="T44" fmla="*/ 75 w 93"/>
                  <a:gd name="T45" fmla="*/ 2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93" h="78">
                    <a:moveTo>
                      <a:pt x="75" y="28"/>
                    </a:moveTo>
                    <a:cubicBezTo>
                      <a:pt x="77" y="13"/>
                      <a:pt x="65" y="19"/>
                      <a:pt x="65" y="19"/>
                    </a:cubicBezTo>
                    <a:cubicBezTo>
                      <a:pt x="56" y="0"/>
                      <a:pt x="47" y="18"/>
                      <a:pt x="47" y="18"/>
                    </a:cubicBezTo>
                    <a:cubicBezTo>
                      <a:pt x="35" y="16"/>
                      <a:pt x="41" y="28"/>
                      <a:pt x="41" y="28"/>
                    </a:cubicBezTo>
                    <a:cubicBezTo>
                      <a:pt x="20" y="23"/>
                      <a:pt x="28" y="44"/>
                      <a:pt x="28" y="44"/>
                    </a:cubicBezTo>
                    <a:cubicBezTo>
                      <a:pt x="18" y="44"/>
                      <a:pt x="22" y="53"/>
                      <a:pt x="22" y="53"/>
                    </a:cubicBezTo>
                    <a:cubicBezTo>
                      <a:pt x="10" y="41"/>
                      <a:pt x="8" y="57"/>
                      <a:pt x="8" y="57"/>
                    </a:cubicBezTo>
                    <a:cubicBezTo>
                      <a:pt x="0" y="58"/>
                      <a:pt x="4" y="67"/>
                      <a:pt x="4" y="67"/>
                    </a:cubicBezTo>
                    <a:cubicBezTo>
                      <a:pt x="15" y="78"/>
                      <a:pt x="21" y="65"/>
                      <a:pt x="21" y="65"/>
                    </a:cubicBezTo>
                    <a:cubicBezTo>
                      <a:pt x="37" y="76"/>
                      <a:pt x="35" y="52"/>
                      <a:pt x="35" y="52"/>
                    </a:cubicBezTo>
                    <a:cubicBezTo>
                      <a:pt x="35" y="52"/>
                      <a:pt x="33" y="50"/>
                      <a:pt x="31" y="49"/>
                    </a:cubicBezTo>
                    <a:cubicBezTo>
                      <a:pt x="31" y="49"/>
                      <a:pt x="31" y="49"/>
                      <a:pt x="31" y="49"/>
                    </a:cubicBezTo>
                    <a:cubicBezTo>
                      <a:pt x="31" y="49"/>
                      <a:pt x="30" y="49"/>
                      <a:pt x="30" y="49"/>
                    </a:cubicBezTo>
                    <a:cubicBezTo>
                      <a:pt x="30" y="49"/>
                      <a:pt x="30" y="49"/>
                      <a:pt x="30" y="49"/>
                    </a:cubicBezTo>
                    <a:cubicBezTo>
                      <a:pt x="30" y="49"/>
                      <a:pt x="31" y="49"/>
                      <a:pt x="31" y="49"/>
                    </a:cubicBezTo>
                    <a:cubicBezTo>
                      <a:pt x="31" y="49"/>
                      <a:pt x="31" y="49"/>
                      <a:pt x="31" y="49"/>
                    </a:cubicBezTo>
                    <a:cubicBezTo>
                      <a:pt x="32" y="50"/>
                      <a:pt x="33" y="51"/>
                      <a:pt x="35" y="52"/>
                    </a:cubicBezTo>
                    <a:cubicBezTo>
                      <a:pt x="35" y="52"/>
                      <a:pt x="36" y="52"/>
                      <a:pt x="36" y="52"/>
                    </a:cubicBezTo>
                    <a:cubicBezTo>
                      <a:pt x="46" y="58"/>
                      <a:pt x="46" y="47"/>
                      <a:pt x="46" y="47"/>
                    </a:cubicBezTo>
                    <a:cubicBezTo>
                      <a:pt x="53" y="63"/>
                      <a:pt x="61" y="47"/>
                      <a:pt x="61" y="47"/>
                    </a:cubicBezTo>
                    <a:cubicBezTo>
                      <a:pt x="61" y="69"/>
                      <a:pt x="75" y="57"/>
                      <a:pt x="75" y="57"/>
                    </a:cubicBezTo>
                    <a:cubicBezTo>
                      <a:pt x="93" y="61"/>
                      <a:pt x="81" y="44"/>
                      <a:pt x="81" y="44"/>
                    </a:cubicBezTo>
                    <a:cubicBezTo>
                      <a:pt x="90" y="30"/>
                      <a:pt x="75" y="28"/>
                      <a:pt x="75" y="2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877" name="Freeform 6024"/>
              <p:cNvSpPr>
                <a:spLocks/>
              </p:cNvSpPr>
              <p:nvPr/>
            </p:nvSpPr>
            <p:spPr bwMode="auto">
              <a:xfrm>
                <a:off x="-472" y="2194"/>
                <a:ext cx="62" cy="160"/>
              </a:xfrm>
              <a:custGeom>
                <a:avLst/>
                <a:gdLst>
                  <a:gd name="T0" fmla="*/ 31 w 39"/>
                  <a:gd name="T1" fmla="*/ 7 h 99"/>
                  <a:gd name="T2" fmla="*/ 15 w 39"/>
                  <a:gd name="T3" fmla="*/ 0 h 99"/>
                  <a:gd name="T4" fmla="*/ 0 w 39"/>
                  <a:gd name="T5" fmla="*/ 90 h 99"/>
                  <a:gd name="T6" fmla="*/ 39 w 39"/>
                  <a:gd name="T7" fmla="*/ 90 h 99"/>
                  <a:gd name="T8" fmla="*/ 31 w 39"/>
                  <a:gd name="T9" fmla="*/ 7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99">
                    <a:moveTo>
                      <a:pt x="31" y="7"/>
                    </a:moveTo>
                    <a:cubicBezTo>
                      <a:pt x="31" y="7"/>
                      <a:pt x="30" y="0"/>
                      <a:pt x="15" y="0"/>
                    </a:cubicBezTo>
                    <a:cubicBezTo>
                      <a:pt x="15" y="0"/>
                      <a:pt x="18" y="77"/>
                      <a:pt x="0" y="90"/>
                    </a:cubicBezTo>
                    <a:cubicBezTo>
                      <a:pt x="0" y="90"/>
                      <a:pt x="28" y="99"/>
                      <a:pt x="39" y="90"/>
                    </a:cubicBezTo>
                    <a:cubicBezTo>
                      <a:pt x="39" y="90"/>
                      <a:pt x="25" y="52"/>
                      <a:pt x="31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878" name="Freeform 6025"/>
              <p:cNvSpPr>
                <a:spLocks/>
              </p:cNvSpPr>
              <p:nvPr/>
            </p:nvSpPr>
            <p:spPr bwMode="auto">
              <a:xfrm>
                <a:off x="-402" y="2171"/>
                <a:ext cx="63" cy="160"/>
              </a:xfrm>
              <a:custGeom>
                <a:avLst/>
                <a:gdLst>
                  <a:gd name="T0" fmla="*/ 31 w 39"/>
                  <a:gd name="T1" fmla="*/ 7 h 99"/>
                  <a:gd name="T2" fmla="*/ 15 w 39"/>
                  <a:gd name="T3" fmla="*/ 0 h 99"/>
                  <a:gd name="T4" fmla="*/ 0 w 39"/>
                  <a:gd name="T5" fmla="*/ 90 h 99"/>
                  <a:gd name="T6" fmla="*/ 39 w 39"/>
                  <a:gd name="T7" fmla="*/ 90 h 99"/>
                  <a:gd name="T8" fmla="*/ 31 w 39"/>
                  <a:gd name="T9" fmla="*/ 7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99">
                    <a:moveTo>
                      <a:pt x="31" y="7"/>
                    </a:moveTo>
                    <a:cubicBezTo>
                      <a:pt x="31" y="7"/>
                      <a:pt x="30" y="0"/>
                      <a:pt x="15" y="0"/>
                    </a:cubicBezTo>
                    <a:cubicBezTo>
                      <a:pt x="15" y="0"/>
                      <a:pt x="18" y="77"/>
                      <a:pt x="0" y="90"/>
                    </a:cubicBezTo>
                    <a:cubicBezTo>
                      <a:pt x="0" y="90"/>
                      <a:pt x="28" y="99"/>
                      <a:pt x="39" y="90"/>
                    </a:cubicBezTo>
                    <a:cubicBezTo>
                      <a:pt x="39" y="90"/>
                      <a:pt x="25" y="51"/>
                      <a:pt x="31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879" name="Freeform 6026"/>
              <p:cNvSpPr>
                <a:spLocks/>
              </p:cNvSpPr>
              <p:nvPr/>
            </p:nvSpPr>
            <p:spPr bwMode="auto">
              <a:xfrm>
                <a:off x="-492" y="1945"/>
                <a:ext cx="102" cy="120"/>
              </a:xfrm>
              <a:custGeom>
                <a:avLst/>
                <a:gdLst>
                  <a:gd name="T0" fmla="*/ 46 w 63"/>
                  <a:gd name="T1" fmla="*/ 22 h 74"/>
                  <a:gd name="T2" fmla="*/ 35 w 63"/>
                  <a:gd name="T3" fmla="*/ 0 h 74"/>
                  <a:gd name="T4" fmla="*/ 24 w 63"/>
                  <a:gd name="T5" fmla="*/ 16 h 74"/>
                  <a:gd name="T6" fmla="*/ 19 w 63"/>
                  <a:gd name="T7" fmla="*/ 42 h 74"/>
                  <a:gd name="T8" fmla="*/ 61 w 63"/>
                  <a:gd name="T9" fmla="*/ 30 h 74"/>
                  <a:gd name="T10" fmla="*/ 46 w 63"/>
                  <a:gd name="T11" fmla="*/ 22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3" h="74">
                    <a:moveTo>
                      <a:pt x="46" y="22"/>
                    </a:moveTo>
                    <a:cubicBezTo>
                      <a:pt x="48" y="0"/>
                      <a:pt x="35" y="0"/>
                      <a:pt x="35" y="0"/>
                    </a:cubicBezTo>
                    <a:cubicBezTo>
                      <a:pt x="22" y="1"/>
                      <a:pt x="24" y="16"/>
                      <a:pt x="24" y="16"/>
                    </a:cubicBezTo>
                    <a:cubicBezTo>
                      <a:pt x="0" y="30"/>
                      <a:pt x="19" y="42"/>
                      <a:pt x="19" y="42"/>
                    </a:cubicBezTo>
                    <a:cubicBezTo>
                      <a:pt x="63" y="74"/>
                      <a:pt x="61" y="30"/>
                      <a:pt x="61" y="30"/>
                    </a:cubicBezTo>
                    <a:cubicBezTo>
                      <a:pt x="58" y="15"/>
                      <a:pt x="46" y="22"/>
                      <a:pt x="46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880" name="Freeform 6027"/>
              <p:cNvSpPr>
                <a:spLocks/>
              </p:cNvSpPr>
              <p:nvPr/>
            </p:nvSpPr>
            <p:spPr bwMode="auto">
              <a:xfrm>
                <a:off x="-463" y="2019"/>
                <a:ext cx="2" cy="7"/>
              </a:xfrm>
              <a:custGeom>
                <a:avLst/>
                <a:gdLst>
                  <a:gd name="T0" fmla="*/ 0 w 1"/>
                  <a:gd name="T1" fmla="*/ 0 h 4"/>
                  <a:gd name="T2" fmla="*/ 1 w 1"/>
                  <a:gd name="T3" fmla="*/ 4 h 4"/>
                  <a:gd name="T4" fmla="*/ 0 w 1"/>
                  <a:gd name="T5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4">
                    <a:moveTo>
                      <a:pt x="0" y="0"/>
                    </a:moveTo>
                    <a:cubicBezTo>
                      <a:pt x="0" y="1"/>
                      <a:pt x="0" y="3"/>
                      <a:pt x="1" y="4"/>
                    </a:cubicBezTo>
                    <a:cubicBezTo>
                      <a:pt x="1" y="4"/>
                      <a:pt x="0" y="2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881" name="Freeform 6028"/>
              <p:cNvSpPr>
                <a:spLocks/>
              </p:cNvSpPr>
              <p:nvPr/>
            </p:nvSpPr>
            <p:spPr bwMode="auto">
              <a:xfrm>
                <a:off x="-516" y="1994"/>
                <a:ext cx="163" cy="222"/>
              </a:xfrm>
              <a:custGeom>
                <a:avLst/>
                <a:gdLst>
                  <a:gd name="T0" fmla="*/ 82 w 101"/>
                  <a:gd name="T1" fmla="*/ 62 h 138"/>
                  <a:gd name="T2" fmla="*/ 81 w 101"/>
                  <a:gd name="T3" fmla="*/ 50 h 138"/>
                  <a:gd name="T4" fmla="*/ 72 w 101"/>
                  <a:gd name="T5" fmla="*/ 26 h 138"/>
                  <a:gd name="T6" fmla="*/ 69 w 101"/>
                  <a:gd name="T7" fmla="*/ 11 h 138"/>
                  <a:gd name="T8" fmla="*/ 54 w 101"/>
                  <a:gd name="T9" fmla="*/ 18 h 138"/>
                  <a:gd name="T10" fmla="*/ 42 w 101"/>
                  <a:gd name="T11" fmla="*/ 0 h 138"/>
                  <a:gd name="T12" fmla="*/ 33 w 101"/>
                  <a:gd name="T13" fmla="*/ 16 h 138"/>
                  <a:gd name="T14" fmla="*/ 34 w 101"/>
                  <a:gd name="T15" fmla="*/ 20 h 138"/>
                  <a:gd name="T16" fmla="*/ 33 w 101"/>
                  <a:gd name="T17" fmla="*/ 16 h 138"/>
                  <a:gd name="T18" fmla="*/ 26 w 101"/>
                  <a:gd name="T19" fmla="*/ 12 h 138"/>
                  <a:gd name="T20" fmla="*/ 22 w 101"/>
                  <a:gd name="T21" fmla="*/ 31 h 138"/>
                  <a:gd name="T22" fmla="*/ 15 w 101"/>
                  <a:gd name="T23" fmla="*/ 50 h 138"/>
                  <a:gd name="T24" fmla="*/ 11 w 101"/>
                  <a:gd name="T25" fmla="*/ 75 h 138"/>
                  <a:gd name="T26" fmla="*/ 17 w 101"/>
                  <a:gd name="T27" fmla="*/ 95 h 138"/>
                  <a:gd name="T28" fmla="*/ 13 w 101"/>
                  <a:gd name="T29" fmla="*/ 118 h 138"/>
                  <a:gd name="T30" fmla="*/ 46 w 101"/>
                  <a:gd name="T31" fmla="*/ 116 h 138"/>
                  <a:gd name="T32" fmla="*/ 70 w 101"/>
                  <a:gd name="T33" fmla="*/ 118 h 138"/>
                  <a:gd name="T34" fmla="*/ 88 w 101"/>
                  <a:gd name="T35" fmla="*/ 106 h 138"/>
                  <a:gd name="T36" fmla="*/ 85 w 101"/>
                  <a:gd name="T37" fmla="*/ 88 h 138"/>
                  <a:gd name="T38" fmla="*/ 82 w 101"/>
                  <a:gd name="T39" fmla="*/ 62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01" h="138">
                    <a:moveTo>
                      <a:pt x="82" y="62"/>
                    </a:moveTo>
                    <a:cubicBezTo>
                      <a:pt x="82" y="62"/>
                      <a:pt x="95" y="59"/>
                      <a:pt x="81" y="50"/>
                    </a:cubicBezTo>
                    <a:cubicBezTo>
                      <a:pt x="81" y="50"/>
                      <a:pt x="99" y="27"/>
                      <a:pt x="72" y="26"/>
                    </a:cubicBezTo>
                    <a:cubicBezTo>
                      <a:pt x="72" y="26"/>
                      <a:pt x="80" y="16"/>
                      <a:pt x="69" y="11"/>
                    </a:cubicBezTo>
                    <a:cubicBezTo>
                      <a:pt x="69" y="11"/>
                      <a:pt x="57" y="4"/>
                      <a:pt x="54" y="18"/>
                    </a:cubicBezTo>
                    <a:cubicBezTo>
                      <a:pt x="54" y="18"/>
                      <a:pt x="55" y="4"/>
                      <a:pt x="42" y="0"/>
                    </a:cubicBezTo>
                    <a:cubicBezTo>
                      <a:pt x="42" y="0"/>
                      <a:pt x="29" y="1"/>
                      <a:pt x="33" y="16"/>
                    </a:cubicBezTo>
                    <a:cubicBezTo>
                      <a:pt x="33" y="18"/>
                      <a:pt x="34" y="20"/>
                      <a:pt x="34" y="20"/>
                    </a:cubicBezTo>
                    <a:cubicBezTo>
                      <a:pt x="33" y="19"/>
                      <a:pt x="33" y="17"/>
                      <a:pt x="33" y="16"/>
                    </a:cubicBezTo>
                    <a:cubicBezTo>
                      <a:pt x="31" y="13"/>
                      <a:pt x="29" y="10"/>
                      <a:pt x="26" y="12"/>
                    </a:cubicBezTo>
                    <a:cubicBezTo>
                      <a:pt x="26" y="12"/>
                      <a:pt x="16" y="18"/>
                      <a:pt x="22" y="31"/>
                    </a:cubicBezTo>
                    <a:cubicBezTo>
                      <a:pt x="22" y="31"/>
                      <a:pt x="9" y="31"/>
                      <a:pt x="15" y="50"/>
                    </a:cubicBezTo>
                    <a:cubicBezTo>
                      <a:pt x="15" y="50"/>
                      <a:pt x="0" y="58"/>
                      <a:pt x="11" y="75"/>
                    </a:cubicBezTo>
                    <a:cubicBezTo>
                      <a:pt x="11" y="75"/>
                      <a:pt x="3" y="84"/>
                      <a:pt x="17" y="95"/>
                    </a:cubicBezTo>
                    <a:cubicBezTo>
                      <a:pt x="17" y="95"/>
                      <a:pt x="4" y="103"/>
                      <a:pt x="13" y="118"/>
                    </a:cubicBezTo>
                    <a:cubicBezTo>
                      <a:pt x="13" y="118"/>
                      <a:pt x="27" y="138"/>
                      <a:pt x="46" y="116"/>
                    </a:cubicBezTo>
                    <a:cubicBezTo>
                      <a:pt x="46" y="116"/>
                      <a:pt x="51" y="105"/>
                      <a:pt x="70" y="118"/>
                    </a:cubicBezTo>
                    <a:cubicBezTo>
                      <a:pt x="70" y="118"/>
                      <a:pt x="81" y="122"/>
                      <a:pt x="88" y="106"/>
                    </a:cubicBezTo>
                    <a:cubicBezTo>
                      <a:pt x="88" y="106"/>
                      <a:pt x="92" y="95"/>
                      <a:pt x="85" y="88"/>
                    </a:cubicBezTo>
                    <a:cubicBezTo>
                      <a:pt x="85" y="88"/>
                      <a:pt x="101" y="72"/>
                      <a:pt x="82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882" name="Freeform 6029"/>
              <p:cNvSpPr>
                <a:spLocks/>
              </p:cNvSpPr>
              <p:nvPr/>
            </p:nvSpPr>
            <p:spPr bwMode="auto">
              <a:xfrm>
                <a:off x="-485" y="2057"/>
                <a:ext cx="107" cy="193"/>
              </a:xfrm>
              <a:custGeom>
                <a:avLst/>
                <a:gdLst>
                  <a:gd name="T0" fmla="*/ 50 w 67"/>
                  <a:gd name="T1" fmla="*/ 52 h 120"/>
                  <a:gd name="T2" fmla="*/ 50 w 67"/>
                  <a:gd name="T3" fmla="*/ 27 h 120"/>
                  <a:gd name="T4" fmla="*/ 43 w 67"/>
                  <a:gd name="T5" fmla="*/ 4 h 120"/>
                  <a:gd name="T6" fmla="*/ 27 w 67"/>
                  <a:gd name="T7" fmla="*/ 16 h 120"/>
                  <a:gd name="T8" fmla="*/ 9 w 67"/>
                  <a:gd name="T9" fmla="*/ 22 h 120"/>
                  <a:gd name="T10" fmla="*/ 12 w 67"/>
                  <a:gd name="T11" fmla="*/ 33 h 120"/>
                  <a:gd name="T12" fmla="*/ 10 w 67"/>
                  <a:gd name="T13" fmla="*/ 55 h 120"/>
                  <a:gd name="T14" fmla="*/ 0 w 67"/>
                  <a:gd name="T15" fmla="*/ 70 h 120"/>
                  <a:gd name="T16" fmla="*/ 8 w 67"/>
                  <a:gd name="T17" fmla="*/ 79 h 120"/>
                  <a:gd name="T18" fmla="*/ 21 w 67"/>
                  <a:gd name="T19" fmla="*/ 93 h 120"/>
                  <a:gd name="T20" fmla="*/ 47 w 67"/>
                  <a:gd name="T21" fmla="*/ 92 h 120"/>
                  <a:gd name="T22" fmla="*/ 51 w 67"/>
                  <a:gd name="T23" fmla="*/ 73 h 120"/>
                  <a:gd name="T24" fmla="*/ 50 w 67"/>
                  <a:gd name="T25" fmla="*/ 52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7" h="120">
                    <a:moveTo>
                      <a:pt x="50" y="52"/>
                    </a:moveTo>
                    <a:cubicBezTo>
                      <a:pt x="50" y="52"/>
                      <a:pt x="66" y="42"/>
                      <a:pt x="50" y="27"/>
                    </a:cubicBezTo>
                    <a:cubicBezTo>
                      <a:pt x="50" y="27"/>
                      <a:pt x="57" y="14"/>
                      <a:pt x="43" y="4"/>
                    </a:cubicBezTo>
                    <a:cubicBezTo>
                      <a:pt x="43" y="4"/>
                      <a:pt x="30" y="0"/>
                      <a:pt x="27" y="16"/>
                    </a:cubicBezTo>
                    <a:cubicBezTo>
                      <a:pt x="27" y="16"/>
                      <a:pt x="18" y="5"/>
                      <a:pt x="9" y="22"/>
                    </a:cubicBezTo>
                    <a:cubicBezTo>
                      <a:pt x="9" y="22"/>
                      <a:pt x="7" y="29"/>
                      <a:pt x="12" y="33"/>
                    </a:cubicBezTo>
                    <a:cubicBezTo>
                      <a:pt x="12" y="33"/>
                      <a:pt x="1" y="40"/>
                      <a:pt x="10" y="55"/>
                    </a:cubicBezTo>
                    <a:cubicBezTo>
                      <a:pt x="10" y="55"/>
                      <a:pt x="1" y="53"/>
                      <a:pt x="0" y="70"/>
                    </a:cubicBezTo>
                    <a:cubicBezTo>
                      <a:pt x="0" y="70"/>
                      <a:pt x="0" y="79"/>
                      <a:pt x="8" y="79"/>
                    </a:cubicBezTo>
                    <a:cubicBezTo>
                      <a:pt x="8" y="79"/>
                      <a:pt x="2" y="99"/>
                      <a:pt x="21" y="93"/>
                    </a:cubicBezTo>
                    <a:cubicBezTo>
                      <a:pt x="21" y="93"/>
                      <a:pt x="31" y="120"/>
                      <a:pt x="47" y="92"/>
                    </a:cubicBezTo>
                    <a:cubicBezTo>
                      <a:pt x="47" y="92"/>
                      <a:pt x="64" y="87"/>
                      <a:pt x="51" y="73"/>
                    </a:cubicBezTo>
                    <a:cubicBezTo>
                      <a:pt x="51" y="73"/>
                      <a:pt x="67" y="64"/>
                      <a:pt x="50" y="5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883" name="Freeform 6030"/>
              <p:cNvSpPr>
                <a:spLocks/>
              </p:cNvSpPr>
              <p:nvPr/>
            </p:nvSpPr>
            <p:spPr bwMode="auto">
              <a:xfrm>
                <a:off x="-688" y="2016"/>
                <a:ext cx="126" cy="189"/>
              </a:xfrm>
              <a:custGeom>
                <a:avLst/>
                <a:gdLst>
                  <a:gd name="T0" fmla="*/ 62 w 78"/>
                  <a:gd name="T1" fmla="*/ 55 h 117"/>
                  <a:gd name="T2" fmla="*/ 48 w 78"/>
                  <a:gd name="T3" fmla="*/ 36 h 117"/>
                  <a:gd name="T4" fmla="*/ 35 w 78"/>
                  <a:gd name="T5" fmla="*/ 21 h 117"/>
                  <a:gd name="T6" fmla="*/ 15 w 78"/>
                  <a:gd name="T7" fmla="*/ 10 h 117"/>
                  <a:gd name="T8" fmla="*/ 15 w 78"/>
                  <a:gd name="T9" fmla="*/ 46 h 117"/>
                  <a:gd name="T10" fmla="*/ 26 w 78"/>
                  <a:gd name="T11" fmla="*/ 77 h 117"/>
                  <a:gd name="T12" fmla="*/ 34 w 78"/>
                  <a:gd name="T13" fmla="*/ 97 h 117"/>
                  <a:gd name="T14" fmla="*/ 47 w 78"/>
                  <a:gd name="T15" fmla="*/ 117 h 117"/>
                  <a:gd name="T16" fmla="*/ 56 w 78"/>
                  <a:gd name="T17" fmla="*/ 101 h 117"/>
                  <a:gd name="T18" fmla="*/ 61 w 78"/>
                  <a:gd name="T19" fmla="*/ 77 h 117"/>
                  <a:gd name="T20" fmla="*/ 62 w 78"/>
                  <a:gd name="T21" fmla="*/ 55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8" h="117">
                    <a:moveTo>
                      <a:pt x="62" y="55"/>
                    </a:moveTo>
                    <a:cubicBezTo>
                      <a:pt x="70" y="29"/>
                      <a:pt x="48" y="36"/>
                      <a:pt x="48" y="36"/>
                    </a:cubicBezTo>
                    <a:cubicBezTo>
                      <a:pt x="49" y="21"/>
                      <a:pt x="35" y="21"/>
                      <a:pt x="35" y="21"/>
                    </a:cubicBezTo>
                    <a:cubicBezTo>
                      <a:pt x="33" y="0"/>
                      <a:pt x="15" y="10"/>
                      <a:pt x="15" y="10"/>
                    </a:cubicBezTo>
                    <a:cubicBezTo>
                      <a:pt x="5" y="17"/>
                      <a:pt x="15" y="46"/>
                      <a:pt x="15" y="46"/>
                    </a:cubicBezTo>
                    <a:cubicBezTo>
                      <a:pt x="0" y="58"/>
                      <a:pt x="26" y="77"/>
                      <a:pt x="26" y="77"/>
                    </a:cubicBezTo>
                    <a:cubicBezTo>
                      <a:pt x="15" y="90"/>
                      <a:pt x="34" y="97"/>
                      <a:pt x="34" y="97"/>
                    </a:cubicBezTo>
                    <a:cubicBezTo>
                      <a:pt x="32" y="116"/>
                      <a:pt x="47" y="117"/>
                      <a:pt x="47" y="117"/>
                    </a:cubicBezTo>
                    <a:cubicBezTo>
                      <a:pt x="60" y="116"/>
                      <a:pt x="56" y="101"/>
                      <a:pt x="56" y="101"/>
                    </a:cubicBezTo>
                    <a:cubicBezTo>
                      <a:pt x="76" y="93"/>
                      <a:pt x="61" y="77"/>
                      <a:pt x="61" y="77"/>
                    </a:cubicBezTo>
                    <a:cubicBezTo>
                      <a:pt x="78" y="65"/>
                      <a:pt x="62" y="55"/>
                      <a:pt x="62" y="5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884" name="Freeform 6031"/>
              <p:cNvSpPr>
                <a:spLocks/>
              </p:cNvSpPr>
              <p:nvPr/>
            </p:nvSpPr>
            <p:spPr bwMode="auto">
              <a:xfrm>
                <a:off x="-680" y="2234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885" name="Freeform 6032"/>
              <p:cNvSpPr>
                <a:spLocks/>
              </p:cNvSpPr>
              <p:nvPr/>
            </p:nvSpPr>
            <p:spPr bwMode="auto">
              <a:xfrm>
                <a:off x="-717" y="2191"/>
                <a:ext cx="58" cy="156"/>
              </a:xfrm>
              <a:custGeom>
                <a:avLst/>
                <a:gdLst>
                  <a:gd name="T0" fmla="*/ 33 w 36"/>
                  <a:gd name="T1" fmla="*/ 9 h 97"/>
                  <a:gd name="T2" fmla="*/ 23 w 36"/>
                  <a:gd name="T3" fmla="*/ 27 h 97"/>
                  <a:gd name="T4" fmla="*/ 23 w 36"/>
                  <a:gd name="T5" fmla="*/ 27 h 97"/>
                  <a:gd name="T6" fmla="*/ 23 w 36"/>
                  <a:gd name="T7" fmla="*/ 27 h 97"/>
                  <a:gd name="T8" fmla="*/ 20 w 36"/>
                  <a:gd name="T9" fmla="*/ 0 h 97"/>
                  <a:gd name="T10" fmla="*/ 14 w 36"/>
                  <a:gd name="T11" fmla="*/ 3 h 97"/>
                  <a:gd name="T12" fmla="*/ 17 w 36"/>
                  <a:gd name="T13" fmla="*/ 32 h 97"/>
                  <a:gd name="T14" fmla="*/ 18 w 36"/>
                  <a:gd name="T15" fmla="*/ 34 h 97"/>
                  <a:gd name="T16" fmla="*/ 17 w 36"/>
                  <a:gd name="T17" fmla="*/ 32 h 97"/>
                  <a:gd name="T18" fmla="*/ 1 w 36"/>
                  <a:gd name="T19" fmla="*/ 4 h 97"/>
                  <a:gd name="T20" fmla="*/ 0 w 36"/>
                  <a:gd name="T21" fmla="*/ 13 h 97"/>
                  <a:gd name="T22" fmla="*/ 13 w 36"/>
                  <a:gd name="T23" fmla="*/ 45 h 97"/>
                  <a:gd name="T24" fmla="*/ 11 w 36"/>
                  <a:gd name="T25" fmla="*/ 97 h 97"/>
                  <a:gd name="T26" fmla="*/ 31 w 36"/>
                  <a:gd name="T27" fmla="*/ 97 h 97"/>
                  <a:gd name="T28" fmla="*/ 33 w 36"/>
                  <a:gd name="T29" fmla="*/ 97 h 97"/>
                  <a:gd name="T30" fmla="*/ 29 w 36"/>
                  <a:gd name="T31" fmla="*/ 57 h 97"/>
                  <a:gd name="T32" fmla="*/ 36 w 36"/>
                  <a:gd name="T33" fmla="*/ 17 h 97"/>
                  <a:gd name="T34" fmla="*/ 33 w 36"/>
                  <a:gd name="T35" fmla="*/ 9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6" h="97">
                    <a:moveTo>
                      <a:pt x="33" y="9"/>
                    </a:moveTo>
                    <a:cubicBezTo>
                      <a:pt x="26" y="14"/>
                      <a:pt x="24" y="24"/>
                      <a:pt x="23" y="27"/>
                    </a:cubicBezTo>
                    <a:cubicBezTo>
                      <a:pt x="23" y="27"/>
                      <a:pt x="23" y="27"/>
                      <a:pt x="23" y="27"/>
                    </a:cubicBezTo>
                    <a:cubicBezTo>
                      <a:pt x="23" y="27"/>
                      <a:pt x="23" y="27"/>
                      <a:pt x="23" y="27"/>
                    </a:cubicBezTo>
                    <a:cubicBezTo>
                      <a:pt x="23" y="23"/>
                      <a:pt x="20" y="0"/>
                      <a:pt x="20" y="0"/>
                    </a:cubicBezTo>
                    <a:cubicBezTo>
                      <a:pt x="14" y="3"/>
                      <a:pt x="14" y="3"/>
                      <a:pt x="14" y="3"/>
                    </a:cubicBezTo>
                    <a:cubicBezTo>
                      <a:pt x="16" y="8"/>
                      <a:pt x="17" y="27"/>
                      <a:pt x="17" y="32"/>
                    </a:cubicBezTo>
                    <a:cubicBezTo>
                      <a:pt x="18" y="33"/>
                      <a:pt x="18" y="33"/>
                      <a:pt x="18" y="34"/>
                    </a:cubicBezTo>
                    <a:cubicBezTo>
                      <a:pt x="18" y="34"/>
                      <a:pt x="18" y="33"/>
                      <a:pt x="17" y="32"/>
                    </a:cubicBezTo>
                    <a:cubicBezTo>
                      <a:pt x="16" y="20"/>
                      <a:pt x="1" y="4"/>
                      <a:pt x="1" y="4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4" y="15"/>
                      <a:pt x="10" y="29"/>
                      <a:pt x="13" y="45"/>
                    </a:cubicBezTo>
                    <a:cubicBezTo>
                      <a:pt x="17" y="60"/>
                      <a:pt x="11" y="97"/>
                      <a:pt x="11" y="97"/>
                    </a:cubicBezTo>
                    <a:cubicBezTo>
                      <a:pt x="31" y="97"/>
                      <a:pt x="31" y="97"/>
                      <a:pt x="31" y="97"/>
                    </a:cubicBezTo>
                    <a:cubicBezTo>
                      <a:pt x="33" y="97"/>
                      <a:pt x="33" y="97"/>
                      <a:pt x="33" y="97"/>
                    </a:cubicBezTo>
                    <a:cubicBezTo>
                      <a:pt x="31" y="92"/>
                      <a:pt x="29" y="57"/>
                      <a:pt x="29" y="57"/>
                    </a:cubicBezTo>
                    <a:cubicBezTo>
                      <a:pt x="27" y="27"/>
                      <a:pt x="36" y="17"/>
                      <a:pt x="36" y="17"/>
                    </a:cubicBezTo>
                    <a:lnTo>
                      <a:pt x="33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886" name="Freeform 6033"/>
              <p:cNvSpPr>
                <a:spLocks/>
              </p:cNvSpPr>
              <p:nvPr/>
            </p:nvSpPr>
            <p:spPr bwMode="auto">
              <a:xfrm>
                <a:off x="-689" y="2242"/>
                <a:ext cx="1" cy="4"/>
              </a:xfrm>
              <a:custGeom>
                <a:avLst/>
                <a:gdLst>
                  <a:gd name="T0" fmla="*/ 0 w 1"/>
                  <a:gd name="T1" fmla="*/ 0 h 2"/>
                  <a:gd name="T2" fmla="*/ 1 w 1"/>
                  <a:gd name="T3" fmla="*/ 2 h 2"/>
                  <a:gd name="T4" fmla="*/ 0 w 1"/>
                  <a:gd name="T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2">
                    <a:moveTo>
                      <a:pt x="0" y="0"/>
                    </a:moveTo>
                    <a:cubicBezTo>
                      <a:pt x="1" y="1"/>
                      <a:pt x="1" y="2"/>
                      <a:pt x="1" y="2"/>
                    </a:cubicBezTo>
                    <a:cubicBezTo>
                      <a:pt x="1" y="1"/>
                      <a:pt x="1" y="1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887" name="Freeform 6034"/>
              <p:cNvSpPr>
                <a:spLocks/>
              </p:cNvSpPr>
              <p:nvPr/>
            </p:nvSpPr>
            <p:spPr bwMode="auto">
              <a:xfrm>
                <a:off x="-659" y="2094"/>
                <a:ext cx="63" cy="90"/>
              </a:xfrm>
              <a:custGeom>
                <a:avLst/>
                <a:gdLst>
                  <a:gd name="T0" fmla="*/ 26 w 39"/>
                  <a:gd name="T1" fmla="*/ 19 h 56"/>
                  <a:gd name="T2" fmla="*/ 14 w 39"/>
                  <a:gd name="T3" fmla="*/ 4 h 56"/>
                  <a:gd name="T4" fmla="*/ 16 w 39"/>
                  <a:gd name="T5" fmla="*/ 52 h 56"/>
                  <a:gd name="T6" fmla="*/ 28 w 39"/>
                  <a:gd name="T7" fmla="*/ 36 h 56"/>
                  <a:gd name="T8" fmla="*/ 26 w 39"/>
                  <a:gd name="T9" fmla="*/ 19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56">
                    <a:moveTo>
                      <a:pt x="26" y="19"/>
                    </a:moveTo>
                    <a:cubicBezTo>
                      <a:pt x="34" y="0"/>
                      <a:pt x="14" y="4"/>
                      <a:pt x="14" y="4"/>
                    </a:cubicBezTo>
                    <a:cubicBezTo>
                      <a:pt x="0" y="7"/>
                      <a:pt x="16" y="52"/>
                      <a:pt x="16" y="52"/>
                    </a:cubicBezTo>
                    <a:cubicBezTo>
                      <a:pt x="35" y="56"/>
                      <a:pt x="28" y="36"/>
                      <a:pt x="28" y="36"/>
                    </a:cubicBezTo>
                    <a:cubicBezTo>
                      <a:pt x="39" y="25"/>
                      <a:pt x="26" y="19"/>
                      <a:pt x="26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888" name="Freeform 6035"/>
              <p:cNvSpPr>
                <a:spLocks/>
              </p:cNvSpPr>
              <p:nvPr/>
            </p:nvSpPr>
            <p:spPr bwMode="auto">
              <a:xfrm>
                <a:off x="-736" y="2005"/>
                <a:ext cx="103" cy="126"/>
              </a:xfrm>
              <a:custGeom>
                <a:avLst/>
                <a:gdLst>
                  <a:gd name="T0" fmla="*/ 55 w 64"/>
                  <a:gd name="T1" fmla="*/ 55 h 78"/>
                  <a:gd name="T2" fmla="*/ 57 w 64"/>
                  <a:gd name="T3" fmla="*/ 43 h 78"/>
                  <a:gd name="T4" fmla="*/ 46 w 64"/>
                  <a:gd name="T5" fmla="*/ 37 h 78"/>
                  <a:gd name="T6" fmla="*/ 45 w 64"/>
                  <a:gd name="T7" fmla="*/ 37 h 78"/>
                  <a:gd name="T8" fmla="*/ 46 w 64"/>
                  <a:gd name="T9" fmla="*/ 37 h 78"/>
                  <a:gd name="T10" fmla="*/ 49 w 64"/>
                  <a:gd name="T11" fmla="*/ 24 h 78"/>
                  <a:gd name="T12" fmla="*/ 31 w 64"/>
                  <a:gd name="T13" fmla="*/ 14 h 78"/>
                  <a:gd name="T14" fmla="*/ 16 w 64"/>
                  <a:gd name="T15" fmla="*/ 2 h 78"/>
                  <a:gd name="T16" fmla="*/ 7 w 64"/>
                  <a:gd name="T17" fmla="*/ 14 h 78"/>
                  <a:gd name="T18" fmla="*/ 13 w 64"/>
                  <a:gd name="T19" fmla="*/ 28 h 78"/>
                  <a:gd name="T20" fmla="*/ 21 w 64"/>
                  <a:gd name="T21" fmla="*/ 42 h 78"/>
                  <a:gd name="T22" fmla="*/ 31 w 64"/>
                  <a:gd name="T23" fmla="*/ 59 h 78"/>
                  <a:gd name="T24" fmla="*/ 48 w 64"/>
                  <a:gd name="T25" fmla="*/ 77 h 78"/>
                  <a:gd name="T26" fmla="*/ 61 w 64"/>
                  <a:gd name="T27" fmla="*/ 67 h 78"/>
                  <a:gd name="T28" fmla="*/ 55 w 64"/>
                  <a:gd name="T29" fmla="*/ 55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64" h="78">
                    <a:moveTo>
                      <a:pt x="55" y="55"/>
                    </a:moveTo>
                    <a:cubicBezTo>
                      <a:pt x="59" y="46"/>
                      <a:pt x="57" y="43"/>
                      <a:pt x="57" y="43"/>
                    </a:cubicBezTo>
                    <a:cubicBezTo>
                      <a:pt x="56" y="36"/>
                      <a:pt x="49" y="36"/>
                      <a:pt x="46" y="37"/>
                    </a:cubicBezTo>
                    <a:cubicBezTo>
                      <a:pt x="46" y="37"/>
                      <a:pt x="45" y="37"/>
                      <a:pt x="45" y="37"/>
                    </a:cubicBezTo>
                    <a:cubicBezTo>
                      <a:pt x="45" y="37"/>
                      <a:pt x="45" y="37"/>
                      <a:pt x="46" y="37"/>
                    </a:cubicBezTo>
                    <a:cubicBezTo>
                      <a:pt x="51" y="34"/>
                      <a:pt x="49" y="24"/>
                      <a:pt x="49" y="24"/>
                    </a:cubicBezTo>
                    <a:cubicBezTo>
                      <a:pt x="47" y="7"/>
                      <a:pt x="31" y="14"/>
                      <a:pt x="31" y="14"/>
                    </a:cubicBezTo>
                    <a:cubicBezTo>
                      <a:pt x="30" y="0"/>
                      <a:pt x="16" y="2"/>
                      <a:pt x="16" y="2"/>
                    </a:cubicBezTo>
                    <a:cubicBezTo>
                      <a:pt x="7" y="3"/>
                      <a:pt x="7" y="14"/>
                      <a:pt x="7" y="14"/>
                    </a:cubicBezTo>
                    <a:cubicBezTo>
                      <a:pt x="6" y="20"/>
                      <a:pt x="13" y="28"/>
                      <a:pt x="13" y="28"/>
                    </a:cubicBezTo>
                    <a:cubicBezTo>
                      <a:pt x="0" y="48"/>
                      <a:pt x="21" y="42"/>
                      <a:pt x="21" y="42"/>
                    </a:cubicBezTo>
                    <a:cubicBezTo>
                      <a:pt x="7" y="54"/>
                      <a:pt x="31" y="59"/>
                      <a:pt x="31" y="59"/>
                    </a:cubicBezTo>
                    <a:cubicBezTo>
                      <a:pt x="27" y="78"/>
                      <a:pt x="48" y="77"/>
                      <a:pt x="48" y="77"/>
                    </a:cubicBezTo>
                    <a:cubicBezTo>
                      <a:pt x="60" y="78"/>
                      <a:pt x="61" y="67"/>
                      <a:pt x="61" y="67"/>
                    </a:cubicBezTo>
                    <a:cubicBezTo>
                      <a:pt x="64" y="60"/>
                      <a:pt x="55" y="55"/>
                      <a:pt x="55" y="5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889" name="Freeform 6036"/>
              <p:cNvSpPr>
                <a:spLocks/>
              </p:cNvSpPr>
              <p:nvPr/>
            </p:nvSpPr>
            <p:spPr bwMode="auto">
              <a:xfrm>
                <a:off x="-664" y="2065"/>
                <a:ext cx="2" cy="0"/>
              </a:xfrm>
              <a:custGeom>
                <a:avLst/>
                <a:gdLst>
                  <a:gd name="T0" fmla="*/ 1 w 1"/>
                  <a:gd name="T1" fmla="*/ 0 w 1"/>
                  <a:gd name="T2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890" name="Freeform 6037"/>
              <p:cNvSpPr>
                <a:spLocks/>
              </p:cNvSpPr>
              <p:nvPr/>
            </p:nvSpPr>
            <p:spPr bwMode="auto">
              <a:xfrm>
                <a:off x="-796" y="2019"/>
                <a:ext cx="126" cy="122"/>
              </a:xfrm>
              <a:custGeom>
                <a:avLst/>
                <a:gdLst>
                  <a:gd name="T0" fmla="*/ 61 w 78"/>
                  <a:gd name="T1" fmla="*/ 24 h 75"/>
                  <a:gd name="T2" fmla="*/ 50 w 78"/>
                  <a:gd name="T3" fmla="*/ 14 h 75"/>
                  <a:gd name="T4" fmla="*/ 39 w 78"/>
                  <a:gd name="T5" fmla="*/ 1 h 75"/>
                  <a:gd name="T6" fmla="*/ 29 w 78"/>
                  <a:gd name="T7" fmla="*/ 13 h 75"/>
                  <a:gd name="T8" fmla="*/ 15 w 78"/>
                  <a:gd name="T9" fmla="*/ 26 h 75"/>
                  <a:gd name="T10" fmla="*/ 23 w 78"/>
                  <a:gd name="T11" fmla="*/ 50 h 75"/>
                  <a:gd name="T12" fmla="*/ 37 w 78"/>
                  <a:gd name="T13" fmla="*/ 62 h 75"/>
                  <a:gd name="T14" fmla="*/ 54 w 78"/>
                  <a:gd name="T15" fmla="*/ 58 h 75"/>
                  <a:gd name="T16" fmla="*/ 61 w 78"/>
                  <a:gd name="T17" fmla="*/ 39 h 75"/>
                  <a:gd name="T18" fmla="*/ 61 w 78"/>
                  <a:gd name="T19" fmla="*/ 24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8" h="75">
                    <a:moveTo>
                      <a:pt x="61" y="24"/>
                    </a:moveTo>
                    <a:cubicBezTo>
                      <a:pt x="62" y="11"/>
                      <a:pt x="50" y="14"/>
                      <a:pt x="50" y="14"/>
                    </a:cubicBezTo>
                    <a:cubicBezTo>
                      <a:pt x="48" y="0"/>
                      <a:pt x="39" y="1"/>
                      <a:pt x="39" y="1"/>
                    </a:cubicBezTo>
                    <a:cubicBezTo>
                      <a:pt x="29" y="2"/>
                      <a:pt x="29" y="13"/>
                      <a:pt x="29" y="13"/>
                    </a:cubicBezTo>
                    <a:cubicBezTo>
                      <a:pt x="12" y="12"/>
                      <a:pt x="15" y="26"/>
                      <a:pt x="15" y="26"/>
                    </a:cubicBezTo>
                    <a:cubicBezTo>
                      <a:pt x="0" y="41"/>
                      <a:pt x="23" y="50"/>
                      <a:pt x="23" y="50"/>
                    </a:cubicBezTo>
                    <a:cubicBezTo>
                      <a:pt x="18" y="69"/>
                      <a:pt x="37" y="62"/>
                      <a:pt x="37" y="62"/>
                    </a:cubicBezTo>
                    <a:cubicBezTo>
                      <a:pt x="48" y="75"/>
                      <a:pt x="54" y="58"/>
                      <a:pt x="54" y="58"/>
                    </a:cubicBezTo>
                    <a:cubicBezTo>
                      <a:pt x="65" y="59"/>
                      <a:pt x="61" y="39"/>
                      <a:pt x="61" y="39"/>
                    </a:cubicBezTo>
                    <a:cubicBezTo>
                      <a:pt x="78" y="30"/>
                      <a:pt x="61" y="24"/>
                      <a:pt x="61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891" name="Freeform 6038"/>
              <p:cNvSpPr>
                <a:spLocks/>
              </p:cNvSpPr>
              <p:nvPr/>
            </p:nvSpPr>
            <p:spPr bwMode="auto">
              <a:xfrm>
                <a:off x="-829" y="2061"/>
                <a:ext cx="115" cy="117"/>
              </a:xfrm>
              <a:custGeom>
                <a:avLst/>
                <a:gdLst>
                  <a:gd name="T0" fmla="*/ 55 w 72"/>
                  <a:gd name="T1" fmla="*/ 31 h 72"/>
                  <a:gd name="T2" fmla="*/ 57 w 72"/>
                  <a:gd name="T3" fmla="*/ 18 h 72"/>
                  <a:gd name="T4" fmla="*/ 42 w 72"/>
                  <a:gd name="T5" fmla="*/ 16 h 72"/>
                  <a:gd name="T6" fmla="*/ 33 w 72"/>
                  <a:gd name="T7" fmla="*/ 0 h 72"/>
                  <a:gd name="T8" fmla="*/ 23 w 72"/>
                  <a:gd name="T9" fmla="*/ 14 h 72"/>
                  <a:gd name="T10" fmla="*/ 16 w 72"/>
                  <a:gd name="T11" fmla="*/ 28 h 72"/>
                  <a:gd name="T12" fmla="*/ 13 w 72"/>
                  <a:gd name="T13" fmla="*/ 49 h 72"/>
                  <a:gd name="T14" fmla="*/ 15 w 72"/>
                  <a:gd name="T15" fmla="*/ 49 h 72"/>
                  <a:gd name="T16" fmla="*/ 29 w 72"/>
                  <a:gd name="T17" fmla="*/ 56 h 72"/>
                  <a:gd name="T18" fmla="*/ 42 w 72"/>
                  <a:gd name="T19" fmla="*/ 56 h 72"/>
                  <a:gd name="T20" fmla="*/ 66 w 72"/>
                  <a:gd name="T21" fmla="*/ 47 h 72"/>
                  <a:gd name="T22" fmla="*/ 55 w 72"/>
                  <a:gd name="T23" fmla="*/ 31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2" h="72">
                    <a:moveTo>
                      <a:pt x="55" y="31"/>
                    </a:moveTo>
                    <a:cubicBezTo>
                      <a:pt x="62" y="29"/>
                      <a:pt x="57" y="18"/>
                      <a:pt x="57" y="18"/>
                    </a:cubicBezTo>
                    <a:cubicBezTo>
                      <a:pt x="54" y="8"/>
                      <a:pt x="42" y="16"/>
                      <a:pt x="42" y="16"/>
                    </a:cubicBezTo>
                    <a:cubicBezTo>
                      <a:pt x="47" y="0"/>
                      <a:pt x="33" y="0"/>
                      <a:pt x="33" y="0"/>
                    </a:cubicBezTo>
                    <a:cubicBezTo>
                      <a:pt x="24" y="0"/>
                      <a:pt x="23" y="14"/>
                      <a:pt x="23" y="14"/>
                    </a:cubicBezTo>
                    <a:cubicBezTo>
                      <a:pt x="7" y="15"/>
                      <a:pt x="16" y="28"/>
                      <a:pt x="16" y="28"/>
                    </a:cubicBezTo>
                    <a:cubicBezTo>
                      <a:pt x="0" y="35"/>
                      <a:pt x="13" y="49"/>
                      <a:pt x="13" y="49"/>
                    </a:cubicBezTo>
                    <a:cubicBezTo>
                      <a:pt x="14" y="50"/>
                      <a:pt x="15" y="49"/>
                      <a:pt x="15" y="49"/>
                    </a:cubicBezTo>
                    <a:cubicBezTo>
                      <a:pt x="14" y="67"/>
                      <a:pt x="29" y="56"/>
                      <a:pt x="29" y="56"/>
                    </a:cubicBezTo>
                    <a:cubicBezTo>
                      <a:pt x="30" y="65"/>
                      <a:pt x="42" y="56"/>
                      <a:pt x="42" y="56"/>
                    </a:cubicBezTo>
                    <a:cubicBezTo>
                      <a:pt x="57" y="72"/>
                      <a:pt x="66" y="47"/>
                      <a:pt x="66" y="47"/>
                    </a:cubicBezTo>
                    <a:cubicBezTo>
                      <a:pt x="72" y="33"/>
                      <a:pt x="55" y="31"/>
                      <a:pt x="55" y="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892" name="Freeform 6039"/>
              <p:cNvSpPr>
                <a:spLocks/>
              </p:cNvSpPr>
              <p:nvPr/>
            </p:nvSpPr>
            <p:spPr bwMode="auto">
              <a:xfrm>
                <a:off x="-833" y="2123"/>
                <a:ext cx="127" cy="131"/>
              </a:xfrm>
              <a:custGeom>
                <a:avLst/>
                <a:gdLst>
                  <a:gd name="T0" fmla="*/ 65 w 79"/>
                  <a:gd name="T1" fmla="*/ 26 h 81"/>
                  <a:gd name="T2" fmla="*/ 52 w 79"/>
                  <a:gd name="T3" fmla="*/ 16 h 81"/>
                  <a:gd name="T4" fmla="*/ 37 w 79"/>
                  <a:gd name="T5" fmla="*/ 7 h 81"/>
                  <a:gd name="T6" fmla="*/ 31 w 79"/>
                  <a:gd name="T7" fmla="*/ 0 h 81"/>
                  <a:gd name="T8" fmla="*/ 31 w 79"/>
                  <a:gd name="T9" fmla="*/ 0 h 81"/>
                  <a:gd name="T10" fmla="*/ 18 w 79"/>
                  <a:gd name="T11" fmla="*/ 11 h 81"/>
                  <a:gd name="T12" fmla="*/ 17 w 79"/>
                  <a:gd name="T13" fmla="*/ 28 h 81"/>
                  <a:gd name="T14" fmla="*/ 19 w 79"/>
                  <a:gd name="T15" fmla="*/ 42 h 81"/>
                  <a:gd name="T16" fmla="*/ 27 w 79"/>
                  <a:gd name="T17" fmla="*/ 53 h 81"/>
                  <a:gd name="T18" fmla="*/ 39 w 79"/>
                  <a:gd name="T19" fmla="*/ 67 h 81"/>
                  <a:gd name="T20" fmla="*/ 39 w 79"/>
                  <a:gd name="T21" fmla="*/ 66 h 81"/>
                  <a:gd name="T22" fmla="*/ 40 w 79"/>
                  <a:gd name="T23" fmla="*/ 67 h 81"/>
                  <a:gd name="T24" fmla="*/ 55 w 79"/>
                  <a:gd name="T25" fmla="*/ 68 h 81"/>
                  <a:gd name="T26" fmla="*/ 55 w 79"/>
                  <a:gd name="T27" fmla="*/ 69 h 81"/>
                  <a:gd name="T28" fmla="*/ 68 w 79"/>
                  <a:gd name="T29" fmla="*/ 61 h 81"/>
                  <a:gd name="T30" fmla="*/ 69 w 79"/>
                  <a:gd name="T31" fmla="*/ 51 h 81"/>
                  <a:gd name="T32" fmla="*/ 70 w 79"/>
                  <a:gd name="T33" fmla="*/ 38 h 81"/>
                  <a:gd name="T34" fmla="*/ 65 w 79"/>
                  <a:gd name="T35" fmla="*/ 26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79" h="81">
                    <a:moveTo>
                      <a:pt x="65" y="26"/>
                    </a:moveTo>
                    <a:cubicBezTo>
                      <a:pt x="65" y="11"/>
                      <a:pt x="52" y="16"/>
                      <a:pt x="52" y="16"/>
                    </a:cubicBezTo>
                    <a:cubicBezTo>
                      <a:pt x="47" y="0"/>
                      <a:pt x="37" y="7"/>
                      <a:pt x="37" y="7"/>
                    </a:cubicBezTo>
                    <a:cubicBezTo>
                      <a:pt x="37" y="3"/>
                      <a:pt x="31" y="0"/>
                      <a:pt x="31" y="0"/>
                    </a:cubicBezTo>
                    <a:cubicBezTo>
                      <a:pt x="31" y="0"/>
                      <a:pt x="31" y="0"/>
                      <a:pt x="31" y="0"/>
                    </a:cubicBezTo>
                    <a:cubicBezTo>
                      <a:pt x="18" y="0"/>
                      <a:pt x="18" y="11"/>
                      <a:pt x="18" y="11"/>
                    </a:cubicBezTo>
                    <a:cubicBezTo>
                      <a:pt x="0" y="19"/>
                      <a:pt x="17" y="28"/>
                      <a:pt x="17" y="28"/>
                    </a:cubicBezTo>
                    <a:cubicBezTo>
                      <a:pt x="4" y="36"/>
                      <a:pt x="19" y="42"/>
                      <a:pt x="19" y="42"/>
                    </a:cubicBezTo>
                    <a:cubicBezTo>
                      <a:pt x="15" y="59"/>
                      <a:pt x="27" y="53"/>
                      <a:pt x="27" y="53"/>
                    </a:cubicBezTo>
                    <a:cubicBezTo>
                      <a:pt x="24" y="75"/>
                      <a:pt x="39" y="67"/>
                      <a:pt x="39" y="67"/>
                    </a:cubicBezTo>
                    <a:cubicBezTo>
                      <a:pt x="39" y="67"/>
                      <a:pt x="29" y="51"/>
                      <a:pt x="39" y="66"/>
                    </a:cubicBezTo>
                    <a:cubicBezTo>
                      <a:pt x="39" y="67"/>
                      <a:pt x="40" y="67"/>
                      <a:pt x="40" y="67"/>
                    </a:cubicBezTo>
                    <a:cubicBezTo>
                      <a:pt x="49" y="81"/>
                      <a:pt x="55" y="68"/>
                      <a:pt x="55" y="68"/>
                    </a:cubicBezTo>
                    <a:cubicBezTo>
                      <a:pt x="55" y="68"/>
                      <a:pt x="55" y="69"/>
                      <a:pt x="55" y="69"/>
                    </a:cubicBezTo>
                    <a:cubicBezTo>
                      <a:pt x="72" y="79"/>
                      <a:pt x="68" y="61"/>
                      <a:pt x="68" y="61"/>
                    </a:cubicBezTo>
                    <a:cubicBezTo>
                      <a:pt x="75" y="55"/>
                      <a:pt x="69" y="51"/>
                      <a:pt x="69" y="51"/>
                    </a:cubicBezTo>
                    <a:cubicBezTo>
                      <a:pt x="79" y="49"/>
                      <a:pt x="70" y="38"/>
                      <a:pt x="70" y="38"/>
                    </a:cubicBezTo>
                    <a:cubicBezTo>
                      <a:pt x="77" y="30"/>
                      <a:pt x="65" y="26"/>
                      <a:pt x="65" y="2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893" name="Freeform 6040"/>
              <p:cNvSpPr>
                <a:spLocks/>
              </p:cNvSpPr>
              <p:nvPr/>
            </p:nvSpPr>
            <p:spPr bwMode="auto">
              <a:xfrm>
                <a:off x="-728" y="2082"/>
                <a:ext cx="114" cy="157"/>
              </a:xfrm>
              <a:custGeom>
                <a:avLst/>
                <a:gdLst>
                  <a:gd name="T0" fmla="*/ 61 w 71"/>
                  <a:gd name="T1" fmla="*/ 61 h 97"/>
                  <a:gd name="T2" fmla="*/ 64 w 71"/>
                  <a:gd name="T3" fmla="*/ 50 h 97"/>
                  <a:gd name="T4" fmla="*/ 56 w 71"/>
                  <a:gd name="T5" fmla="*/ 40 h 97"/>
                  <a:gd name="T6" fmla="*/ 56 w 71"/>
                  <a:gd name="T7" fmla="*/ 29 h 97"/>
                  <a:gd name="T8" fmla="*/ 47 w 71"/>
                  <a:gd name="T9" fmla="*/ 25 h 97"/>
                  <a:gd name="T10" fmla="*/ 32 w 71"/>
                  <a:gd name="T11" fmla="*/ 10 h 97"/>
                  <a:gd name="T12" fmla="*/ 21 w 71"/>
                  <a:gd name="T13" fmla="*/ 0 h 97"/>
                  <a:gd name="T14" fmla="*/ 12 w 71"/>
                  <a:gd name="T15" fmla="*/ 15 h 97"/>
                  <a:gd name="T16" fmla="*/ 2 w 71"/>
                  <a:gd name="T17" fmla="*/ 33 h 97"/>
                  <a:gd name="T18" fmla="*/ 18 w 71"/>
                  <a:gd name="T19" fmla="*/ 55 h 97"/>
                  <a:gd name="T20" fmla="*/ 30 w 71"/>
                  <a:gd name="T21" fmla="*/ 54 h 97"/>
                  <a:gd name="T22" fmla="*/ 30 w 71"/>
                  <a:gd name="T23" fmla="*/ 54 h 97"/>
                  <a:gd name="T24" fmla="*/ 41 w 71"/>
                  <a:gd name="T25" fmla="*/ 65 h 97"/>
                  <a:gd name="T26" fmla="*/ 67 w 71"/>
                  <a:gd name="T27" fmla="*/ 73 h 97"/>
                  <a:gd name="T28" fmla="*/ 61 w 71"/>
                  <a:gd name="T29" fmla="*/ 61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71" h="97">
                    <a:moveTo>
                      <a:pt x="61" y="61"/>
                    </a:moveTo>
                    <a:cubicBezTo>
                      <a:pt x="64" y="60"/>
                      <a:pt x="64" y="50"/>
                      <a:pt x="64" y="50"/>
                    </a:cubicBezTo>
                    <a:cubicBezTo>
                      <a:pt x="64" y="43"/>
                      <a:pt x="56" y="40"/>
                      <a:pt x="56" y="40"/>
                    </a:cubicBezTo>
                    <a:cubicBezTo>
                      <a:pt x="59" y="36"/>
                      <a:pt x="56" y="29"/>
                      <a:pt x="56" y="29"/>
                    </a:cubicBezTo>
                    <a:cubicBezTo>
                      <a:pt x="53" y="24"/>
                      <a:pt x="47" y="25"/>
                      <a:pt x="47" y="25"/>
                    </a:cubicBezTo>
                    <a:cubicBezTo>
                      <a:pt x="49" y="9"/>
                      <a:pt x="32" y="10"/>
                      <a:pt x="32" y="10"/>
                    </a:cubicBezTo>
                    <a:cubicBezTo>
                      <a:pt x="32" y="0"/>
                      <a:pt x="21" y="0"/>
                      <a:pt x="21" y="0"/>
                    </a:cubicBezTo>
                    <a:cubicBezTo>
                      <a:pt x="10" y="2"/>
                      <a:pt x="12" y="15"/>
                      <a:pt x="12" y="15"/>
                    </a:cubicBezTo>
                    <a:cubicBezTo>
                      <a:pt x="0" y="16"/>
                      <a:pt x="2" y="33"/>
                      <a:pt x="2" y="33"/>
                    </a:cubicBezTo>
                    <a:cubicBezTo>
                      <a:pt x="1" y="78"/>
                      <a:pt x="18" y="55"/>
                      <a:pt x="18" y="55"/>
                    </a:cubicBezTo>
                    <a:cubicBezTo>
                      <a:pt x="23" y="63"/>
                      <a:pt x="30" y="54"/>
                      <a:pt x="30" y="54"/>
                    </a:cubicBezTo>
                    <a:cubicBezTo>
                      <a:pt x="30" y="54"/>
                      <a:pt x="30" y="54"/>
                      <a:pt x="30" y="54"/>
                    </a:cubicBezTo>
                    <a:cubicBezTo>
                      <a:pt x="25" y="69"/>
                      <a:pt x="41" y="65"/>
                      <a:pt x="41" y="65"/>
                    </a:cubicBezTo>
                    <a:cubicBezTo>
                      <a:pt x="59" y="97"/>
                      <a:pt x="67" y="73"/>
                      <a:pt x="67" y="73"/>
                    </a:cubicBezTo>
                    <a:cubicBezTo>
                      <a:pt x="71" y="66"/>
                      <a:pt x="61" y="61"/>
                      <a:pt x="61" y="6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894" name="Freeform 6041"/>
              <p:cNvSpPr>
                <a:spLocks/>
              </p:cNvSpPr>
              <p:nvPr/>
            </p:nvSpPr>
            <p:spPr bwMode="auto">
              <a:xfrm>
                <a:off x="-661" y="2191"/>
                <a:ext cx="18" cy="13"/>
              </a:xfrm>
              <a:custGeom>
                <a:avLst/>
                <a:gdLst>
                  <a:gd name="T0" fmla="*/ 0 w 11"/>
                  <a:gd name="T1" fmla="*/ 8 h 8"/>
                  <a:gd name="T2" fmla="*/ 0 w 11"/>
                  <a:gd name="T3" fmla="*/ 8 h 8"/>
                  <a:gd name="T4" fmla="*/ 0 w 11"/>
                  <a:gd name="T5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8">
                    <a:moveTo>
                      <a:pt x="0" y="8"/>
                    </a:moveTo>
                    <a:cubicBezTo>
                      <a:pt x="0" y="8"/>
                      <a:pt x="0" y="8"/>
                      <a:pt x="0" y="8"/>
                    </a:cubicBezTo>
                    <a:cubicBezTo>
                      <a:pt x="11" y="0"/>
                      <a:pt x="1" y="7"/>
                      <a:pt x="0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895" name="Freeform 6042"/>
              <p:cNvSpPr>
                <a:spLocks/>
              </p:cNvSpPr>
              <p:nvPr/>
            </p:nvSpPr>
            <p:spPr bwMode="auto">
              <a:xfrm>
                <a:off x="-771" y="2102"/>
                <a:ext cx="178" cy="152"/>
              </a:xfrm>
              <a:custGeom>
                <a:avLst/>
                <a:gdLst>
                  <a:gd name="T0" fmla="*/ 101 w 111"/>
                  <a:gd name="T1" fmla="*/ 69 h 94"/>
                  <a:gd name="T2" fmla="*/ 85 w 111"/>
                  <a:gd name="T3" fmla="*/ 63 h 94"/>
                  <a:gd name="T4" fmla="*/ 77 w 111"/>
                  <a:gd name="T5" fmla="*/ 53 h 94"/>
                  <a:gd name="T6" fmla="*/ 62 w 111"/>
                  <a:gd name="T7" fmla="*/ 35 h 94"/>
                  <a:gd name="T8" fmla="*/ 54 w 111"/>
                  <a:gd name="T9" fmla="*/ 22 h 94"/>
                  <a:gd name="T10" fmla="*/ 34 w 111"/>
                  <a:gd name="T11" fmla="*/ 24 h 94"/>
                  <a:gd name="T12" fmla="*/ 21 w 111"/>
                  <a:gd name="T13" fmla="*/ 34 h 94"/>
                  <a:gd name="T14" fmla="*/ 14 w 111"/>
                  <a:gd name="T15" fmla="*/ 53 h 94"/>
                  <a:gd name="T16" fmla="*/ 21 w 111"/>
                  <a:gd name="T17" fmla="*/ 68 h 94"/>
                  <a:gd name="T18" fmla="*/ 38 w 111"/>
                  <a:gd name="T19" fmla="*/ 57 h 94"/>
                  <a:gd name="T20" fmla="*/ 55 w 111"/>
                  <a:gd name="T21" fmla="*/ 57 h 94"/>
                  <a:gd name="T22" fmla="*/ 68 w 111"/>
                  <a:gd name="T23" fmla="*/ 63 h 94"/>
                  <a:gd name="T24" fmla="*/ 69 w 111"/>
                  <a:gd name="T25" fmla="*/ 63 h 94"/>
                  <a:gd name="T26" fmla="*/ 69 w 111"/>
                  <a:gd name="T27" fmla="*/ 63 h 94"/>
                  <a:gd name="T28" fmla="*/ 69 w 111"/>
                  <a:gd name="T29" fmla="*/ 63 h 94"/>
                  <a:gd name="T30" fmla="*/ 68 w 111"/>
                  <a:gd name="T31" fmla="*/ 63 h 94"/>
                  <a:gd name="T32" fmla="*/ 85 w 111"/>
                  <a:gd name="T33" fmla="*/ 78 h 94"/>
                  <a:gd name="T34" fmla="*/ 106 w 111"/>
                  <a:gd name="T35" fmla="*/ 81 h 94"/>
                  <a:gd name="T36" fmla="*/ 101 w 111"/>
                  <a:gd name="T37" fmla="*/ 69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11" h="94">
                    <a:moveTo>
                      <a:pt x="101" y="69"/>
                    </a:moveTo>
                    <a:cubicBezTo>
                      <a:pt x="101" y="69"/>
                      <a:pt x="99" y="49"/>
                      <a:pt x="85" y="63"/>
                    </a:cubicBezTo>
                    <a:cubicBezTo>
                      <a:pt x="85" y="63"/>
                      <a:pt x="90" y="53"/>
                      <a:pt x="77" y="53"/>
                    </a:cubicBezTo>
                    <a:cubicBezTo>
                      <a:pt x="77" y="53"/>
                      <a:pt x="86" y="28"/>
                      <a:pt x="62" y="35"/>
                    </a:cubicBezTo>
                    <a:cubicBezTo>
                      <a:pt x="62" y="35"/>
                      <a:pt x="69" y="20"/>
                      <a:pt x="54" y="22"/>
                    </a:cubicBezTo>
                    <a:cubicBezTo>
                      <a:pt x="54" y="22"/>
                      <a:pt x="44" y="0"/>
                      <a:pt x="34" y="24"/>
                    </a:cubicBezTo>
                    <a:cubicBezTo>
                      <a:pt x="34" y="24"/>
                      <a:pt x="18" y="16"/>
                      <a:pt x="21" y="34"/>
                    </a:cubicBezTo>
                    <a:cubicBezTo>
                      <a:pt x="21" y="34"/>
                      <a:pt x="3" y="37"/>
                      <a:pt x="14" y="53"/>
                    </a:cubicBezTo>
                    <a:cubicBezTo>
                      <a:pt x="14" y="53"/>
                      <a:pt x="0" y="73"/>
                      <a:pt x="21" y="68"/>
                    </a:cubicBezTo>
                    <a:cubicBezTo>
                      <a:pt x="21" y="68"/>
                      <a:pt x="37" y="84"/>
                      <a:pt x="38" y="57"/>
                    </a:cubicBezTo>
                    <a:cubicBezTo>
                      <a:pt x="38" y="57"/>
                      <a:pt x="48" y="76"/>
                      <a:pt x="55" y="57"/>
                    </a:cubicBezTo>
                    <a:cubicBezTo>
                      <a:pt x="55" y="57"/>
                      <a:pt x="56" y="70"/>
                      <a:pt x="68" y="63"/>
                    </a:cubicBezTo>
                    <a:cubicBezTo>
                      <a:pt x="68" y="63"/>
                      <a:pt x="68" y="63"/>
                      <a:pt x="69" y="63"/>
                    </a:cubicBezTo>
                    <a:cubicBezTo>
                      <a:pt x="70" y="62"/>
                      <a:pt x="80" y="55"/>
                      <a:pt x="69" y="63"/>
                    </a:cubicBezTo>
                    <a:cubicBezTo>
                      <a:pt x="69" y="63"/>
                      <a:pt x="69" y="63"/>
                      <a:pt x="69" y="63"/>
                    </a:cubicBezTo>
                    <a:cubicBezTo>
                      <a:pt x="69" y="63"/>
                      <a:pt x="68" y="63"/>
                      <a:pt x="68" y="63"/>
                    </a:cubicBezTo>
                    <a:cubicBezTo>
                      <a:pt x="68" y="63"/>
                      <a:pt x="66" y="91"/>
                      <a:pt x="85" y="78"/>
                    </a:cubicBezTo>
                    <a:cubicBezTo>
                      <a:pt x="85" y="78"/>
                      <a:pt x="93" y="94"/>
                      <a:pt x="106" y="81"/>
                    </a:cubicBezTo>
                    <a:cubicBezTo>
                      <a:pt x="106" y="81"/>
                      <a:pt x="111" y="70"/>
                      <a:pt x="101" y="6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896" name="Freeform 6043"/>
              <p:cNvSpPr>
                <a:spLocks/>
              </p:cNvSpPr>
              <p:nvPr/>
            </p:nvSpPr>
            <p:spPr bwMode="auto">
              <a:xfrm>
                <a:off x="-378" y="1913"/>
                <a:ext cx="105" cy="158"/>
              </a:xfrm>
              <a:custGeom>
                <a:avLst/>
                <a:gdLst>
                  <a:gd name="T0" fmla="*/ 53 w 65"/>
                  <a:gd name="T1" fmla="*/ 39 h 98"/>
                  <a:gd name="T2" fmla="*/ 53 w 65"/>
                  <a:gd name="T3" fmla="*/ 9 h 98"/>
                  <a:gd name="T4" fmla="*/ 35 w 65"/>
                  <a:gd name="T5" fmla="*/ 18 h 98"/>
                  <a:gd name="T6" fmla="*/ 25 w 65"/>
                  <a:gd name="T7" fmla="*/ 30 h 98"/>
                  <a:gd name="T8" fmla="*/ 13 w 65"/>
                  <a:gd name="T9" fmla="*/ 46 h 98"/>
                  <a:gd name="T10" fmla="*/ 14 w 65"/>
                  <a:gd name="T11" fmla="*/ 64 h 98"/>
                  <a:gd name="T12" fmla="*/ 18 w 65"/>
                  <a:gd name="T13" fmla="*/ 85 h 98"/>
                  <a:gd name="T14" fmla="*/ 25 w 65"/>
                  <a:gd name="T15" fmla="*/ 98 h 98"/>
                  <a:gd name="T16" fmla="*/ 36 w 65"/>
                  <a:gd name="T17" fmla="*/ 81 h 98"/>
                  <a:gd name="T18" fmla="*/ 43 w 65"/>
                  <a:gd name="T19" fmla="*/ 64 h 98"/>
                  <a:gd name="T20" fmla="*/ 53 w 65"/>
                  <a:gd name="T21" fmla="*/ 39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5" h="98">
                    <a:moveTo>
                      <a:pt x="53" y="39"/>
                    </a:moveTo>
                    <a:cubicBezTo>
                      <a:pt x="53" y="39"/>
                      <a:pt x="61" y="14"/>
                      <a:pt x="53" y="9"/>
                    </a:cubicBezTo>
                    <a:cubicBezTo>
                      <a:pt x="53" y="9"/>
                      <a:pt x="37" y="0"/>
                      <a:pt x="35" y="18"/>
                    </a:cubicBezTo>
                    <a:cubicBezTo>
                      <a:pt x="35" y="18"/>
                      <a:pt x="24" y="17"/>
                      <a:pt x="25" y="30"/>
                    </a:cubicBezTo>
                    <a:cubicBezTo>
                      <a:pt x="25" y="30"/>
                      <a:pt x="7" y="24"/>
                      <a:pt x="13" y="46"/>
                    </a:cubicBezTo>
                    <a:cubicBezTo>
                      <a:pt x="13" y="46"/>
                      <a:pt x="0" y="55"/>
                      <a:pt x="14" y="64"/>
                    </a:cubicBezTo>
                    <a:cubicBezTo>
                      <a:pt x="14" y="64"/>
                      <a:pt x="2" y="78"/>
                      <a:pt x="18" y="85"/>
                    </a:cubicBezTo>
                    <a:cubicBezTo>
                      <a:pt x="18" y="85"/>
                      <a:pt x="15" y="97"/>
                      <a:pt x="25" y="98"/>
                    </a:cubicBezTo>
                    <a:cubicBezTo>
                      <a:pt x="25" y="98"/>
                      <a:pt x="39" y="97"/>
                      <a:pt x="36" y="81"/>
                    </a:cubicBezTo>
                    <a:cubicBezTo>
                      <a:pt x="36" y="81"/>
                      <a:pt x="53" y="75"/>
                      <a:pt x="43" y="64"/>
                    </a:cubicBezTo>
                    <a:cubicBezTo>
                      <a:pt x="43" y="64"/>
                      <a:pt x="65" y="49"/>
                      <a:pt x="53" y="3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897" name="Freeform 6044"/>
              <p:cNvSpPr>
                <a:spLocks/>
              </p:cNvSpPr>
              <p:nvPr/>
            </p:nvSpPr>
            <p:spPr bwMode="auto">
              <a:xfrm>
                <a:off x="-273" y="2102"/>
                <a:ext cx="0" cy="3"/>
              </a:xfrm>
              <a:custGeom>
                <a:avLst/>
                <a:gdLst>
                  <a:gd name="T0" fmla="*/ 0 h 2"/>
                  <a:gd name="T1" fmla="*/ 2 h 2"/>
                  <a:gd name="T2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cubicBezTo>
                      <a:pt x="0" y="1"/>
                      <a:pt x="0" y="1"/>
                      <a:pt x="0" y="2"/>
                    </a:cubicBezTo>
                    <a:cubicBezTo>
                      <a:pt x="0" y="2"/>
                      <a:pt x="0" y="1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898" name="Freeform 6045"/>
              <p:cNvSpPr>
                <a:spLocks/>
              </p:cNvSpPr>
              <p:nvPr/>
            </p:nvSpPr>
            <p:spPr bwMode="auto">
              <a:xfrm>
                <a:off x="-280" y="2095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899" name="Freeform 6046"/>
              <p:cNvSpPr>
                <a:spLocks/>
              </p:cNvSpPr>
              <p:nvPr/>
            </p:nvSpPr>
            <p:spPr bwMode="auto">
              <a:xfrm>
                <a:off x="-297" y="2058"/>
                <a:ext cx="48" cy="131"/>
              </a:xfrm>
              <a:custGeom>
                <a:avLst/>
                <a:gdLst>
                  <a:gd name="T0" fmla="*/ 15 w 30"/>
                  <a:gd name="T1" fmla="*/ 27 h 81"/>
                  <a:gd name="T2" fmla="*/ 15 w 30"/>
                  <a:gd name="T3" fmla="*/ 29 h 81"/>
                  <a:gd name="T4" fmla="*/ 15 w 30"/>
                  <a:gd name="T5" fmla="*/ 27 h 81"/>
                  <a:gd name="T6" fmla="*/ 19 w 30"/>
                  <a:gd name="T7" fmla="*/ 3 h 81"/>
                  <a:gd name="T8" fmla="*/ 14 w 30"/>
                  <a:gd name="T9" fmla="*/ 0 h 81"/>
                  <a:gd name="T10" fmla="*/ 11 w 30"/>
                  <a:gd name="T11" fmla="*/ 23 h 81"/>
                  <a:gd name="T12" fmla="*/ 11 w 30"/>
                  <a:gd name="T13" fmla="*/ 23 h 81"/>
                  <a:gd name="T14" fmla="*/ 11 w 30"/>
                  <a:gd name="T15" fmla="*/ 23 h 81"/>
                  <a:gd name="T16" fmla="*/ 2 w 30"/>
                  <a:gd name="T17" fmla="*/ 7 h 81"/>
                  <a:gd name="T18" fmla="*/ 0 w 30"/>
                  <a:gd name="T19" fmla="*/ 15 h 81"/>
                  <a:gd name="T20" fmla="*/ 6 w 30"/>
                  <a:gd name="T21" fmla="*/ 48 h 81"/>
                  <a:gd name="T22" fmla="*/ 2 w 30"/>
                  <a:gd name="T23" fmla="*/ 81 h 81"/>
                  <a:gd name="T24" fmla="*/ 4 w 30"/>
                  <a:gd name="T25" fmla="*/ 81 h 81"/>
                  <a:gd name="T26" fmla="*/ 21 w 30"/>
                  <a:gd name="T27" fmla="*/ 81 h 81"/>
                  <a:gd name="T28" fmla="*/ 19 w 30"/>
                  <a:gd name="T29" fmla="*/ 38 h 81"/>
                  <a:gd name="T30" fmla="*/ 30 w 30"/>
                  <a:gd name="T31" fmla="*/ 11 h 81"/>
                  <a:gd name="T32" fmla="*/ 29 w 30"/>
                  <a:gd name="T33" fmla="*/ 3 h 81"/>
                  <a:gd name="T34" fmla="*/ 15 w 30"/>
                  <a:gd name="T35" fmla="*/ 27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0" h="81">
                    <a:moveTo>
                      <a:pt x="15" y="27"/>
                    </a:moveTo>
                    <a:cubicBezTo>
                      <a:pt x="15" y="28"/>
                      <a:pt x="15" y="29"/>
                      <a:pt x="15" y="29"/>
                    </a:cubicBezTo>
                    <a:cubicBezTo>
                      <a:pt x="15" y="28"/>
                      <a:pt x="15" y="28"/>
                      <a:pt x="15" y="27"/>
                    </a:cubicBezTo>
                    <a:cubicBezTo>
                      <a:pt x="16" y="23"/>
                      <a:pt x="17" y="7"/>
                      <a:pt x="19" y="3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4" y="0"/>
                      <a:pt x="11" y="19"/>
                      <a:pt x="11" y="23"/>
                    </a:cubicBezTo>
                    <a:cubicBezTo>
                      <a:pt x="11" y="23"/>
                      <a:pt x="11" y="23"/>
                      <a:pt x="11" y="23"/>
                    </a:cubicBezTo>
                    <a:cubicBezTo>
                      <a:pt x="11" y="23"/>
                      <a:pt x="11" y="23"/>
                      <a:pt x="11" y="23"/>
                    </a:cubicBezTo>
                    <a:cubicBezTo>
                      <a:pt x="10" y="20"/>
                      <a:pt x="8" y="12"/>
                      <a:pt x="2" y="7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0" y="15"/>
                      <a:pt x="8" y="22"/>
                      <a:pt x="6" y="48"/>
                    </a:cubicBezTo>
                    <a:cubicBezTo>
                      <a:pt x="6" y="48"/>
                      <a:pt x="4" y="77"/>
                      <a:pt x="2" y="81"/>
                    </a:cubicBezTo>
                    <a:cubicBezTo>
                      <a:pt x="4" y="81"/>
                      <a:pt x="4" y="81"/>
                      <a:pt x="4" y="81"/>
                    </a:cubicBezTo>
                    <a:cubicBezTo>
                      <a:pt x="21" y="81"/>
                      <a:pt x="21" y="81"/>
                      <a:pt x="21" y="81"/>
                    </a:cubicBezTo>
                    <a:cubicBezTo>
                      <a:pt x="21" y="81"/>
                      <a:pt x="16" y="51"/>
                      <a:pt x="19" y="38"/>
                    </a:cubicBezTo>
                    <a:cubicBezTo>
                      <a:pt x="22" y="24"/>
                      <a:pt x="26" y="13"/>
                      <a:pt x="30" y="11"/>
                    </a:cubicBezTo>
                    <a:cubicBezTo>
                      <a:pt x="29" y="3"/>
                      <a:pt x="29" y="3"/>
                      <a:pt x="29" y="3"/>
                    </a:cubicBezTo>
                    <a:cubicBezTo>
                      <a:pt x="29" y="3"/>
                      <a:pt x="16" y="17"/>
                      <a:pt x="15" y="2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00" name="Freeform 6047"/>
              <p:cNvSpPr>
                <a:spLocks/>
              </p:cNvSpPr>
              <p:nvPr/>
            </p:nvSpPr>
            <p:spPr bwMode="auto">
              <a:xfrm>
                <a:off x="-350" y="1977"/>
                <a:ext cx="53" cy="76"/>
              </a:xfrm>
              <a:custGeom>
                <a:avLst/>
                <a:gdLst>
                  <a:gd name="T0" fmla="*/ 21 w 33"/>
                  <a:gd name="T1" fmla="*/ 4 h 47"/>
                  <a:gd name="T2" fmla="*/ 11 w 33"/>
                  <a:gd name="T3" fmla="*/ 16 h 47"/>
                  <a:gd name="T4" fmla="*/ 10 w 33"/>
                  <a:gd name="T5" fmla="*/ 30 h 47"/>
                  <a:gd name="T6" fmla="*/ 19 w 33"/>
                  <a:gd name="T7" fmla="*/ 43 h 47"/>
                  <a:gd name="T8" fmla="*/ 21 w 33"/>
                  <a:gd name="T9" fmla="*/ 4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47">
                    <a:moveTo>
                      <a:pt x="21" y="4"/>
                    </a:moveTo>
                    <a:cubicBezTo>
                      <a:pt x="21" y="4"/>
                      <a:pt x="5" y="0"/>
                      <a:pt x="11" y="16"/>
                    </a:cubicBezTo>
                    <a:cubicBezTo>
                      <a:pt x="11" y="16"/>
                      <a:pt x="0" y="21"/>
                      <a:pt x="10" y="30"/>
                    </a:cubicBezTo>
                    <a:cubicBezTo>
                      <a:pt x="10" y="30"/>
                      <a:pt x="3" y="47"/>
                      <a:pt x="19" y="43"/>
                    </a:cubicBezTo>
                    <a:cubicBezTo>
                      <a:pt x="19" y="43"/>
                      <a:pt x="33" y="6"/>
                      <a:pt x="21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01" name="Freeform 6048"/>
              <p:cNvSpPr>
                <a:spLocks/>
              </p:cNvSpPr>
              <p:nvPr/>
            </p:nvSpPr>
            <p:spPr bwMode="auto">
              <a:xfrm>
                <a:off x="-296" y="1953"/>
                <a:ext cx="4" cy="0"/>
              </a:xfrm>
              <a:custGeom>
                <a:avLst/>
                <a:gdLst>
                  <a:gd name="T0" fmla="*/ 0 w 2"/>
                  <a:gd name="T1" fmla="*/ 2 w 2"/>
                  <a:gd name="T2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cubicBezTo>
                      <a:pt x="1" y="0"/>
                      <a:pt x="1" y="0"/>
                      <a:pt x="2" y="0"/>
                    </a:cubicBezTo>
                    <a:cubicBezTo>
                      <a:pt x="2" y="0"/>
                      <a:pt x="1" y="0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02" name="Freeform 6049"/>
              <p:cNvSpPr>
                <a:spLocks/>
              </p:cNvSpPr>
              <p:nvPr/>
            </p:nvSpPr>
            <p:spPr bwMode="auto">
              <a:xfrm>
                <a:off x="-318" y="1903"/>
                <a:ext cx="85" cy="105"/>
              </a:xfrm>
              <a:custGeom>
                <a:avLst/>
                <a:gdLst>
                  <a:gd name="T0" fmla="*/ 47 w 53"/>
                  <a:gd name="T1" fmla="*/ 12 h 65"/>
                  <a:gd name="T2" fmla="*/ 40 w 53"/>
                  <a:gd name="T3" fmla="*/ 2 h 65"/>
                  <a:gd name="T4" fmla="*/ 27 w 53"/>
                  <a:gd name="T5" fmla="*/ 12 h 65"/>
                  <a:gd name="T6" fmla="*/ 12 w 53"/>
                  <a:gd name="T7" fmla="*/ 20 h 65"/>
                  <a:gd name="T8" fmla="*/ 14 w 53"/>
                  <a:gd name="T9" fmla="*/ 31 h 65"/>
                  <a:gd name="T10" fmla="*/ 16 w 53"/>
                  <a:gd name="T11" fmla="*/ 31 h 65"/>
                  <a:gd name="T12" fmla="*/ 14 w 53"/>
                  <a:gd name="T13" fmla="*/ 31 h 65"/>
                  <a:gd name="T14" fmla="*/ 5 w 53"/>
                  <a:gd name="T15" fmla="*/ 36 h 65"/>
                  <a:gd name="T16" fmla="*/ 7 w 53"/>
                  <a:gd name="T17" fmla="*/ 46 h 65"/>
                  <a:gd name="T18" fmla="*/ 2 w 53"/>
                  <a:gd name="T19" fmla="*/ 56 h 65"/>
                  <a:gd name="T20" fmla="*/ 13 w 53"/>
                  <a:gd name="T21" fmla="*/ 64 h 65"/>
                  <a:gd name="T22" fmla="*/ 27 w 53"/>
                  <a:gd name="T23" fmla="*/ 49 h 65"/>
                  <a:gd name="T24" fmla="*/ 35 w 53"/>
                  <a:gd name="T25" fmla="*/ 35 h 65"/>
                  <a:gd name="T26" fmla="*/ 42 w 53"/>
                  <a:gd name="T27" fmla="*/ 24 h 65"/>
                  <a:gd name="T28" fmla="*/ 47 w 53"/>
                  <a:gd name="T29" fmla="*/ 12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3" h="65">
                    <a:moveTo>
                      <a:pt x="47" y="12"/>
                    </a:moveTo>
                    <a:cubicBezTo>
                      <a:pt x="47" y="12"/>
                      <a:pt x="47" y="3"/>
                      <a:pt x="40" y="2"/>
                    </a:cubicBezTo>
                    <a:cubicBezTo>
                      <a:pt x="40" y="2"/>
                      <a:pt x="28" y="0"/>
                      <a:pt x="27" y="12"/>
                    </a:cubicBezTo>
                    <a:cubicBezTo>
                      <a:pt x="27" y="12"/>
                      <a:pt x="14" y="6"/>
                      <a:pt x="12" y="20"/>
                    </a:cubicBezTo>
                    <a:cubicBezTo>
                      <a:pt x="12" y="20"/>
                      <a:pt x="11" y="29"/>
                      <a:pt x="14" y="31"/>
                    </a:cubicBezTo>
                    <a:cubicBezTo>
                      <a:pt x="15" y="31"/>
                      <a:pt x="16" y="31"/>
                      <a:pt x="16" y="31"/>
                    </a:cubicBezTo>
                    <a:cubicBezTo>
                      <a:pt x="15" y="31"/>
                      <a:pt x="15" y="31"/>
                      <a:pt x="14" y="31"/>
                    </a:cubicBezTo>
                    <a:cubicBezTo>
                      <a:pt x="12" y="30"/>
                      <a:pt x="7" y="30"/>
                      <a:pt x="5" y="36"/>
                    </a:cubicBezTo>
                    <a:cubicBezTo>
                      <a:pt x="5" y="36"/>
                      <a:pt x="4" y="38"/>
                      <a:pt x="7" y="46"/>
                    </a:cubicBezTo>
                    <a:cubicBezTo>
                      <a:pt x="7" y="46"/>
                      <a:pt x="0" y="50"/>
                      <a:pt x="2" y="56"/>
                    </a:cubicBezTo>
                    <a:cubicBezTo>
                      <a:pt x="2" y="56"/>
                      <a:pt x="3" y="65"/>
                      <a:pt x="13" y="64"/>
                    </a:cubicBezTo>
                    <a:cubicBezTo>
                      <a:pt x="13" y="64"/>
                      <a:pt x="30" y="65"/>
                      <a:pt x="27" y="49"/>
                    </a:cubicBezTo>
                    <a:cubicBezTo>
                      <a:pt x="27" y="49"/>
                      <a:pt x="47" y="45"/>
                      <a:pt x="35" y="35"/>
                    </a:cubicBezTo>
                    <a:cubicBezTo>
                      <a:pt x="35" y="35"/>
                      <a:pt x="53" y="41"/>
                      <a:pt x="42" y="24"/>
                    </a:cubicBezTo>
                    <a:cubicBezTo>
                      <a:pt x="42" y="24"/>
                      <a:pt x="48" y="16"/>
                      <a:pt x="47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03" name="Freeform 6050"/>
              <p:cNvSpPr>
                <a:spLocks/>
              </p:cNvSpPr>
              <p:nvPr/>
            </p:nvSpPr>
            <p:spPr bwMode="auto">
              <a:xfrm>
                <a:off x="-288" y="1914"/>
                <a:ext cx="105" cy="104"/>
              </a:xfrm>
              <a:custGeom>
                <a:avLst/>
                <a:gdLst>
                  <a:gd name="T0" fmla="*/ 41 w 65"/>
                  <a:gd name="T1" fmla="*/ 12 h 64"/>
                  <a:gd name="T2" fmla="*/ 32 w 65"/>
                  <a:gd name="T3" fmla="*/ 1 h 64"/>
                  <a:gd name="T4" fmla="*/ 23 w 65"/>
                  <a:gd name="T5" fmla="*/ 12 h 64"/>
                  <a:gd name="T6" fmla="*/ 14 w 65"/>
                  <a:gd name="T7" fmla="*/ 21 h 64"/>
                  <a:gd name="T8" fmla="*/ 14 w 65"/>
                  <a:gd name="T9" fmla="*/ 33 h 64"/>
                  <a:gd name="T10" fmla="*/ 20 w 65"/>
                  <a:gd name="T11" fmla="*/ 49 h 64"/>
                  <a:gd name="T12" fmla="*/ 34 w 65"/>
                  <a:gd name="T13" fmla="*/ 52 h 64"/>
                  <a:gd name="T14" fmla="*/ 46 w 65"/>
                  <a:gd name="T15" fmla="*/ 43 h 64"/>
                  <a:gd name="T16" fmla="*/ 52 w 65"/>
                  <a:gd name="T17" fmla="*/ 23 h 64"/>
                  <a:gd name="T18" fmla="*/ 41 w 65"/>
                  <a:gd name="T19" fmla="*/ 12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5" h="64">
                    <a:moveTo>
                      <a:pt x="41" y="12"/>
                    </a:moveTo>
                    <a:cubicBezTo>
                      <a:pt x="41" y="12"/>
                      <a:pt x="40" y="2"/>
                      <a:pt x="32" y="1"/>
                    </a:cubicBezTo>
                    <a:cubicBezTo>
                      <a:pt x="32" y="1"/>
                      <a:pt x="25" y="0"/>
                      <a:pt x="23" y="12"/>
                    </a:cubicBezTo>
                    <a:cubicBezTo>
                      <a:pt x="23" y="12"/>
                      <a:pt x="13" y="10"/>
                      <a:pt x="14" y="21"/>
                    </a:cubicBezTo>
                    <a:cubicBezTo>
                      <a:pt x="14" y="21"/>
                      <a:pt x="0" y="26"/>
                      <a:pt x="14" y="33"/>
                    </a:cubicBezTo>
                    <a:cubicBezTo>
                      <a:pt x="14" y="33"/>
                      <a:pt x="11" y="50"/>
                      <a:pt x="20" y="49"/>
                    </a:cubicBezTo>
                    <a:cubicBezTo>
                      <a:pt x="20" y="49"/>
                      <a:pt x="25" y="64"/>
                      <a:pt x="34" y="52"/>
                    </a:cubicBezTo>
                    <a:cubicBezTo>
                      <a:pt x="34" y="52"/>
                      <a:pt x="50" y="58"/>
                      <a:pt x="46" y="43"/>
                    </a:cubicBezTo>
                    <a:cubicBezTo>
                      <a:pt x="46" y="43"/>
                      <a:pt x="65" y="35"/>
                      <a:pt x="52" y="23"/>
                    </a:cubicBezTo>
                    <a:cubicBezTo>
                      <a:pt x="52" y="23"/>
                      <a:pt x="55" y="11"/>
                      <a:pt x="41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04" name="Freeform 6051"/>
              <p:cNvSpPr>
                <a:spLocks/>
              </p:cNvSpPr>
              <p:nvPr/>
            </p:nvSpPr>
            <p:spPr bwMode="auto">
              <a:xfrm>
                <a:off x="-252" y="1950"/>
                <a:ext cx="96" cy="97"/>
              </a:xfrm>
              <a:custGeom>
                <a:avLst/>
                <a:gdLst>
                  <a:gd name="T0" fmla="*/ 47 w 60"/>
                  <a:gd name="T1" fmla="*/ 24 h 60"/>
                  <a:gd name="T2" fmla="*/ 42 w 60"/>
                  <a:gd name="T3" fmla="*/ 12 h 60"/>
                  <a:gd name="T4" fmla="*/ 33 w 60"/>
                  <a:gd name="T5" fmla="*/ 1 h 60"/>
                  <a:gd name="T6" fmla="*/ 25 w 60"/>
                  <a:gd name="T7" fmla="*/ 13 h 60"/>
                  <a:gd name="T8" fmla="*/ 13 w 60"/>
                  <a:gd name="T9" fmla="*/ 16 h 60"/>
                  <a:gd name="T10" fmla="*/ 14 w 60"/>
                  <a:gd name="T11" fmla="*/ 26 h 60"/>
                  <a:gd name="T12" fmla="*/ 5 w 60"/>
                  <a:gd name="T13" fmla="*/ 40 h 60"/>
                  <a:gd name="T14" fmla="*/ 26 w 60"/>
                  <a:gd name="T15" fmla="*/ 47 h 60"/>
                  <a:gd name="T16" fmla="*/ 36 w 60"/>
                  <a:gd name="T17" fmla="*/ 47 h 60"/>
                  <a:gd name="T18" fmla="*/ 48 w 60"/>
                  <a:gd name="T19" fmla="*/ 42 h 60"/>
                  <a:gd name="T20" fmla="*/ 50 w 60"/>
                  <a:gd name="T21" fmla="*/ 42 h 60"/>
                  <a:gd name="T22" fmla="*/ 47 w 60"/>
                  <a:gd name="T23" fmla="*/ 24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0" h="60">
                    <a:moveTo>
                      <a:pt x="47" y="24"/>
                    </a:moveTo>
                    <a:cubicBezTo>
                      <a:pt x="47" y="24"/>
                      <a:pt x="54" y="13"/>
                      <a:pt x="42" y="12"/>
                    </a:cubicBezTo>
                    <a:cubicBezTo>
                      <a:pt x="42" y="12"/>
                      <a:pt x="41" y="0"/>
                      <a:pt x="33" y="1"/>
                    </a:cubicBezTo>
                    <a:cubicBezTo>
                      <a:pt x="33" y="1"/>
                      <a:pt x="21" y="0"/>
                      <a:pt x="25" y="13"/>
                    </a:cubicBezTo>
                    <a:cubicBezTo>
                      <a:pt x="25" y="13"/>
                      <a:pt x="16" y="7"/>
                      <a:pt x="13" y="16"/>
                    </a:cubicBezTo>
                    <a:cubicBezTo>
                      <a:pt x="13" y="16"/>
                      <a:pt x="9" y="25"/>
                      <a:pt x="14" y="26"/>
                    </a:cubicBezTo>
                    <a:cubicBezTo>
                      <a:pt x="14" y="26"/>
                      <a:pt x="0" y="28"/>
                      <a:pt x="5" y="40"/>
                    </a:cubicBezTo>
                    <a:cubicBezTo>
                      <a:pt x="5" y="40"/>
                      <a:pt x="13" y="60"/>
                      <a:pt x="26" y="47"/>
                    </a:cubicBezTo>
                    <a:cubicBezTo>
                      <a:pt x="26" y="47"/>
                      <a:pt x="35" y="55"/>
                      <a:pt x="36" y="47"/>
                    </a:cubicBezTo>
                    <a:cubicBezTo>
                      <a:pt x="36" y="47"/>
                      <a:pt x="49" y="56"/>
                      <a:pt x="48" y="42"/>
                    </a:cubicBezTo>
                    <a:cubicBezTo>
                      <a:pt x="48" y="42"/>
                      <a:pt x="49" y="42"/>
                      <a:pt x="50" y="42"/>
                    </a:cubicBezTo>
                    <a:cubicBezTo>
                      <a:pt x="50" y="42"/>
                      <a:pt x="60" y="30"/>
                      <a:pt x="47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05" name="Freeform 6052"/>
              <p:cNvSpPr>
                <a:spLocks/>
              </p:cNvSpPr>
              <p:nvPr/>
            </p:nvSpPr>
            <p:spPr bwMode="auto">
              <a:xfrm>
                <a:off x="-259" y="2002"/>
                <a:ext cx="106" cy="109"/>
              </a:xfrm>
              <a:custGeom>
                <a:avLst/>
                <a:gdLst>
                  <a:gd name="T0" fmla="*/ 51 w 66"/>
                  <a:gd name="T1" fmla="*/ 9 h 68"/>
                  <a:gd name="T2" fmla="*/ 40 w 66"/>
                  <a:gd name="T3" fmla="*/ 0 h 68"/>
                  <a:gd name="T4" fmla="*/ 40 w 66"/>
                  <a:gd name="T5" fmla="*/ 0 h 68"/>
                  <a:gd name="T6" fmla="*/ 35 w 66"/>
                  <a:gd name="T7" fmla="*/ 6 h 68"/>
                  <a:gd name="T8" fmla="*/ 23 w 66"/>
                  <a:gd name="T9" fmla="*/ 14 h 68"/>
                  <a:gd name="T10" fmla="*/ 12 w 66"/>
                  <a:gd name="T11" fmla="*/ 21 h 68"/>
                  <a:gd name="T12" fmla="*/ 7 w 66"/>
                  <a:gd name="T13" fmla="*/ 32 h 68"/>
                  <a:gd name="T14" fmla="*/ 9 w 66"/>
                  <a:gd name="T15" fmla="*/ 43 h 68"/>
                  <a:gd name="T16" fmla="*/ 10 w 66"/>
                  <a:gd name="T17" fmla="*/ 51 h 68"/>
                  <a:gd name="T18" fmla="*/ 20 w 66"/>
                  <a:gd name="T19" fmla="*/ 57 h 68"/>
                  <a:gd name="T20" fmla="*/ 20 w 66"/>
                  <a:gd name="T21" fmla="*/ 57 h 68"/>
                  <a:gd name="T22" fmla="*/ 33 w 66"/>
                  <a:gd name="T23" fmla="*/ 56 h 68"/>
                  <a:gd name="T24" fmla="*/ 34 w 66"/>
                  <a:gd name="T25" fmla="*/ 55 h 68"/>
                  <a:gd name="T26" fmla="*/ 33 w 66"/>
                  <a:gd name="T27" fmla="*/ 56 h 68"/>
                  <a:gd name="T28" fmla="*/ 44 w 66"/>
                  <a:gd name="T29" fmla="*/ 44 h 68"/>
                  <a:gd name="T30" fmla="*/ 51 w 66"/>
                  <a:gd name="T31" fmla="*/ 36 h 68"/>
                  <a:gd name="T32" fmla="*/ 52 w 66"/>
                  <a:gd name="T33" fmla="*/ 24 h 68"/>
                  <a:gd name="T34" fmla="*/ 51 w 66"/>
                  <a:gd name="T35" fmla="*/ 9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6" h="68">
                    <a:moveTo>
                      <a:pt x="51" y="9"/>
                    </a:moveTo>
                    <a:cubicBezTo>
                      <a:pt x="51" y="9"/>
                      <a:pt x="52" y="0"/>
                      <a:pt x="40" y="0"/>
                    </a:cubicBezTo>
                    <a:cubicBezTo>
                      <a:pt x="40" y="0"/>
                      <a:pt x="40" y="0"/>
                      <a:pt x="40" y="0"/>
                    </a:cubicBezTo>
                    <a:cubicBezTo>
                      <a:pt x="40" y="0"/>
                      <a:pt x="35" y="3"/>
                      <a:pt x="35" y="6"/>
                    </a:cubicBezTo>
                    <a:cubicBezTo>
                      <a:pt x="35" y="6"/>
                      <a:pt x="27" y="0"/>
                      <a:pt x="23" y="14"/>
                    </a:cubicBezTo>
                    <a:cubicBezTo>
                      <a:pt x="23" y="14"/>
                      <a:pt x="12" y="9"/>
                      <a:pt x="12" y="21"/>
                    </a:cubicBezTo>
                    <a:cubicBezTo>
                      <a:pt x="12" y="21"/>
                      <a:pt x="2" y="25"/>
                      <a:pt x="7" y="32"/>
                    </a:cubicBezTo>
                    <a:cubicBezTo>
                      <a:pt x="7" y="32"/>
                      <a:pt x="0" y="41"/>
                      <a:pt x="9" y="43"/>
                    </a:cubicBezTo>
                    <a:cubicBezTo>
                      <a:pt x="9" y="43"/>
                      <a:pt x="3" y="46"/>
                      <a:pt x="10" y="51"/>
                    </a:cubicBezTo>
                    <a:cubicBezTo>
                      <a:pt x="10" y="51"/>
                      <a:pt x="6" y="66"/>
                      <a:pt x="20" y="57"/>
                    </a:cubicBezTo>
                    <a:cubicBezTo>
                      <a:pt x="20" y="57"/>
                      <a:pt x="20" y="57"/>
                      <a:pt x="20" y="57"/>
                    </a:cubicBezTo>
                    <a:cubicBezTo>
                      <a:pt x="20" y="57"/>
                      <a:pt x="25" y="68"/>
                      <a:pt x="33" y="56"/>
                    </a:cubicBezTo>
                    <a:cubicBezTo>
                      <a:pt x="33" y="56"/>
                      <a:pt x="33" y="56"/>
                      <a:pt x="34" y="55"/>
                    </a:cubicBezTo>
                    <a:cubicBezTo>
                      <a:pt x="42" y="43"/>
                      <a:pt x="33" y="56"/>
                      <a:pt x="33" y="56"/>
                    </a:cubicBezTo>
                    <a:cubicBezTo>
                      <a:pt x="33" y="56"/>
                      <a:pt x="46" y="62"/>
                      <a:pt x="44" y="44"/>
                    </a:cubicBezTo>
                    <a:cubicBezTo>
                      <a:pt x="44" y="44"/>
                      <a:pt x="53" y="49"/>
                      <a:pt x="51" y="36"/>
                    </a:cubicBezTo>
                    <a:cubicBezTo>
                      <a:pt x="51" y="36"/>
                      <a:pt x="63" y="30"/>
                      <a:pt x="52" y="24"/>
                    </a:cubicBezTo>
                    <a:cubicBezTo>
                      <a:pt x="52" y="24"/>
                      <a:pt x="66" y="16"/>
                      <a:pt x="51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06" name="Freeform 6053"/>
              <p:cNvSpPr>
                <a:spLocks/>
              </p:cNvSpPr>
              <p:nvPr/>
            </p:nvSpPr>
            <p:spPr bwMode="auto">
              <a:xfrm>
                <a:off x="-334" y="1968"/>
                <a:ext cx="95" cy="131"/>
              </a:xfrm>
              <a:custGeom>
                <a:avLst/>
                <a:gdLst>
                  <a:gd name="T0" fmla="*/ 49 w 59"/>
                  <a:gd name="T1" fmla="*/ 13 h 81"/>
                  <a:gd name="T2" fmla="*/ 41 w 59"/>
                  <a:gd name="T3" fmla="*/ 0 h 81"/>
                  <a:gd name="T4" fmla="*/ 32 w 59"/>
                  <a:gd name="T5" fmla="*/ 8 h 81"/>
                  <a:gd name="T6" fmla="*/ 20 w 59"/>
                  <a:gd name="T7" fmla="*/ 21 h 81"/>
                  <a:gd name="T8" fmla="*/ 12 w 59"/>
                  <a:gd name="T9" fmla="*/ 25 h 81"/>
                  <a:gd name="T10" fmla="*/ 12 w 59"/>
                  <a:gd name="T11" fmla="*/ 34 h 81"/>
                  <a:gd name="T12" fmla="*/ 6 w 59"/>
                  <a:gd name="T13" fmla="*/ 42 h 81"/>
                  <a:gd name="T14" fmla="*/ 8 w 59"/>
                  <a:gd name="T15" fmla="*/ 52 h 81"/>
                  <a:gd name="T16" fmla="*/ 3 w 59"/>
                  <a:gd name="T17" fmla="*/ 62 h 81"/>
                  <a:gd name="T18" fmla="*/ 25 w 59"/>
                  <a:gd name="T19" fmla="*/ 55 h 81"/>
                  <a:gd name="T20" fmla="*/ 34 w 59"/>
                  <a:gd name="T21" fmla="*/ 46 h 81"/>
                  <a:gd name="T22" fmla="*/ 34 w 59"/>
                  <a:gd name="T23" fmla="*/ 45 h 81"/>
                  <a:gd name="T24" fmla="*/ 44 w 59"/>
                  <a:gd name="T25" fmla="*/ 46 h 81"/>
                  <a:gd name="T26" fmla="*/ 57 w 59"/>
                  <a:gd name="T27" fmla="*/ 28 h 81"/>
                  <a:gd name="T28" fmla="*/ 49 w 59"/>
                  <a:gd name="T29" fmla="*/ 13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9" h="81">
                    <a:moveTo>
                      <a:pt x="49" y="13"/>
                    </a:moveTo>
                    <a:cubicBezTo>
                      <a:pt x="49" y="13"/>
                      <a:pt x="51" y="2"/>
                      <a:pt x="41" y="0"/>
                    </a:cubicBezTo>
                    <a:cubicBezTo>
                      <a:pt x="41" y="0"/>
                      <a:pt x="32" y="1"/>
                      <a:pt x="32" y="8"/>
                    </a:cubicBezTo>
                    <a:cubicBezTo>
                      <a:pt x="32" y="8"/>
                      <a:pt x="18" y="8"/>
                      <a:pt x="20" y="21"/>
                    </a:cubicBezTo>
                    <a:cubicBezTo>
                      <a:pt x="20" y="21"/>
                      <a:pt x="15" y="20"/>
                      <a:pt x="12" y="25"/>
                    </a:cubicBezTo>
                    <a:cubicBezTo>
                      <a:pt x="12" y="25"/>
                      <a:pt x="9" y="31"/>
                      <a:pt x="12" y="34"/>
                    </a:cubicBezTo>
                    <a:cubicBezTo>
                      <a:pt x="12" y="34"/>
                      <a:pt x="5" y="36"/>
                      <a:pt x="6" y="42"/>
                    </a:cubicBezTo>
                    <a:cubicBezTo>
                      <a:pt x="6" y="42"/>
                      <a:pt x="5" y="50"/>
                      <a:pt x="8" y="52"/>
                    </a:cubicBezTo>
                    <a:cubicBezTo>
                      <a:pt x="8" y="52"/>
                      <a:pt x="0" y="56"/>
                      <a:pt x="3" y="62"/>
                    </a:cubicBezTo>
                    <a:cubicBezTo>
                      <a:pt x="3" y="62"/>
                      <a:pt x="10" y="81"/>
                      <a:pt x="25" y="55"/>
                    </a:cubicBezTo>
                    <a:cubicBezTo>
                      <a:pt x="25" y="55"/>
                      <a:pt x="38" y="57"/>
                      <a:pt x="34" y="46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4" y="45"/>
                      <a:pt x="40" y="53"/>
                      <a:pt x="44" y="46"/>
                    </a:cubicBezTo>
                    <a:cubicBezTo>
                      <a:pt x="44" y="46"/>
                      <a:pt x="58" y="65"/>
                      <a:pt x="57" y="28"/>
                    </a:cubicBezTo>
                    <a:cubicBezTo>
                      <a:pt x="57" y="28"/>
                      <a:pt x="59" y="14"/>
                      <a:pt x="49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07" name="Freeform 6054"/>
              <p:cNvSpPr>
                <a:spLocks/>
              </p:cNvSpPr>
              <p:nvPr/>
            </p:nvSpPr>
            <p:spPr bwMode="auto">
              <a:xfrm>
                <a:off x="-352" y="1984"/>
                <a:ext cx="150" cy="127"/>
              </a:xfrm>
              <a:custGeom>
                <a:avLst/>
                <a:gdLst>
                  <a:gd name="T0" fmla="*/ 75 w 93"/>
                  <a:gd name="T1" fmla="*/ 28 h 79"/>
                  <a:gd name="T2" fmla="*/ 64 w 93"/>
                  <a:gd name="T3" fmla="*/ 20 h 79"/>
                  <a:gd name="T4" fmla="*/ 47 w 93"/>
                  <a:gd name="T5" fmla="*/ 19 h 79"/>
                  <a:gd name="T6" fmla="*/ 41 w 93"/>
                  <a:gd name="T7" fmla="*/ 29 h 79"/>
                  <a:gd name="T8" fmla="*/ 28 w 93"/>
                  <a:gd name="T9" fmla="*/ 44 h 79"/>
                  <a:gd name="T10" fmla="*/ 21 w 93"/>
                  <a:gd name="T11" fmla="*/ 53 h 79"/>
                  <a:gd name="T12" fmla="*/ 8 w 93"/>
                  <a:gd name="T13" fmla="*/ 58 h 79"/>
                  <a:gd name="T14" fmla="*/ 4 w 93"/>
                  <a:gd name="T15" fmla="*/ 68 h 79"/>
                  <a:gd name="T16" fmla="*/ 21 w 93"/>
                  <a:gd name="T17" fmla="*/ 65 h 79"/>
                  <a:gd name="T18" fmla="*/ 35 w 93"/>
                  <a:gd name="T19" fmla="*/ 53 h 79"/>
                  <a:gd name="T20" fmla="*/ 35 w 93"/>
                  <a:gd name="T21" fmla="*/ 53 h 79"/>
                  <a:gd name="T22" fmla="*/ 35 w 93"/>
                  <a:gd name="T23" fmla="*/ 53 h 79"/>
                  <a:gd name="T24" fmla="*/ 35 w 93"/>
                  <a:gd name="T25" fmla="*/ 53 h 79"/>
                  <a:gd name="T26" fmla="*/ 36 w 93"/>
                  <a:gd name="T27" fmla="*/ 53 h 79"/>
                  <a:gd name="T28" fmla="*/ 46 w 93"/>
                  <a:gd name="T29" fmla="*/ 48 h 79"/>
                  <a:gd name="T30" fmla="*/ 61 w 93"/>
                  <a:gd name="T31" fmla="*/ 48 h 79"/>
                  <a:gd name="T32" fmla="*/ 75 w 93"/>
                  <a:gd name="T33" fmla="*/ 57 h 79"/>
                  <a:gd name="T34" fmla="*/ 81 w 93"/>
                  <a:gd name="T35" fmla="*/ 44 h 79"/>
                  <a:gd name="T36" fmla="*/ 75 w 93"/>
                  <a:gd name="T37" fmla="*/ 28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93" h="79">
                    <a:moveTo>
                      <a:pt x="75" y="28"/>
                    </a:moveTo>
                    <a:cubicBezTo>
                      <a:pt x="77" y="14"/>
                      <a:pt x="64" y="20"/>
                      <a:pt x="64" y="20"/>
                    </a:cubicBezTo>
                    <a:cubicBezTo>
                      <a:pt x="56" y="0"/>
                      <a:pt x="47" y="19"/>
                      <a:pt x="47" y="19"/>
                    </a:cubicBezTo>
                    <a:cubicBezTo>
                      <a:pt x="35" y="17"/>
                      <a:pt x="41" y="29"/>
                      <a:pt x="41" y="29"/>
                    </a:cubicBezTo>
                    <a:cubicBezTo>
                      <a:pt x="20" y="24"/>
                      <a:pt x="28" y="44"/>
                      <a:pt x="28" y="44"/>
                    </a:cubicBezTo>
                    <a:cubicBezTo>
                      <a:pt x="18" y="44"/>
                      <a:pt x="21" y="53"/>
                      <a:pt x="21" y="53"/>
                    </a:cubicBezTo>
                    <a:cubicBezTo>
                      <a:pt x="10" y="41"/>
                      <a:pt x="8" y="58"/>
                      <a:pt x="8" y="58"/>
                    </a:cubicBezTo>
                    <a:cubicBezTo>
                      <a:pt x="0" y="59"/>
                      <a:pt x="4" y="68"/>
                      <a:pt x="4" y="68"/>
                    </a:cubicBezTo>
                    <a:cubicBezTo>
                      <a:pt x="15" y="79"/>
                      <a:pt x="21" y="65"/>
                      <a:pt x="21" y="65"/>
                    </a:cubicBezTo>
                    <a:cubicBezTo>
                      <a:pt x="37" y="76"/>
                      <a:pt x="35" y="53"/>
                      <a:pt x="35" y="53"/>
                    </a:cubicBezTo>
                    <a:cubicBezTo>
                      <a:pt x="35" y="53"/>
                      <a:pt x="35" y="53"/>
                      <a:pt x="35" y="53"/>
                    </a:cubicBezTo>
                    <a:cubicBezTo>
                      <a:pt x="35" y="53"/>
                      <a:pt x="35" y="53"/>
                      <a:pt x="35" y="53"/>
                    </a:cubicBezTo>
                    <a:cubicBezTo>
                      <a:pt x="25" y="46"/>
                      <a:pt x="34" y="52"/>
                      <a:pt x="35" y="53"/>
                    </a:cubicBezTo>
                    <a:cubicBezTo>
                      <a:pt x="35" y="53"/>
                      <a:pt x="35" y="53"/>
                      <a:pt x="36" y="53"/>
                    </a:cubicBezTo>
                    <a:cubicBezTo>
                      <a:pt x="46" y="59"/>
                      <a:pt x="46" y="48"/>
                      <a:pt x="46" y="48"/>
                    </a:cubicBezTo>
                    <a:cubicBezTo>
                      <a:pt x="53" y="64"/>
                      <a:pt x="61" y="48"/>
                      <a:pt x="61" y="48"/>
                    </a:cubicBezTo>
                    <a:cubicBezTo>
                      <a:pt x="61" y="70"/>
                      <a:pt x="75" y="57"/>
                      <a:pt x="75" y="57"/>
                    </a:cubicBezTo>
                    <a:cubicBezTo>
                      <a:pt x="93" y="61"/>
                      <a:pt x="81" y="44"/>
                      <a:pt x="81" y="44"/>
                    </a:cubicBezTo>
                    <a:cubicBezTo>
                      <a:pt x="90" y="31"/>
                      <a:pt x="75" y="28"/>
                      <a:pt x="75" y="2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08" name="Freeform 6055"/>
              <p:cNvSpPr>
                <a:spLocks/>
              </p:cNvSpPr>
              <p:nvPr/>
            </p:nvSpPr>
            <p:spPr bwMode="auto">
              <a:xfrm>
                <a:off x="-312" y="2058"/>
                <a:ext cx="16" cy="11"/>
              </a:xfrm>
              <a:custGeom>
                <a:avLst/>
                <a:gdLst>
                  <a:gd name="T0" fmla="*/ 10 w 10"/>
                  <a:gd name="T1" fmla="*/ 7 h 7"/>
                  <a:gd name="T2" fmla="*/ 10 w 10"/>
                  <a:gd name="T3" fmla="*/ 7 h 7"/>
                  <a:gd name="T4" fmla="*/ 10 w 10"/>
                  <a:gd name="T5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7">
                    <a:moveTo>
                      <a:pt x="10" y="7"/>
                    </a:moveTo>
                    <a:cubicBezTo>
                      <a:pt x="10" y="7"/>
                      <a:pt x="10" y="7"/>
                      <a:pt x="10" y="7"/>
                    </a:cubicBezTo>
                    <a:cubicBezTo>
                      <a:pt x="9" y="6"/>
                      <a:pt x="0" y="0"/>
                      <a:pt x="10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09" name="Freeform 6056"/>
              <p:cNvSpPr>
                <a:spLocks/>
              </p:cNvSpPr>
              <p:nvPr/>
            </p:nvSpPr>
            <p:spPr bwMode="auto">
              <a:xfrm>
                <a:off x="-1177" y="1893"/>
                <a:ext cx="103" cy="159"/>
              </a:xfrm>
              <a:custGeom>
                <a:avLst/>
                <a:gdLst>
                  <a:gd name="T0" fmla="*/ 52 w 64"/>
                  <a:gd name="T1" fmla="*/ 39 h 98"/>
                  <a:gd name="T2" fmla="*/ 52 w 64"/>
                  <a:gd name="T3" fmla="*/ 9 h 98"/>
                  <a:gd name="T4" fmla="*/ 35 w 64"/>
                  <a:gd name="T5" fmla="*/ 18 h 98"/>
                  <a:gd name="T6" fmla="*/ 25 w 64"/>
                  <a:gd name="T7" fmla="*/ 30 h 98"/>
                  <a:gd name="T8" fmla="*/ 13 w 64"/>
                  <a:gd name="T9" fmla="*/ 46 h 98"/>
                  <a:gd name="T10" fmla="*/ 13 w 64"/>
                  <a:gd name="T11" fmla="*/ 64 h 98"/>
                  <a:gd name="T12" fmla="*/ 18 w 64"/>
                  <a:gd name="T13" fmla="*/ 85 h 98"/>
                  <a:gd name="T14" fmla="*/ 25 w 64"/>
                  <a:gd name="T15" fmla="*/ 98 h 98"/>
                  <a:gd name="T16" fmla="*/ 36 w 64"/>
                  <a:gd name="T17" fmla="*/ 81 h 98"/>
                  <a:gd name="T18" fmla="*/ 43 w 64"/>
                  <a:gd name="T19" fmla="*/ 64 h 98"/>
                  <a:gd name="T20" fmla="*/ 52 w 64"/>
                  <a:gd name="T21" fmla="*/ 39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4" h="98">
                    <a:moveTo>
                      <a:pt x="52" y="39"/>
                    </a:moveTo>
                    <a:cubicBezTo>
                      <a:pt x="52" y="39"/>
                      <a:pt x="60" y="14"/>
                      <a:pt x="52" y="9"/>
                    </a:cubicBezTo>
                    <a:cubicBezTo>
                      <a:pt x="52" y="9"/>
                      <a:pt x="37" y="0"/>
                      <a:pt x="35" y="18"/>
                    </a:cubicBezTo>
                    <a:cubicBezTo>
                      <a:pt x="35" y="18"/>
                      <a:pt x="23" y="17"/>
                      <a:pt x="25" y="30"/>
                    </a:cubicBezTo>
                    <a:cubicBezTo>
                      <a:pt x="25" y="30"/>
                      <a:pt x="6" y="24"/>
                      <a:pt x="13" y="46"/>
                    </a:cubicBezTo>
                    <a:cubicBezTo>
                      <a:pt x="13" y="46"/>
                      <a:pt x="0" y="55"/>
                      <a:pt x="13" y="64"/>
                    </a:cubicBezTo>
                    <a:cubicBezTo>
                      <a:pt x="13" y="64"/>
                      <a:pt x="1" y="78"/>
                      <a:pt x="18" y="85"/>
                    </a:cubicBezTo>
                    <a:cubicBezTo>
                      <a:pt x="18" y="85"/>
                      <a:pt x="14" y="97"/>
                      <a:pt x="25" y="98"/>
                    </a:cubicBezTo>
                    <a:cubicBezTo>
                      <a:pt x="25" y="98"/>
                      <a:pt x="38" y="97"/>
                      <a:pt x="36" y="81"/>
                    </a:cubicBezTo>
                    <a:cubicBezTo>
                      <a:pt x="36" y="81"/>
                      <a:pt x="52" y="75"/>
                      <a:pt x="43" y="64"/>
                    </a:cubicBezTo>
                    <a:cubicBezTo>
                      <a:pt x="43" y="64"/>
                      <a:pt x="64" y="49"/>
                      <a:pt x="52" y="3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10" name="Freeform 6057"/>
              <p:cNvSpPr>
                <a:spLocks/>
              </p:cNvSpPr>
              <p:nvPr/>
            </p:nvSpPr>
            <p:spPr bwMode="auto">
              <a:xfrm>
                <a:off x="-1072" y="2082"/>
                <a:ext cx="0" cy="4"/>
              </a:xfrm>
              <a:custGeom>
                <a:avLst/>
                <a:gdLst>
                  <a:gd name="T0" fmla="*/ 0 h 2"/>
                  <a:gd name="T1" fmla="*/ 2 h 2"/>
                  <a:gd name="T2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cubicBezTo>
                      <a:pt x="0" y="1"/>
                      <a:pt x="0" y="1"/>
                      <a:pt x="0" y="2"/>
                    </a:cubicBezTo>
                    <a:cubicBezTo>
                      <a:pt x="0" y="2"/>
                      <a:pt x="0" y="1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11" name="Freeform 6058"/>
              <p:cNvSpPr>
                <a:spLocks/>
              </p:cNvSpPr>
              <p:nvPr/>
            </p:nvSpPr>
            <p:spPr bwMode="auto">
              <a:xfrm>
                <a:off x="-1078" y="2076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12" name="Freeform 6059"/>
              <p:cNvSpPr>
                <a:spLocks/>
              </p:cNvSpPr>
              <p:nvPr/>
            </p:nvSpPr>
            <p:spPr bwMode="auto">
              <a:xfrm>
                <a:off x="-1098" y="2039"/>
                <a:ext cx="50" cy="131"/>
              </a:xfrm>
              <a:custGeom>
                <a:avLst/>
                <a:gdLst>
                  <a:gd name="T0" fmla="*/ 16 w 31"/>
                  <a:gd name="T1" fmla="*/ 27 h 81"/>
                  <a:gd name="T2" fmla="*/ 16 w 31"/>
                  <a:gd name="T3" fmla="*/ 29 h 81"/>
                  <a:gd name="T4" fmla="*/ 16 w 31"/>
                  <a:gd name="T5" fmla="*/ 27 h 81"/>
                  <a:gd name="T6" fmla="*/ 19 w 31"/>
                  <a:gd name="T7" fmla="*/ 3 h 81"/>
                  <a:gd name="T8" fmla="*/ 14 w 31"/>
                  <a:gd name="T9" fmla="*/ 0 h 81"/>
                  <a:gd name="T10" fmla="*/ 12 w 31"/>
                  <a:gd name="T11" fmla="*/ 23 h 81"/>
                  <a:gd name="T12" fmla="*/ 12 w 31"/>
                  <a:gd name="T13" fmla="*/ 23 h 81"/>
                  <a:gd name="T14" fmla="*/ 12 w 31"/>
                  <a:gd name="T15" fmla="*/ 23 h 81"/>
                  <a:gd name="T16" fmla="*/ 3 w 31"/>
                  <a:gd name="T17" fmla="*/ 7 h 81"/>
                  <a:gd name="T18" fmla="*/ 0 w 31"/>
                  <a:gd name="T19" fmla="*/ 15 h 81"/>
                  <a:gd name="T20" fmla="*/ 6 w 31"/>
                  <a:gd name="T21" fmla="*/ 48 h 81"/>
                  <a:gd name="T22" fmla="*/ 3 w 31"/>
                  <a:gd name="T23" fmla="*/ 81 h 81"/>
                  <a:gd name="T24" fmla="*/ 5 w 31"/>
                  <a:gd name="T25" fmla="*/ 81 h 81"/>
                  <a:gd name="T26" fmla="*/ 21 w 31"/>
                  <a:gd name="T27" fmla="*/ 81 h 81"/>
                  <a:gd name="T28" fmla="*/ 20 w 31"/>
                  <a:gd name="T29" fmla="*/ 38 h 81"/>
                  <a:gd name="T30" fmla="*/ 31 w 31"/>
                  <a:gd name="T31" fmla="*/ 11 h 81"/>
                  <a:gd name="T32" fmla="*/ 30 w 31"/>
                  <a:gd name="T33" fmla="*/ 3 h 81"/>
                  <a:gd name="T34" fmla="*/ 16 w 31"/>
                  <a:gd name="T35" fmla="*/ 27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1" h="81">
                    <a:moveTo>
                      <a:pt x="16" y="27"/>
                    </a:moveTo>
                    <a:cubicBezTo>
                      <a:pt x="16" y="28"/>
                      <a:pt x="16" y="29"/>
                      <a:pt x="16" y="29"/>
                    </a:cubicBezTo>
                    <a:cubicBezTo>
                      <a:pt x="16" y="28"/>
                      <a:pt x="16" y="28"/>
                      <a:pt x="16" y="27"/>
                    </a:cubicBezTo>
                    <a:cubicBezTo>
                      <a:pt x="16" y="23"/>
                      <a:pt x="17" y="7"/>
                      <a:pt x="19" y="3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4" y="0"/>
                      <a:pt x="11" y="19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0"/>
                      <a:pt x="9" y="12"/>
                      <a:pt x="3" y="7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0" y="15"/>
                      <a:pt x="8" y="22"/>
                      <a:pt x="6" y="48"/>
                    </a:cubicBezTo>
                    <a:cubicBezTo>
                      <a:pt x="6" y="48"/>
                      <a:pt x="5" y="77"/>
                      <a:pt x="3" y="81"/>
                    </a:cubicBezTo>
                    <a:cubicBezTo>
                      <a:pt x="5" y="81"/>
                      <a:pt x="5" y="81"/>
                      <a:pt x="5" y="81"/>
                    </a:cubicBezTo>
                    <a:cubicBezTo>
                      <a:pt x="21" y="81"/>
                      <a:pt x="21" y="81"/>
                      <a:pt x="21" y="81"/>
                    </a:cubicBezTo>
                    <a:cubicBezTo>
                      <a:pt x="21" y="81"/>
                      <a:pt x="17" y="51"/>
                      <a:pt x="20" y="38"/>
                    </a:cubicBezTo>
                    <a:cubicBezTo>
                      <a:pt x="22" y="24"/>
                      <a:pt x="27" y="13"/>
                      <a:pt x="31" y="11"/>
                    </a:cubicBezTo>
                    <a:cubicBezTo>
                      <a:pt x="30" y="3"/>
                      <a:pt x="30" y="3"/>
                      <a:pt x="30" y="3"/>
                    </a:cubicBezTo>
                    <a:cubicBezTo>
                      <a:pt x="30" y="3"/>
                      <a:pt x="17" y="17"/>
                      <a:pt x="16" y="2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13" name="Freeform 6060"/>
              <p:cNvSpPr>
                <a:spLocks/>
              </p:cNvSpPr>
              <p:nvPr/>
            </p:nvSpPr>
            <p:spPr bwMode="auto">
              <a:xfrm>
                <a:off x="-1149" y="1958"/>
                <a:ext cx="51" cy="76"/>
              </a:xfrm>
              <a:custGeom>
                <a:avLst/>
                <a:gdLst>
                  <a:gd name="T0" fmla="*/ 21 w 32"/>
                  <a:gd name="T1" fmla="*/ 4 h 47"/>
                  <a:gd name="T2" fmla="*/ 11 w 32"/>
                  <a:gd name="T3" fmla="*/ 16 h 47"/>
                  <a:gd name="T4" fmla="*/ 9 w 32"/>
                  <a:gd name="T5" fmla="*/ 30 h 47"/>
                  <a:gd name="T6" fmla="*/ 19 w 32"/>
                  <a:gd name="T7" fmla="*/ 43 h 47"/>
                  <a:gd name="T8" fmla="*/ 21 w 32"/>
                  <a:gd name="T9" fmla="*/ 4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47">
                    <a:moveTo>
                      <a:pt x="21" y="4"/>
                    </a:moveTo>
                    <a:cubicBezTo>
                      <a:pt x="21" y="4"/>
                      <a:pt x="4" y="0"/>
                      <a:pt x="11" y="16"/>
                    </a:cubicBezTo>
                    <a:cubicBezTo>
                      <a:pt x="11" y="16"/>
                      <a:pt x="0" y="21"/>
                      <a:pt x="9" y="30"/>
                    </a:cubicBezTo>
                    <a:cubicBezTo>
                      <a:pt x="9" y="30"/>
                      <a:pt x="3" y="47"/>
                      <a:pt x="19" y="43"/>
                    </a:cubicBezTo>
                    <a:cubicBezTo>
                      <a:pt x="19" y="43"/>
                      <a:pt x="32" y="6"/>
                      <a:pt x="21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14" name="Freeform 6061"/>
              <p:cNvSpPr>
                <a:spLocks/>
              </p:cNvSpPr>
              <p:nvPr/>
            </p:nvSpPr>
            <p:spPr bwMode="auto">
              <a:xfrm>
                <a:off x="-1095" y="1934"/>
                <a:ext cx="2" cy="0"/>
              </a:xfrm>
              <a:custGeom>
                <a:avLst/>
                <a:gdLst>
                  <a:gd name="T0" fmla="*/ 0 w 1"/>
                  <a:gd name="T1" fmla="*/ 1 w 1"/>
                  <a:gd name="T2" fmla="*/ 0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15" name="Freeform 6062"/>
              <p:cNvSpPr>
                <a:spLocks/>
              </p:cNvSpPr>
              <p:nvPr/>
            </p:nvSpPr>
            <p:spPr bwMode="auto">
              <a:xfrm>
                <a:off x="-1119" y="1884"/>
                <a:ext cx="86" cy="105"/>
              </a:xfrm>
              <a:custGeom>
                <a:avLst/>
                <a:gdLst>
                  <a:gd name="T0" fmla="*/ 48 w 53"/>
                  <a:gd name="T1" fmla="*/ 12 h 65"/>
                  <a:gd name="T2" fmla="*/ 41 w 53"/>
                  <a:gd name="T3" fmla="*/ 2 h 65"/>
                  <a:gd name="T4" fmla="*/ 28 w 53"/>
                  <a:gd name="T5" fmla="*/ 12 h 65"/>
                  <a:gd name="T6" fmla="*/ 12 w 53"/>
                  <a:gd name="T7" fmla="*/ 20 h 65"/>
                  <a:gd name="T8" fmla="*/ 15 w 53"/>
                  <a:gd name="T9" fmla="*/ 31 h 65"/>
                  <a:gd name="T10" fmla="*/ 16 w 53"/>
                  <a:gd name="T11" fmla="*/ 31 h 65"/>
                  <a:gd name="T12" fmla="*/ 15 w 53"/>
                  <a:gd name="T13" fmla="*/ 31 h 65"/>
                  <a:gd name="T14" fmla="*/ 6 w 53"/>
                  <a:gd name="T15" fmla="*/ 36 h 65"/>
                  <a:gd name="T16" fmla="*/ 8 w 53"/>
                  <a:gd name="T17" fmla="*/ 46 h 65"/>
                  <a:gd name="T18" fmla="*/ 2 w 53"/>
                  <a:gd name="T19" fmla="*/ 56 h 65"/>
                  <a:gd name="T20" fmla="*/ 14 w 53"/>
                  <a:gd name="T21" fmla="*/ 64 h 65"/>
                  <a:gd name="T22" fmla="*/ 27 w 53"/>
                  <a:gd name="T23" fmla="*/ 49 h 65"/>
                  <a:gd name="T24" fmla="*/ 36 w 53"/>
                  <a:gd name="T25" fmla="*/ 35 h 65"/>
                  <a:gd name="T26" fmla="*/ 43 w 53"/>
                  <a:gd name="T27" fmla="*/ 24 h 65"/>
                  <a:gd name="T28" fmla="*/ 48 w 53"/>
                  <a:gd name="T29" fmla="*/ 12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3" h="65">
                    <a:moveTo>
                      <a:pt x="48" y="12"/>
                    </a:moveTo>
                    <a:cubicBezTo>
                      <a:pt x="48" y="12"/>
                      <a:pt x="48" y="3"/>
                      <a:pt x="41" y="2"/>
                    </a:cubicBezTo>
                    <a:cubicBezTo>
                      <a:pt x="41" y="2"/>
                      <a:pt x="28" y="0"/>
                      <a:pt x="28" y="12"/>
                    </a:cubicBezTo>
                    <a:cubicBezTo>
                      <a:pt x="28" y="12"/>
                      <a:pt x="14" y="6"/>
                      <a:pt x="12" y="20"/>
                    </a:cubicBezTo>
                    <a:cubicBezTo>
                      <a:pt x="12" y="20"/>
                      <a:pt x="11" y="29"/>
                      <a:pt x="15" y="31"/>
                    </a:cubicBezTo>
                    <a:cubicBezTo>
                      <a:pt x="16" y="31"/>
                      <a:pt x="16" y="31"/>
                      <a:pt x="16" y="31"/>
                    </a:cubicBezTo>
                    <a:cubicBezTo>
                      <a:pt x="16" y="31"/>
                      <a:pt x="15" y="31"/>
                      <a:pt x="15" y="31"/>
                    </a:cubicBezTo>
                    <a:cubicBezTo>
                      <a:pt x="13" y="30"/>
                      <a:pt x="7" y="30"/>
                      <a:pt x="6" y="36"/>
                    </a:cubicBezTo>
                    <a:cubicBezTo>
                      <a:pt x="6" y="36"/>
                      <a:pt x="4" y="38"/>
                      <a:pt x="8" y="46"/>
                    </a:cubicBezTo>
                    <a:cubicBezTo>
                      <a:pt x="8" y="46"/>
                      <a:pt x="0" y="50"/>
                      <a:pt x="2" y="56"/>
                    </a:cubicBezTo>
                    <a:cubicBezTo>
                      <a:pt x="2" y="56"/>
                      <a:pt x="3" y="65"/>
                      <a:pt x="14" y="64"/>
                    </a:cubicBezTo>
                    <a:cubicBezTo>
                      <a:pt x="14" y="64"/>
                      <a:pt x="31" y="65"/>
                      <a:pt x="27" y="49"/>
                    </a:cubicBezTo>
                    <a:cubicBezTo>
                      <a:pt x="27" y="49"/>
                      <a:pt x="48" y="45"/>
                      <a:pt x="36" y="35"/>
                    </a:cubicBezTo>
                    <a:cubicBezTo>
                      <a:pt x="36" y="35"/>
                      <a:pt x="53" y="41"/>
                      <a:pt x="43" y="24"/>
                    </a:cubicBezTo>
                    <a:cubicBezTo>
                      <a:pt x="43" y="24"/>
                      <a:pt x="48" y="16"/>
                      <a:pt x="4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16" name="Freeform 6063"/>
              <p:cNvSpPr>
                <a:spLocks/>
              </p:cNvSpPr>
              <p:nvPr/>
            </p:nvSpPr>
            <p:spPr bwMode="auto">
              <a:xfrm>
                <a:off x="-1087" y="1895"/>
                <a:ext cx="105" cy="103"/>
              </a:xfrm>
              <a:custGeom>
                <a:avLst/>
                <a:gdLst>
                  <a:gd name="T0" fmla="*/ 40 w 65"/>
                  <a:gd name="T1" fmla="*/ 12 h 64"/>
                  <a:gd name="T2" fmla="*/ 32 w 65"/>
                  <a:gd name="T3" fmla="*/ 1 h 64"/>
                  <a:gd name="T4" fmla="*/ 23 w 65"/>
                  <a:gd name="T5" fmla="*/ 12 h 64"/>
                  <a:gd name="T6" fmla="*/ 14 w 65"/>
                  <a:gd name="T7" fmla="*/ 21 h 64"/>
                  <a:gd name="T8" fmla="*/ 14 w 65"/>
                  <a:gd name="T9" fmla="*/ 33 h 64"/>
                  <a:gd name="T10" fmla="*/ 19 w 65"/>
                  <a:gd name="T11" fmla="*/ 49 h 64"/>
                  <a:gd name="T12" fmla="*/ 34 w 65"/>
                  <a:gd name="T13" fmla="*/ 52 h 64"/>
                  <a:gd name="T14" fmla="*/ 46 w 65"/>
                  <a:gd name="T15" fmla="*/ 43 h 64"/>
                  <a:gd name="T16" fmla="*/ 52 w 65"/>
                  <a:gd name="T17" fmla="*/ 23 h 64"/>
                  <a:gd name="T18" fmla="*/ 40 w 65"/>
                  <a:gd name="T19" fmla="*/ 12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5" h="64">
                    <a:moveTo>
                      <a:pt x="40" y="12"/>
                    </a:moveTo>
                    <a:cubicBezTo>
                      <a:pt x="40" y="12"/>
                      <a:pt x="40" y="2"/>
                      <a:pt x="32" y="1"/>
                    </a:cubicBezTo>
                    <a:cubicBezTo>
                      <a:pt x="32" y="1"/>
                      <a:pt x="24" y="0"/>
                      <a:pt x="23" y="12"/>
                    </a:cubicBezTo>
                    <a:cubicBezTo>
                      <a:pt x="23" y="12"/>
                      <a:pt x="13" y="10"/>
                      <a:pt x="14" y="21"/>
                    </a:cubicBezTo>
                    <a:cubicBezTo>
                      <a:pt x="14" y="21"/>
                      <a:pt x="0" y="26"/>
                      <a:pt x="14" y="33"/>
                    </a:cubicBezTo>
                    <a:cubicBezTo>
                      <a:pt x="14" y="33"/>
                      <a:pt x="10" y="50"/>
                      <a:pt x="19" y="49"/>
                    </a:cubicBezTo>
                    <a:cubicBezTo>
                      <a:pt x="19" y="49"/>
                      <a:pt x="24" y="64"/>
                      <a:pt x="34" y="52"/>
                    </a:cubicBezTo>
                    <a:cubicBezTo>
                      <a:pt x="34" y="52"/>
                      <a:pt x="49" y="58"/>
                      <a:pt x="46" y="43"/>
                    </a:cubicBezTo>
                    <a:cubicBezTo>
                      <a:pt x="46" y="43"/>
                      <a:pt x="65" y="35"/>
                      <a:pt x="52" y="23"/>
                    </a:cubicBezTo>
                    <a:cubicBezTo>
                      <a:pt x="52" y="23"/>
                      <a:pt x="54" y="11"/>
                      <a:pt x="40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17" name="Freeform 6064"/>
              <p:cNvSpPr>
                <a:spLocks/>
              </p:cNvSpPr>
              <p:nvPr/>
            </p:nvSpPr>
            <p:spPr bwMode="auto">
              <a:xfrm>
                <a:off x="-1051" y="1931"/>
                <a:ext cx="96" cy="96"/>
              </a:xfrm>
              <a:custGeom>
                <a:avLst/>
                <a:gdLst>
                  <a:gd name="T0" fmla="*/ 47 w 60"/>
                  <a:gd name="T1" fmla="*/ 24 h 60"/>
                  <a:gd name="T2" fmla="*/ 41 w 60"/>
                  <a:gd name="T3" fmla="*/ 12 h 60"/>
                  <a:gd name="T4" fmla="*/ 33 w 60"/>
                  <a:gd name="T5" fmla="*/ 1 h 60"/>
                  <a:gd name="T6" fmla="*/ 25 w 60"/>
                  <a:gd name="T7" fmla="*/ 13 h 60"/>
                  <a:gd name="T8" fmla="*/ 12 w 60"/>
                  <a:gd name="T9" fmla="*/ 16 h 60"/>
                  <a:gd name="T10" fmla="*/ 14 w 60"/>
                  <a:gd name="T11" fmla="*/ 26 h 60"/>
                  <a:gd name="T12" fmla="*/ 5 w 60"/>
                  <a:gd name="T13" fmla="*/ 40 h 60"/>
                  <a:gd name="T14" fmla="*/ 25 w 60"/>
                  <a:gd name="T15" fmla="*/ 47 h 60"/>
                  <a:gd name="T16" fmla="*/ 36 w 60"/>
                  <a:gd name="T17" fmla="*/ 47 h 60"/>
                  <a:gd name="T18" fmla="*/ 47 w 60"/>
                  <a:gd name="T19" fmla="*/ 42 h 60"/>
                  <a:gd name="T20" fmla="*/ 49 w 60"/>
                  <a:gd name="T21" fmla="*/ 42 h 60"/>
                  <a:gd name="T22" fmla="*/ 47 w 60"/>
                  <a:gd name="T23" fmla="*/ 24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0" h="60">
                    <a:moveTo>
                      <a:pt x="47" y="24"/>
                    </a:moveTo>
                    <a:cubicBezTo>
                      <a:pt x="47" y="24"/>
                      <a:pt x="54" y="13"/>
                      <a:pt x="41" y="12"/>
                    </a:cubicBezTo>
                    <a:cubicBezTo>
                      <a:pt x="41" y="12"/>
                      <a:pt x="40" y="0"/>
                      <a:pt x="33" y="1"/>
                    </a:cubicBezTo>
                    <a:cubicBezTo>
                      <a:pt x="33" y="1"/>
                      <a:pt x="21" y="0"/>
                      <a:pt x="25" y="13"/>
                    </a:cubicBezTo>
                    <a:cubicBezTo>
                      <a:pt x="25" y="13"/>
                      <a:pt x="15" y="7"/>
                      <a:pt x="12" y="16"/>
                    </a:cubicBezTo>
                    <a:cubicBezTo>
                      <a:pt x="12" y="16"/>
                      <a:pt x="8" y="25"/>
                      <a:pt x="14" y="26"/>
                    </a:cubicBezTo>
                    <a:cubicBezTo>
                      <a:pt x="14" y="26"/>
                      <a:pt x="0" y="28"/>
                      <a:pt x="5" y="40"/>
                    </a:cubicBezTo>
                    <a:cubicBezTo>
                      <a:pt x="5" y="40"/>
                      <a:pt x="12" y="60"/>
                      <a:pt x="25" y="47"/>
                    </a:cubicBezTo>
                    <a:cubicBezTo>
                      <a:pt x="25" y="47"/>
                      <a:pt x="35" y="55"/>
                      <a:pt x="36" y="47"/>
                    </a:cubicBezTo>
                    <a:cubicBezTo>
                      <a:pt x="36" y="47"/>
                      <a:pt x="49" y="56"/>
                      <a:pt x="47" y="42"/>
                    </a:cubicBezTo>
                    <a:cubicBezTo>
                      <a:pt x="47" y="42"/>
                      <a:pt x="49" y="42"/>
                      <a:pt x="49" y="42"/>
                    </a:cubicBezTo>
                    <a:cubicBezTo>
                      <a:pt x="49" y="42"/>
                      <a:pt x="60" y="30"/>
                      <a:pt x="47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18" name="Freeform 6065"/>
              <p:cNvSpPr>
                <a:spLocks/>
              </p:cNvSpPr>
              <p:nvPr/>
            </p:nvSpPr>
            <p:spPr bwMode="auto">
              <a:xfrm>
                <a:off x="-998" y="2063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19" name="Freeform 6066"/>
              <p:cNvSpPr>
                <a:spLocks/>
              </p:cNvSpPr>
              <p:nvPr/>
            </p:nvSpPr>
            <p:spPr bwMode="auto">
              <a:xfrm>
                <a:off x="-1058" y="1982"/>
                <a:ext cx="105" cy="110"/>
              </a:xfrm>
              <a:custGeom>
                <a:avLst/>
                <a:gdLst>
                  <a:gd name="T0" fmla="*/ 50 w 65"/>
                  <a:gd name="T1" fmla="*/ 9 h 68"/>
                  <a:gd name="T2" fmla="*/ 40 w 65"/>
                  <a:gd name="T3" fmla="*/ 0 h 68"/>
                  <a:gd name="T4" fmla="*/ 40 w 65"/>
                  <a:gd name="T5" fmla="*/ 0 h 68"/>
                  <a:gd name="T6" fmla="*/ 35 w 65"/>
                  <a:gd name="T7" fmla="*/ 6 h 68"/>
                  <a:gd name="T8" fmla="*/ 23 w 65"/>
                  <a:gd name="T9" fmla="*/ 14 h 68"/>
                  <a:gd name="T10" fmla="*/ 12 w 65"/>
                  <a:gd name="T11" fmla="*/ 22 h 68"/>
                  <a:gd name="T12" fmla="*/ 7 w 65"/>
                  <a:gd name="T13" fmla="*/ 32 h 68"/>
                  <a:gd name="T14" fmla="*/ 8 w 65"/>
                  <a:gd name="T15" fmla="*/ 43 h 68"/>
                  <a:gd name="T16" fmla="*/ 9 w 65"/>
                  <a:gd name="T17" fmla="*/ 51 h 68"/>
                  <a:gd name="T18" fmla="*/ 19 w 65"/>
                  <a:gd name="T19" fmla="*/ 57 h 68"/>
                  <a:gd name="T20" fmla="*/ 20 w 65"/>
                  <a:gd name="T21" fmla="*/ 57 h 68"/>
                  <a:gd name="T22" fmla="*/ 33 w 65"/>
                  <a:gd name="T23" fmla="*/ 56 h 68"/>
                  <a:gd name="T24" fmla="*/ 33 w 65"/>
                  <a:gd name="T25" fmla="*/ 55 h 68"/>
                  <a:gd name="T26" fmla="*/ 37 w 65"/>
                  <a:gd name="T27" fmla="*/ 50 h 68"/>
                  <a:gd name="T28" fmla="*/ 37 w 65"/>
                  <a:gd name="T29" fmla="*/ 50 h 68"/>
                  <a:gd name="T30" fmla="*/ 37 w 65"/>
                  <a:gd name="T31" fmla="*/ 50 h 68"/>
                  <a:gd name="T32" fmla="*/ 37 w 65"/>
                  <a:gd name="T33" fmla="*/ 50 h 68"/>
                  <a:gd name="T34" fmla="*/ 33 w 65"/>
                  <a:gd name="T35" fmla="*/ 56 h 68"/>
                  <a:gd name="T36" fmla="*/ 43 w 65"/>
                  <a:gd name="T37" fmla="*/ 44 h 68"/>
                  <a:gd name="T38" fmla="*/ 50 w 65"/>
                  <a:gd name="T39" fmla="*/ 36 h 68"/>
                  <a:gd name="T40" fmla="*/ 52 w 65"/>
                  <a:gd name="T41" fmla="*/ 24 h 68"/>
                  <a:gd name="T42" fmla="*/ 50 w 65"/>
                  <a:gd name="T43" fmla="*/ 9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65" h="68">
                    <a:moveTo>
                      <a:pt x="50" y="9"/>
                    </a:moveTo>
                    <a:cubicBezTo>
                      <a:pt x="50" y="9"/>
                      <a:pt x="51" y="0"/>
                      <a:pt x="40" y="0"/>
                    </a:cubicBezTo>
                    <a:cubicBezTo>
                      <a:pt x="40" y="0"/>
                      <a:pt x="40" y="0"/>
                      <a:pt x="40" y="0"/>
                    </a:cubicBezTo>
                    <a:cubicBezTo>
                      <a:pt x="40" y="0"/>
                      <a:pt x="35" y="3"/>
                      <a:pt x="35" y="6"/>
                    </a:cubicBezTo>
                    <a:cubicBezTo>
                      <a:pt x="35" y="6"/>
                      <a:pt x="26" y="0"/>
                      <a:pt x="23" y="14"/>
                    </a:cubicBezTo>
                    <a:cubicBezTo>
                      <a:pt x="23" y="14"/>
                      <a:pt x="11" y="9"/>
                      <a:pt x="12" y="22"/>
                    </a:cubicBezTo>
                    <a:cubicBezTo>
                      <a:pt x="12" y="22"/>
                      <a:pt x="2" y="25"/>
                      <a:pt x="7" y="32"/>
                    </a:cubicBezTo>
                    <a:cubicBezTo>
                      <a:pt x="7" y="32"/>
                      <a:pt x="0" y="41"/>
                      <a:pt x="8" y="43"/>
                    </a:cubicBezTo>
                    <a:cubicBezTo>
                      <a:pt x="8" y="43"/>
                      <a:pt x="3" y="46"/>
                      <a:pt x="9" y="51"/>
                    </a:cubicBezTo>
                    <a:cubicBezTo>
                      <a:pt x="9" y="51"/>
                      <a:pt x="6" y="66"/>
                      <a:pt x="19" y="57"/>
                    </a:cubicBezTo>
                    <a:cubicBezTo>
                      <a:pt x="20" y="57"/>
                      <a:pt x="20" y="57"/>
                      <a:pt x="20" y="57"/>
                    </a:cubicBezTo>
                    <a:cubicBezTo>
                      <a:pt x="20" y="57"/>
                      <a:pt x="25" y="68"/>
                      <a:pt x="33" y="56"/>
                    </a:cubicBezTo>
                    <a:cubicBezTo>
                      <a:pt x="33" y="56"/>
                      <a:pt x="33" y="56"/>
                      <a:pt x="33" y="55"/>
                    </a:cubicBezTo>
                    <a:cubicBezTo>
                      <a:pt x="36" y="52"/>
                      <a:pt x="37" y="50"/>
                      <a:pt x="37" y="50"/>
                    </a:cubicBezTo>
                    <a:cubicBezTo>
                      <a:pt x="37" y="50"/>
                      <a:pt x="37" y="50"/>
                      <a:pt x="37" y="50"/>
                    </a:cubicBezTo>
                    <a:cubicBezTo>
                      <a:pt x="37" y="50"/>
                      <a:pt x="37" y="50"/>
                      <a:pt x="37" y="50"/>
                    </a:cubicBezTo>
                    <a:cubicBezTo>
                      <a:pt x="37" y="50"/>
                      <a:pt x="37" y="50"/>
                      <a:pt x="37" y="50"/>
                    </a:cubicBezTo>
                    <a:cubicBezTo>
                      <a:pt x="36" y="51"/>
                      <a:pt x="33" y="56"/>
                      <a:pt x="33" y="56"/>
                    </a:cubicBezTo>
                    <a:cubicBezTo>
                      <a:pt x="33" y="56"/>
                      <a:pt x="45" y="62"/>
                      <a:pt x="43" y="44"/>
                    </a:cubicBezTo>
                    <a:cubicBezTo>
                      <a:pt x="43" y="44"/>
                      <a:pt x="53" y="49"/>
                      <a:pt x="50" y="36"/>
                    </a:cubicBezTo>
                    <a:cubicBezTo>
                      <a:pt x="50" y="36"/>
                      <a:pt x="63" y="30"/>
                      <a:pt x="52" y="24"/>
                    </a:cubicBezTo>
                    <a:cubicBezTo>
                      <a:pt x="52" y="24"/>
                      <a:pt x="65" y="16"/>
                      <a:pt x="50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20" name="Freeform 6067"/>
              <p:cNvSpPr>
                <a:spLocks/>
              </p:cNvSpPr>
              <p:nvPr/>
            </p:nvSpPr>
            <p:spPr bwMode="auto">
              <a:xfrm>
                <a:off x="-1135" y="1948"/>
                <a:ext cx="95" cy="131"/>
              </a:xfrm>
              <a:custGeom>
                <a:avLst/>
                <a:gdLst>
                  <a:gd name="T0" fmla="*/ 50 w 59"/>
                  <a:gd name="T1" fmla="*/ 13 h 81"/>
                  <a:gd name="T2" fmla="*/ 42 w 59"/>
                  <a:gd name="T3" fmla="*/ 0 h 81"/>
                  <a:gd name="T4" fmla="*/ 33 w 59"/>
                  <a:gd name="T5" fmla="*/ 8 h 81"/>
                  <a:gd name="T6" fmla="*/ 20 w 59"/>
                  <a:gd name="T7" fmla="*/ 21 h 81"/>
                  <a:gd name="T8" fmla="*/ 13 w 59"/>
                  <a:gd name="T9" fmla="*/ 25 h 81"/>
                  <a:gd name="T10" fmla="*/ 13 w 59"/>
                  <a:gd name="T11" fmla="*/ 34 h 81"/>
                  <a:gd name="T12" fmla="*/ 6 w 59"/>
                  <a:gd name="T13" fmla="*/ 42 h 81"/>
                  <a:gd name="T14" fmla="*/ 9 w 59"/>
                  <a:gd name="T15" fmla="*/ 52 h 81"/>
                  <a:gd name="T16" fmla="*/ 3 w 59"/>
                  <a:gd name="T17" fmla="*/ 62 h 81"/>
                  <a:gd name="T18" fmla="*/ 25 w 59"/>
                  <a:gd name="T19" fmla="*/ 55 h 81"/>
                  <a:gd name="T20" fmla="*/ 34 w 59"/>
                  <a:gd name="T21" fmla="*/ 46 h 81"/>
                  <a:gd name="T22" fmla="*/ 34 w 59"/>
                  <a:gd name="T23" fmla="*/ 45 h 81"/>
                  <a:gd name="T24" fmla="*/ 45 w 59"/>
                  <a:gd name="T25" fmla="*/ 46 h 81"/>
                  <a:gd name="T26" fmla="*/ 58 w 59"/>
                  <a:gd name="T27" fmla="*/ 28 h 81"/>
                  <a:gd name="T28" fmla="*/ 50 w 59"/>
                  <a:gd name="T29" fmla="*/ 13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9" h="81">
                    <a:moveTo>
                      <a:pt x="50" y="13"/>
                    </a:moveTo>
                    <a:cubicBezTo>
                      <a:pt x="50" y="13"/>
                      <a:pt x="52" y="2"/>
                      <a:pt x="42" y="0"/>
                    </a:cubicBezTo>
                    <a:cubicBezTo>
                      <a:pt x="42" y="0"/>
                      <a:pt x="33" y="1"/>
                      <a:pt x="33" y="8"/>
                    </a:cubicBezTo>
                    <a:cubicBezTo>
                      <a:pt x="33" y="8"/>
                      <a:pt x="19" y="8"/>
                      <a:pt x="20" y="21"/>
                    </a:cubicBezTo>
                    <a:cubicBezTo>
                      <a:pt x="20" y="21"/>
                      <a:pt x="15" y="20"/>
                      <a:pt x="13" y="25"/>
                    </a:cubicBezTo>
                    <a:cubicBezTo>
                      <a:pt x="13" y="25"/>
                      <a:pt x="10" y="31"/>
                      <a:pt x="13" y="34"/>
                    </a:cubicBezTo>
                    <a:cubicBezTo>
                      <a:pt x="13" y="34"/>
                      <a:pt x="6" y="36"/>
                      <a:pt x="6" y="42"/>
                    </a:cubicBezTo>
                    <a:cubicBezTo>
                      <a:pt x="6" y="42"/>
                      <a:pt x="6" y="50"/>
                      <a:pt x="9" y="52"/>
                    </a:cubicBezTo>
                    <a:cubicBezTo>
                      <a:pt x="9" y="52"/>
                      <a:pt x="0" y="56"/>
                      <a:pt x="3" y="62"/>
                    </a:cubicBezTo>
                    <a:cubicBezTo>
                      <a:pt x="3" y="62"/>
                      <a:pt x="11" y="81"/>
                      <a:pt x="25" y="55"/>
                    </a:cubicBezTo>
                    <a:cubicBezTo>
                      <a:pt x="25" y="55"/>
                      <a:pt x="39" y="57"/>
                      <a:pt x="34" y="46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4" y="45"/>
                      <a:pt x="41" y="53"/>
                      <a:pt x="45" y="46"/>
                    </a:cubicBezTo>
                    <a:cubicBezTo>
                      <a:pt x="45" y="46"/>
                      <a:pt x="59" y="65"/>
                      <a:pt x="58" y="28"/>
                    </a:cubicBezTo>
                    <a:cubicBezTo>
                      <a:pt x="58" y="28"/>
                      <a:pt x="59" y="14"/>
                      <a:pt x="50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21" name="Freeform 6068"/>
              <p:cNvSpPr>
                <a:spLocks/>
              </p:cNvSpPr>
              <p:nvPr/>
            </p:nvSpPr>
            <p:spPr bwMode="auto">
              <a:xfrm>
                <a:off x="-1152" y="1964"/>
                <a:ext cx="149" cy="128"/>
              </a:xfrm>
              <a:custGeom>
                <a:avLst/>
                <a:gdLst>
                  <a:gd name="T0" fmla="*/ 75 w 93"/>
                  <a:gd name="T1" fmla="*/ 28 h 79"/>
                  <a:gd name="T2" fmla="*/ 65 w 93"/>
                  <a:gd name="T3" fmla="*/ 20 h 79"/>
                  <a:gd name="T4" fmla="*/ 48 w 93"/>
                  <a:gd name="T5" fmla="*/ 19 h 79"/>
                  <a:gd name="T6" fmla="*/ 42 w 93"/>
                  <a:gd name="T7" fmla="*/ 29 h 79"/>
                  <a:gd name="T8" fmla="*/ 29 w 93"/>
                  <a:gd name="T9" fmla="*/ 44 h 79"/>
                  <a:gd name="T10" fmla="*/ 22 w 93"/>
                  <a:gd name="T11" fmla="*/ 53 h 79"/>
                  <a:gd name="T12" fmla="*/ 8 w 93"/>
                  <a:gd name="T13" fmla="*/ 58 h 79"/>
                  <a:gd name="T14" fmla="*/ 5 w 93"/>
                  <a:gd name="T15" fmla="*/ 68 h 79"/>
                  <a:gd name="T16" fmla="*/ 22 w 93"/>
                  <a:gd name="T17" fmla="*/ 65 h 79"/>
                  <a:gd name="T18" fmla="*/ 36 w 93"/>
                  <a:gd name="T19" fmla="*/ 53 h 79"/>
                  <a:gd name="T20" fmla="*/ 36 w 93"/>
                  <a:gd name="T21" fmla="*/ 53 h 79"/>
                  <a:gd name="T22" fmla="*/ 36 w 93"/>
                  <a:gd name="T23" fmla="*/ 53 h 79"/>
                  <a:gd name="T24" fmla="*/ 47 w 93"/>
                  <a:gd name="T25" fmla="*/ 48 h 79"/>
                  <a:gd name="T26" fmla="*/ 62 w 93"/>
                  <a:gd name="T27" fmla="*/ 48 h 79"/>
                  <a:gd name="T28" fmla="*/ 75 w 93"/>
                  <a:gd name="T29" fmla="*/ 57 h 79"/>
                  <a:gd name="T30" fmla="*/ 82 w 93"/>
                  <a:gd name="T31" fmla="*/ 44 h 79"/>
                  <a:gd name="T32" fmla="*/ 75 w 93"/>
                  <a:gd name="T33" fmla="*/ 28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3" h="79">
                    <a:moveTo>
                      <a:pt x="75" y="28"/>
                    </a:moveTo>
                    <a:cubicBezTo>
                      <a:pt x="78" y="14"/>
                      <a:pt x="65" y="20"/>
                      <a:pt x="65" y="20"/>
                    </a:cubicBezTo>
                    <a:cubicBezTo>
                      <a:pt x="56" y="0"/>
                      <a:pt x="48" y="19"/>
                      <a:pt x="48" y="19"/>
                    </a:cubicBezTo>
                    <a:cubicBezTo>
                      <a:pt x="35" y="17"/>
                      <a:pt x="42" y="29"/>
                      <a:pt x="42" y="29"/>
                    </a:cubicBezTo>
                    <a:cubicBezTo>
                      <a:pt x="21" y="24"/>
                      <a:pt x="29" y="44"/>
                      <a:pt x="29" y="44"/>
                    </a:cubicBezTo>
                    <a:cubicBezTo>
                      <a:pt x="18" y="44"/>
                      <a:pt x="22" y="53"/>
                      <a:pt x="22" y="53"/>
                    </a:cubicBezTo>
                    <a:cubicBezTo>
                      <a:pt x="10" y="41"/>
                      <a:pt x="8" y="58"/>
                      <a:pt x="8" y="58"/>
                    </a:cubicBezTo>
                    <a:cubicBezTo>
                      <a:pt x="0" y="59"/>
                      <a:pt x="5" y="68"/>
                      <a:pt x="5" y="68"/>
                    </a:cubicBezTo>
                    <a:cubicBezTo>
                      <a:pt x="16" y="79"/>
                      <a:pt x="22" y="65"/>
                      <a:pt x="22" y="65"/>
                    </a:cubicBezTo>
                    <a:cubicBezTo>
                      <a:pt x="38" y="76"/>
                      <a:pt x="36" y="53"/>
                      <a:pt x="36" y="53"/>
                    </a:cubicBezTo>
                    <a:cubicBezTo>
                      <a:pt x="36" y="53"/>
                      <a:pt x="25" y="46"/>
                      <a:pt x="36" y="53"/>
                    </a:cubicBezTo>
                    <a:cubicBezTo>
                      <a:pt x="36" y="53"/>
                      <a:pt x="36" y="53"/>
                      <a:pt x="36" y="53"/>
                    </a:cubicBezTo>
                    <a:cubicBezTo>
                      <a:pt x="46" y="59"/>
                      <a:pt x="47" y="48"/>
                      <a:pt x="47" y="48"/>
                    </a:cubicBezTo>
                    <a:cubicBezTo>
                      <a:pt x="53" y="64"/>
                      <a:pt x="62" y="48"/>
                      <a:pt x="62" y="48"/>
                    </a:cubicBezTo>
                    <a:cubicBezTo>
                      <a:pt x="62" y="70"/>
                      <a:pt x="75" y="57"/>
                      <a:pt x="75" y="57"/>
                    </a:cubicBezTo>
                    <a:cubicBezTo>
                      <a:pt x="93" y="61"/>
                      <a:pt x="82" y="44"/>
                      <a:pt x="82" y="44"/>
                    </a:cubicBezTo>
                    <a:cubicBezTo>
                      <a:pt x="91" y="31"/>
                      <a:pt x="75" y="28"/>
                      <a:pt x="75" y="2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22" name="Freeform 6069"/>
              <p:cNvSpPr>
                <a:spLocks/>
              </p:cNvSpPr>
              <p:nvPr/>
            </p:nvSpPr>
            <p:spPr bwMode="auto">
              <a:xfrm>
                <a:off x="-849" y="2192"/>
                <a:ext cx="63" cy="160"/>
              </a:xfrm>
              <a:custGeom>
                <a:avLst/>
                <a:gdLst>
                  <a:gd name="T0" fmla="*/ 30 w 39"/>
                  <a:gd name="T1" fmla="*/ 7 h 99"/>
                  <a:gd name="T2" fmla="*/ 14 w 39"/>
                  <a:gd name="T3" fmla="*/ 0 h 99"/>
                  <a:gd name="T4" fmla="*/ 0 w 39"/>
                  <a:gd name="T5" fmla="*/ 90 h 99"/>
                  <a:gd name="T6" fmla="*/ 39 w 39"/>
                  <a:gd name="T7" fmla="*/ 90 h 99"/>
                  <a:gd name="T8" fmla="*/ 30 w 39"/>
                  <a:gd name="T9" fmla="*/ 7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99">
                    <a:moveTo>
                      <a:pt x="30" y="7"/>
                    </a:moveTo>
                    <a:cubicBezTo>
                      <a:pt x="30" y="7"/>
                      <a:pt x="29" y="0"/>
                      <a:pt x="14" y="0"/>
                    </a:cubicBezTo>
                    <a:cubicBezTo>
                      <a:pt x="14" y="0"/>
                      <a:pt x="17" y="77"/>
                      <a:pt x="0" y="90"/>
                    </a:cubicBezTo>
                    <a:cubicBezTo>
                      <a:pt x="0" y="90"/>
                      <a:pt x="27" y="99"/>
                      <a:pt x="39" y="90"/>
                    </a:cubicBezTo>
                    <a:cubicBezTo>
                      <a:pt x="39" y="90"/>
                      <a:pt x="24" y="51"/>
                      <a:pt x="30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23" name="Freeform 6070"/>
              <p:cNvSpPr>
                <a:spLocks/>
              </p:cNvSpPr>
              <p:nvPr/>
            </p:nvSpPr>
            <p:spPr bwMode="auto">
              <a:xfrm>
                <a:off x="-869" y="1943"/>
                <a:ext cx="101" cy="120"/>
              </a:xfrm>
              <a:custGeom>
                <a:avLst/>
                <a:gdLst>
                  <a:gd name="T0" fmla="*/ 46 w 63"/>
                  <a:gd name="T1" fmla="*/ 22 h 74"/>
                  <a:gd name="T2" fmla="*/ 35 w 63"/>
                  <a:gd name="T3" fmla="*/ 0 h 74"/>
                  <a:gd name="T4" fmla="*/ 24 w 63"/>
                  <a:gd name="T5" fmla="*/ 16 h 74"/>
                  <a:gd name="T6" fmla="*/ 19 w 63"/>
                  <a:gd name="T7" fmla="*/ 41 h 74"/>
                  <a:gd name="T8" fmla="*/ 61 w 63"/>
                  <a:gd name="T9" fmla="*/ 29 h 74"/>
                  <a:gd name="T10" fmla="*/ 46 w 63"/>
                  <a:gd name="T11" fmla="*/ 22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3" h="74">
                    <a:moveTo>
                      <a:pt x="46" y="22"/>
                    </a:moveTo>
                    <a:cubicBezTo>
                      <a:pt x="48" y="0"/>
                      <a:pt x="35" y="0"/>
                      <a:pt x="35" y="0"/>
                    </a:cubicBezTo>
                    <a:cubicBezTo>
                      <a:pt x="23" y="1"/>
                      <a:pt x="24" y="16"/>
                      <a:pt x="24" y="16"/>
                    </a:cubicBezTo>
                    <a:cubicBezTo>
                      <a:pt x="0" y="30"/>
                      <a:pt x="19" y="41"/>
                      <a:pt x="19" y="41"/>
                    </a:cubicBezTo>
                    <a:cubicBezTo>
                      <a:pt x="63" y="74"/>
                      <a:pt x="61" y="29"/>
                      <a:pt x="61" y="29"/>
                    </a:cubicBezTo>
                    <a:cubicBezTo>
                      <a:pt x="58" y="15"/>
                      <a:pt x="46" y="22"/>
                      <a:pt x="46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24" name="Freeform 6071"/>
              <p:cNvSpPr>
                <a:spLocks/>
              </p:cNvSpPr>
              <p:nvPr/>
            </p:nvSpPr>
            <p:spPr bwMode="auto">
              <a:xfrm>
                <a:off x="-841" y="2018"/>
                <a:ext cx="2" cy="6"/>
              </a:xfrm>
              <a:custGeom>
                <a:avLst/>
                <a:gdLst>
                  <a:gd name="T0" fmla="*/ 0 w 1"/>
                  <a:gd name="T1" fmla="*/ 0 h 4"/>
                  <a:gd name="T2" fmla="*/ 1 w 1"/>
                  <a:gd name="T3" fmla="*/ 4 h 4"/>
                  <a:gd name="T4" fmla="*/ 0 w 1"/>
                  <a:gd name="T5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4">
                    <a:moveTo>
                      <a:pt x="0" y="0"/>
                    </a:moveTo>
                    <a:cubicBezTo>
                      <a:pt x="0" y="1"/>
                      <a:pt x="0" y="2"/>
                      <a:pt x="1" y="4"/>
                    </a:cubicBezTo>
                    <a:cubicBezTo>
                      <a:pt x="1" y="4"/>
                      <a:pt x="1" y="2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25" name="Freeform 6072"/>
              <p:cNvSpPr>
                <a:spLocks/>
              </p:cNvSpPr>
              <p:nvPr/>
            </p:nvSpPr>
            <p:spPr bwMode="auto">
              <a:xfrm>
                <a:off x="-894" y="1990"/>
                <a:ext cx="163" cy="225"/>
              </a:xfrm>
              <a:custGeom>
                <a:avLst/>
                <a:gdLst>
                  <a:gd name="T0" fmla="*/ 82 w 101"/>
                  <a:gd name="T1" fmla="*/ 63 h 139"/>
                  <a:gd name="T2" fmla="*/ 81 w 101"/>
                  <a:gd name="T3" fmla="*/ 51 h 139"/>
                  <a:gd name="T4" fmla="*/ 73 w 101"/>
                  <a:gd name="T5" fmla="*/ 27 h 139"/>
                  <a:gd name="T6" fmla="*/ 69 w 101"/>
                  <a:gd name="T7" fmla="*/ 12 h 139"/>
                  <a:gd name="T8" fmla="*/ 54 w 101"/>
                  <a:gd name="T9" fmla="*/ 19 h 139"/>
                  <a:gd name="T10" fmla="*/ 42 w 101"/>
                  <a:gd name="T11" fmla="*/ 0 h 139"/>
                  <a:gd name="T12" fmla="*/ 33 w 101"/>
                  <a:gd name="T13" fmla="*/ 17 h 139"/>
                  <a:gd name="T14" fmla="*/ 34 w 101"/>
                  <a:gd name="T15" fmla="*/ 21 h 139"/>
                  <a:gd name="T16" fmla="*/ 33 w 101"/>
                  <a:gd name="T17" fmla="*/ 17 h 139"/>
                  <a:gd name="T18" fmla="*/ 26 w 101"/>
                  <a:gd name="T19" fmla="*/ 13 h 139"/>
                  <a:gd name="T20" fmla="*/ 22 w 101"/>
                  <a:gd name="T21" fmla="*/ 31 h 139"/>
                  <a:gd name="T22" fmla="*/ 15 w 101"/>
                  <a:gd name="T23" fmla="*/ 50 h 139"/>
                  <a:gd name="T24" fmla="*/ 11 w 101"/>
                  <a:gd name="T25" fmla="*/ 76 h 139"/>
                  <a:gd name="T26" fmla="*/ 17 w 101"/>
                  <a:gd name="T27" fmla="*/ 95 h 139"/>
                  <a:gd name="T28" fmla="*/ 13 w 101"/>
                  <a:gd name="T29" fmla="*/ 119 h 139"/>
                  <a:gd name="T30" fmla="*/ 46 w 101"/>
                  <a:gd name="T31" fmla="*/ 117 h 139"/>
                  <a:gd name="T32" fmla="*/ 70 w 101"/>
                  <a:gd name="T33" fmla="*/ 118 h 139"/>
                  <a:gd name="T34" fmla="*/ 88 w 101"/>
                  <a:gd name="T35" fmla="*/ 107 h 139"/>
                  <a:gd name="T36" fmla="*/ 85 w 101"/>
                  <a:gd name="T37" fmla="*/ 89 h 139"/>
                  <a:gd name="T38" fmla="*/ 82 w 101"/>
                  <a:gd name="T39" fmla="*/ 63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01" h="139">
                    <a:moveTo>
                      <a:pt x="82" y="63"/>
                    </a:moveTo>
                    <a:cubicBezTo>
                      <a:pt x="82" y="63"/>
                      <a:pt x="95" y="60"/>
                      <a:pt x="81" y="51"/>
                    </a:cubicBezTo>
                    <a:cubicBezTo>
                      <a:pt x="81" y="51"/>
                      <a:pt x="99" y="28"/>
                      <a:pt x="73" y="27"/>
                    </a:cubicBezTo>
                    <a:cubicBezTo>
                      <a:pt x="73" y="27"/>
                      <a:pt x="80" y="17"/>
                      <a:pt x="69" y="12"/>
                    </a:cubicBezTo>
                    <a:cubicBezTo>
                      <a:pt x="69" y="12"/>
                      <a:pt x="57" y="5"/>
                      <a:pt x="54" y="19"/>
                    </a:cubicBezTo>
                    <a:cubicBezTo>
                      <a:pt x="54" y="19"/>
                      <a:pt x="55" y="5"/>
                      <a:pt x="42" y="0"/>
                    </a:cubicBezTo>
                    <a:cubicBezTo>
                      <a:pt x="42" y="0"/>
                      <a:pt x="30" y="1"/>
                      <a:pt x="33" y="17"/>
                    </a:cubicBezTo>
                    <a:cubicBezTo>
                      <a:pt x="34" y="19"/>
                      <a:pt x="34" y="21"/>
                      <a:pt x="34" y="21"/>
                    </a:cubicBezTo>
                    <a:cubicBezTo>
                      <a:pt x="33" y="19"/>
                      <a:pt x="33" y="18"/>
                      <a:pt x="33" y="17"/>
                    </a:cubicBezTo>
                    <a:cubicBezTo>
                      <a:pt x="32" y="14"/>
                      <a:pt x="29" y="11"/>
                      <a:pt x="26" y="13"/>
                    </a:cubicBezTo>
                    <a:cubicBezTo>
                      <a:pt x="26" y="13"/>
                      <a:pt x="16" y="19"/>
                      <a:pt x="22" y="31"/>
                    </a:cubicBezTo>
                    <a:cubicBezTo>
                      <a:pt x="22" y="31"/>
                      <a:pt x="9" y="32"/>
                      <a:pt x="15" y="50"/>
                    </a:cubicBezTo>
                    <a:cubicBezTo>
                      <a:pt x="15" y="50"/>
                      <a:pt x="0" y="59"/>
                      <a:pt x="11" y="76"/>
                    </a:cubicBezTo>
                    <a:cubicBezTo>
                      <a:pt x="11" y="76"/>
                      <a:pt x="3" y="84"/>
                      <a:pt x="17" y="95"/>
                    </a:cubicBezTo>
                    <a:cubicBezTo>
                      <a:pt x="17" y="95"/>
                      <a:pt x="4" y="104"/>
                      <a:pt x="13" y="119"/>
                    </a:cubicBezTo>
                    <a:cubicBezTo>
                      <a:pt x="13" y="119"/>
                      <a:pt x="27" y="139"/>
                      <a:pt x="46" y="117"/>
                    </a:cubicBezTo>
                    <a:cubicBezTo>
                      <a:pt x="46" y="117"/>
                      <a:pt x="51" y="106"/>
                      <a:pt x="70" y="118"/>
                    </a:cubicBezTo>
                    <a:cubicBezTo>
                      <a:pt x="70" y="118"/>
                      <a:pt x="81" y="123"/>
                      <a:pt x="88" y="107"/>
                    </a:cubicBezTo>
                    <a:cubicBezTo>
                      <a:pt x="88" y="107"/>
                      <a:pt x="92" y="96"/>
                      <a:pt x="85" y="89"/>
                    </a:cubicBezTo>
                    <a:cubicBezTo>
                      <a:pt x="85" y="89"/>
                      <a:pt x="101" y="73"/>
                      <a:pt x="82" y="6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26" name="Freeform 6073"/>
              <p:cNvSpPr>
                <a:spLocks/>
              </p:cNvSpPr>
              <p:nvPr/>
            </p:nvSpPr>
            <p:spPr bwMode="auto">
              <a:xfrm>
                <a:off x="-863" y="2055"/>
                <a:ext cx="108" cy="194"/>
              </a:xfrm>
              <a:custGeom>
                <a:avLst/>
                <a:gdLst>
                  <a:gd name="T0" fmla="*/ 50 w 67"/>
                  <a:gd name="T1" fmla="*/ 52 h 120"/>
                  <a:gd name="T2" fmla="*/ 50 w 67"/>
                  <a:gd name="T3" fmla="*/ 27 h 120"/>
                  <a:gd name="T4" fmla="*/ 43 w 67"/>
                  <a:gd name="T5" fmla="*/ 4 h 120"/>
                  <a:gd name="T6" fmla="*/ 27 w 67"/>
                  <a:gd name="T7" fmla="*/ 16 h 120"/>
                  <a:gd name="T8" fmla="*/ 9 w 67"/>
                  <a:gd name="T9" fmla="*/ 22 h 120"/>
                  <a:gd name="T10" fmla="*/ 12 w 67"/>
                  <a:gd name="T11" fmla="*/ 33 h 120"/>
                  <a:gd name="T12" fmla="*/ 10 w 67"/>
                  <a:gd name="T13" fmla="*/ 55 h 120"/>
                  <a:gd name="T14" fmla="*/ 0 w 67"/>
                  <a:gd name="T15" fmla="*/ 70 h 120"/>
                  <a:gd name="T16" fmla="*/ 9 w 67"/>
                  <a:gd name="T17" fmla="*/ 79 h 120"/>
                  <a:gd name="T18" fmla="*/ 21 w 67"/>
                  <a:gd name="T19" fmla="*/ 93 h 120"/>
                  <a:gd name="T20" fmla="*/ 47 w 67"/>
                  <a:gd name="T21" fmla="*/ 92 h 120"/>
                  <a:gd name="T22" fmla="*/ 51 w 67"/>
                  <a:gd name="T23" fmla="*/ 73 h 120"/>
                  <a:gd name="T24" fmla="*/ 50 w 67"/>
                  <a:gd name="T25" fmla="*/ 52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7" h="120">
                    <a:moveTo>
                      <a:pt x="50" y="52"/>
                    </a:moveTo>
                    <a:cubicBezTo>
                      <a:pt x="50" y="52"/>
                      <a:pt x="66" y="42"/>
                      <a:pt x="50" y="27"/>
                    </a:cubicBezTo>
                    <a:cubicBezTo>
                      <a:pt x="50" y="27"/>
                      <a:pt x="57" y="14"/>
                      <a:pt x="43" y="4"/>
                    </a:cubicBezTo>
                    <a:cubicBezTo>
                      <a:pt x="43" y="4"/>
                      <a:pt x="30" y="0"/>
                      <a:pt x="27" y="16"/>
                    </a:cubicBezTo>
                    <a:cubicBezTo>
                      <a:pt x="27" y="16"/>
                      <a:pt x="18" y="5"/>
                      <a:pt x="9" y="22"/>
                    </a:cubicBezTo>
                    <a:cubicBezTo>
                      <a:pt x="9" y="22"/>
                      <a:pt x="7" y="29"/>
                      <a:pt x="12" y="33"/>
                    </a:cubicBezTo>
                    <a:cubicBezTo>
                      <a:pt x="12" y="33"/>
                      <a:pt x="1" y="40"/>
                      <a:pt x="10" y="55"/>
                    </a:cubicBezTo>
                    <a:cubicBezTo>
                      <a:pt x="10" y="55"/>
                      <a:pt x="1" y="53"/>
                      <a:pt x="0" y="70"/>
                    </a:cubicBezTo>
                    <a:cubicBezTo>
                      <a:pt x="0" y="70"/>
                      <a:pt x="0" y="79"/>
                      <a:pt x="9" y="79"/>
                    </a:cubicBezTo>
                    <a:cubicBezTo>
                      <a:pt x="9" y="79"/>
                      <a:pt x="2" y="99"/>
                      <a:pt x="21" y="93"/>
                    </a:cubicBezTo>
                    <a:cubicBezTo>
                      <a:pt x="21" y="93"/>
                      <a:pt x="31" y="120"/>
                      <a:pt x="47" y="92"/>
                    </a:cubicBezTo>
                    <a:cubicBezTo>
                      <a:pt x="47" y="92"/>
                      <a:pt x="65" y="87"/>
                      <a:pt x="51" y="73"/>
                    </a:cubicBezTo>
                    <a:cubicBezTo>
                      <a:pt x="51" y="73"/>
                      <a:pt x="67" y="64"/>
                      <a:pt x="50" y="5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27" name="Freeform 6074"/>
              <p:cNvSpPr>
                <a:spLocks/>
              </p:cNvSpPr>
              <p:nvPr/>
            </p:nvSpPr>
            <p:spPr bwMode="auto">
              <a:xfrm>
                <a:off x="-1096" y="2008"/>
                <a:ext cx="125" cy="187"/>
              </a:xfrm>
              <a:custGeom>
                <a:avLst/>
                <a:gdLst>
                  <a:gd name="T0" fmla="*/ 62 w 78"/>
                  <a:gd name="T1" fmla="*/ 55 h 116"/>
                  <a:gd name="T2" fmla="*/ 48 w 78"/>
                  <a:gd name="T3" fmla="*/ 35 h 116"/>
                  <a:gd name="T4" fmla="*/ 36 w 78"/>
                  <a:gd name="T5" fmla="*/ 21 h 116"/>
                  <a:gd name="T6" fmla="*/ 15 w 78"/>
                  <a:gd name="T7" fmla="*/ 10 h 116"/>
                  <a:gd name="T8" fmla="*/ 15 w 78"/>
                  <a:gd name="T9" fmla="*/ 46 h 116"/>
                  <a:gd name="T10" fmla="*/ 26 w 78"/>
                  <a:gd name="T11" fmla="*/ 77 h 116"/>
                  <a:gd name="T12" fmla="*/ 34 w 78"/>
                  <a:gd name="T13" fmla="*/ 97 h 116"/>
                  <a:gd name="T14" fmla="*/ 48 w 78"/>
                  <a:gd name="T15" fmla="*/ 116 h 116"/>
                  <a:gd name="T16" fmla="*/ 56 w 78"/>
                  <a:gd name="T17" fmla="*/ 101 h 116"/>
                  <a:gd name="T18" fmla="*/ 62 w 78"/>
                  <a:gd name="T19" fmla="*/ 77 h 116"/>
                  <a:gd name="T20" fmla="*/ 62 w 78"/>
                  <a:gd name="T21" fmla="*/ 5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8" h="116">
                    <a:moveTo>
                      <a:pt x="62" y="55"/>
                    </a:moveTo>
                    <a:cubicBezTo>
                      <a:pt x="70" y="29"/>
                      <a:pt x="48" y="35"/>
                      <a:pt x="48" y="35"/>
                    </a:cubicBezTo>
                    <a:cubicBezTo>
                      <a:pt x="50" y="20"/>
                      <a:pt x="36" y="21"/>
                      <a:pt x="36" y="21"/>
                    </a:cubicBezTo>
                    <a:cubicBezTo>
                      <a:pt x="34" y="0"/>
                      <a:pt x="15" y="10"/>
                      <a:pt x="15" y="10"/>
                    </a:cubicBezTo>
                    <a:cubicBezTo>
                      <a:pt x="5" y="17"/>
                      <a:pt x="15" y="46"/>
                      <a:pt x="15" y="46"/>
                    </a:cubicBezTo>
                    <a:cubicBezTo>
                      <a:pt x="0" y="58"/>
                      <a:pt x="26" y="77"/>
                      <a:pt x="26" y="77"/>
                    </a:cubicBezTo>
                    <a:cubicBezTo>
                      <a:pt x="15" y="90"/>
                      <a:pt x="34" y="97"/>
                      <a:pt x="34" y="97"/>
                    </a:cubicBezTo>
                    <a:cubicBezTo>
                      <a:pt x="32" y="116"/>
                      <a:pt x="48" y="116"/>
                      <a:pt x="48" y="116"/>
                    </a:cubicBezTo>
                    <a:cubicBezTo>
                      <a:pt x="60" y="115"/>
                      <a:pt x="56" y="101"/>
                      <a:pt x="56" y="101"/>
                    </a:cubicBezTo>
                    <a:cubicBezTo>
                      <a:pt x="76" y="93"/>
                      <a:pt x="62" y="77"/>
                      <a:pt x="62" y="77"/>
                    </a:cubicBezTo>
                    <a:cubicBezTo>
                      <a:pt x="78" y="65"/>
                      <a:pt x="62" y="55"/>
                      <a:pt x="62" y="5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28" name="Freeform 6075"/>
              <p:cNvSpPr>
                <a:spLocks/>
              </p:cNvSpPr>
              <p:nvPr/>
            </p:nvSpPr>
            <p:spPr bwMode="auto">
              <a:xfrm>
                <a:off x="-1088" y="2225"/>
                <a:ext cx="0" cy="1"/>
              </a:xfrm>
              <a:custGeom>
                <a:avLst/>
                <a:gdLst>
                  <a:gd name="T0" fmla="*/ 0 h 1"/>
                  <a:gd name="T1" fmla="*/ 1 h 1"/>
                  <a:gd name="T2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29" name="Freeform 6076"/>
              <p:cNvSpPr>
                <a:spLocks/>
              </p:cNvSpPr>
              <p:nvPr/>
            </p:nvSpPr>
            <p:spPr bwMode="auto">
              <a:xfrm>
                <a:off x="-1096" y="2234"/>
                <a:ext cx="0" cy="3"/>
              </a:xfrm>
              <a:custGeom>
                <a:avLst/>
                <a:gdLst>
                  <a:gd name="T0" fmla="*/ 0 h 2"/>
                  <a:gd name="T1" fmla="*/ 2 h 2"/>
                  <a:gd name="T2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cubicBezTo>
                      <a:pt x="0" y="1"/>
                      <a:pt x="0" y="2"/>
                      <a:pt x="0" y="2"/>
                    </a:cubicBezTo>
                    <a:cubicBezTo>
                      <a:pt x="0" y="1"/>
                      <a:pt x="0" y="1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30" name="Freeform 6077"/>
              <p:cNvSpPr>
                <a:spLocks/>
              </p:cNvSpPr>
              <p:nvPr/>
            </p:nvSpPr>
            <p:spPr bwMode="auto">
              <a:xfrm>
                <a:off x="-1125" y="2181"/>
                <a:ext cx="58" cy="158"/>
              </a:xfrm>
              <a:custGeom>
                <a:avLst/>
                <a:gdLst>
                  <a:gd name="T0" fmla="*/ 34 w 36"/>
                  <a:gd name="T1" fmla="*/ 9 h 98"/>
                  <a:gd name="T2" fmla="*/ 23 w 36"/>
                  <a:gd name="T3" fmla="*/ 27 h 98"/>
                  <a:gd name="T4" fmla="*/ 23 w 36"/>
                  <a:gd name="T5" fmla="*/ 28 h 98"/>
                  <a:gd name="T6" fmla="*/ 23 w 36"/>
                  <a:gd name="T7" fmla="*/ 27 h 98"/>
                  <a:gd name="T8" fmla="*/ 20 w 36"/>
                  <a:gd name="T9" fmla="*/ 0 h 98"/>
                  <a:gd name="T10" fmla="*/ 14 w 36"/>
                  <a:gd name="T11" fmla="*/ 4 h 98"/>
                  <a:gd name="T12" fmla="*/ 18 w 36"/>
                  <a:gd name="T13" fmla="*/ 33 h 98"/>
                  <a:gd name="T14" fmla="*/ 18 w 36"/>
                  <a:gd name="T15" fmla="*/ 35 h 98"/>
                  <a:gd name="T16" fmla="*/ 18 w 36"/>
                  <a:gd name="T17" fmla="*/ 33 h 98"/>
                  <a:gd name="T18" fmla="*/ 1 w 36"/>
                  <a:gd name="T19" fmla="*/ 4 h 98"/>
                  <a:gd name="T20" fmla="*/ 0 w 36"/>
                  <a:gd name="T21" fmla="*/ 14 h 98"/>
                  <a:gd name="T22" fmla="*/ 13 w 36"/>
                  <a:gd name="T23" fmla="*/ 45 h 98"/>
                  <a:gd name="T24" fmla="*/ 11 w 36"/>
                  <a:gd name="T25" fmla="*/ 98 h 98"/>
                  <a:gd name="T26" fmla="*/ 31 w 36"/>
                  <a:gd name="T27" fmla="*/ 98 h 98"/>
                  <a:gd name="T28" fmla="*/ 33 w 36"/>
                  <a:gd name="T29" fmla="*/ 98 h 98"/>
                  <a:gd name="T30" fmla="*/ 29 w 36"/>
                  <a:gd name="T31" fmla="*/ 58 h 98"/>
                  <a:gd name="T32" fmla="*/ 36 w 36"/>
                  <a:gd name="T33" fmla="*/ 18 h 98"/>
                  <a:gd name="T34" fmla="*/ 34 w 36"/>
                  <a:gd name="T35" fmla="*/ 9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6" h="98">
                    <a:moveTo>
                      <a:pt x="34" y="9"/>
                    </a:moveTo>
                    <a:cubicBezTo>
                      <a:pt x="26" y="15"/>
                      <a:pt x="24" y="25"/>
                      <a:pt x="23" y="27"/>
                    </a:cubicBezTo>
                    <a:cubicBezTo>
                      <a:pt x="23" y="28"/>
                      <a:pt x="23" y="28"/>
                      <a:pt x="23" y="28"/>
                    </a:cubicBezTo>
                    <a:cubicBezTo>
                      <a:pt x="23" y="28"/>
                      <a:pt x="23" y="28"/>
                      <a:pt x="23" y="27"/>
                    </a:cubicBezTo>
                    <a:cubicBezTo>
                      <a:pt x="23" y="23"/>
                      <a:pt x="20" y="0"/>
                      <a:pt x="20" y="0"/>
                    </a:cubicBezTo>
                    <a:cubicBezTo>
                      <a:pt x="14" y="4"/>
                      <a:pt x="14" y="4"/>
                      <a:pt x="14" y="4"/>
                    </a:cubicBezTo>
                    <a:cubicBezTo>
                      <a:pt x="16" y="8"/>
                      <a:pt x="17" y="28"/>
                      <a:pt x="18" y="33"/>
                    </a:cubicBezTo>
                    <a:cubicBezTo>
                      <a:pt x="18" y="34"/>
                      <a:pt x="18" y="34"/>
                      <a:pt x="18" y="35"/>
                    </a:cubicBezTo>
                    <a:cubicBezTo>
                      <a:pt x="18" y="35"/>
                      <a:pt x="18" y="34"/>
                      <a:pt x="18" y="33"/>
                    </a:cubicBezTo>
                    <a:cubicBezTo>
                      <a:pt x="16" y="21"/>
                      <a:pt x="1" y="4"/>
                      <a:pt x="1" y="4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5" y="16"/>
                      <a:pt x="10" y="30"/>
                      <a:pt x="13" y="45"/>
                    </a:cubicBezTo>
                    <a:cubicBezTo>
                      <a:pt x="17" y="61"/>
                      <a:pt x="11" y="98"/>
                      <a:pt x="11" y="98"/>
                    </a:cubicBezTo>
                    <a:cubicBezTo>
                      <a:pt x="31" y="98"/>
                      <a:pt x="31" y="98"/>
                      <a:pt x="31" y="98"/>
                    </a:cubicBezTo>
                    <a:cubicBezTo>
                      <a:pt x="33" y="98"/>
                      <a:pt x="33" y="98"/>
                      <a:pt x="33" y="98"/>
                    </a:cubicBezTo>
                    <a:cubicBezTo>
                      <a:pt x="31" y="93"/>
                      <a:pt x="29" y="58"/>
                      <a:pt x="29" y="58"/>
                    </a:cubicBezTo>
                    <a:cubicBezTo>
                      <a:pt x="27" y="27"/>
                      <a:pt x="36" y="18"/>
                      <a:pt x="36" y="18"/>
                    </a:cubicBezTo>
                    <a:lnTo>
                      <a:pt x="34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31" name="Freeform 6078"/>
              <p:cNvSpPr>
                <a:spLocks/>
              </p:cNvSpPr>
              <p:nvPr/>
            </p:nvSpPr>
            <p:spPr bwMode="auto">
              <a:xfrm>
                <a:off x="-1067" y="2086"/>
                <a:ext cx="62" cy="90"/>
              </a:xfrm>
              <a:custGeom>
                <a:avLst/>
                <a:gdLst>
                  <a:gd name="T0" fmla="*/ 26 w 39"/>
                  <a:gd name="T1" fmla="*/ 18 h 56"/>
                  <a:gd name="T2" fmla="*/ 14 w 39"/>
                  <a:gd name="T3" fmla="*/ 4 h 56"/>
                  <a:gd name="T4" fmla="*/ 16 w 39"/>
                  <a:gd name="T5" fmla="*/ 51 h 56"/>
                  <a:gd name="T6" fmla="*/ 28 w 39"/>
                  <a:gd name="T7" fmla="*/ 36 h 56"/>
                  <a:gd name="T8" fmla="*/ 26 w 39"/>
                  <a:gd name="T9" fmla="*/ 18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56">
                    <a:moveTo>
                      <a:pt x="26" y="18"/>
                    </a:moveTo>
                    <a:cubicBezTo>
                      <a:pt x="34" y="0"/>
                      <a:pt x="14" y="4"/>
                      <a:pt x="14" y="4"/>
                    </a:cubicBezTo>
                    <a:cubicBezTo>
                      <a:pt x="0" y="7"/>
                      <a:pt x="16" y="51"/>
                      <a:pt x="16" y="51"/>
                    </a:cubicBezTo>
                    <a:cubicBezTo>
                      <a:pt x="35" y="56"/>
                      <a:pt x="28" y="36"/>
                      <a:pt x="28" y="36"/>
                    </a:cubicBezTo>
                    <a:cubicBezTo>
                      <a:pt x="39" y="25"/>
                      <a:pt x="26" y="18"/>
                      <a:pt x="26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32" name="Freeform 6079"/>
              <p:cNvSpPr>
                <a:spLocks/>
              </p:cNvSpPr>
              <p:nvPr/>
            </p:nvSpPr>
            <p:spPr bwMode="auto">
              <a:xfrm>
                <a:off x="-1143" y="1997"/>
                <a:ext cx="102" cy="126"/>
              </a:xfrm>
              <a:custGeom>
                <a:avLst/>
                <a:gdLst>
                  <a:gd name="T0" fmla="*/ 54 w 63"/>
                  <a:gd name="T1" fmla="*/ 54 h 78"/>
                  <a:gd name="T2" fmla="*/ 56 w 63"/>
                  <a:gd name="T3" fmla="*/ 42 h 78"/>
                  <a:gd name="T4" fmla="*/ 45 w 63"/>
                  <a:gd name="T5" fmla="*/ 36 h 78"/>
                  <a:gd name="T6" fmla="*/ 44 w 63"/>
                  <a:gd name="T7" fmla="*/ 37 h 78"/>
                  <a:gd name="T8" fmla="*/ 45 w 63"/>
                  <a:gd name="T9" fmla="*/ 36 h 78"/>
                  <a:gd name="T10" fmla="*/ 49 w 63"/>
                  <a:gd name="T11" fmla="*/ 24 h 78"/>
                  <a:gd name="T12" fmla="*/ 30 w 63"/>
                  <a:gd name="T13" fmla="*/ 13 h 78"/>
                  <a:gd name="T14" fmla="*/ 15 w 63"/>
                  <a:gd name="T15" fmla="*/ 2 h 78"/>
                  <a:gd name="T16" fmla="*/ 6 w 63"/>
                  <a:gd name="T17" fmla="*/ 13 h 78"/>
                  <a:gd name="T18" fmla="*/ 12 w 63"/>
                  <a:gd name="T19" fmla="*/ 28 h 78"/>
                  <a:gd name="T20" fmla="*/ 20 w 63"/>
                  <a:gd name="T21" fmla="*/ 42 h 78"/>
                  <a:gd name="T22" fmla="*/ 31 w 63"/>
                  <a:gd name="T23" fmla="*/ 59 h 78"/>
                  <a:gd name="T24" fmla="*/ 47 w 63"/>
                  <a:gd name="T25" fmla="*/ 76 h 78"/>
                  <a:gd name="T26" fmla="*/ 60 w 63"/>
                  <a:gd name="T27" fmla="*/ 67 h 78"/>
                  <a:gd name="T28" fmla="*/ 54 w 63"/>
                  <a:gd name="T29" fmla="*/ 54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63" h="78">
                    <a:moveTo>
                      <a:pt x="54" y="54"/>
                    </a:moveTo>
                    <a:cubicBezTo>
                      <a:pt x="58" y="45"/>
                      <a:pt x="56" y="42"/>
                      <a:pt x="56" y="42"/>
                    </a:cubicBezTo>
                    <a:cubicBezTo>
                      <a:pt x="55" y="36"/>
                      <a:pt x="48" y="36"/>
                      <a:pt x="45" y="36"/>
                    </a:cubicBezTo>
                    <a:cubicBezTo>
                      <a:pt x="45" y="37"/>
                      <a:pt x="44" y="37"/>
                      <a:pt x="44" y="37"/>
                    </a:cubicBezTo>
                    <a:cubicBezTo>
                      <a:pt x="44" y="37"/>
                      <a:pt x="44" y="36"/>
                      <a:pt x="45" y="36"/>
                    </a:cubicBezTo>
                    <a:cubicBezTo>
                      <a:pt x="50" y="34"/>
                      <a:pt x="49" y="24"/>
                      <a:pt x="49" y="24"/>
                    </a:cubicBezTo>
                    <a:cubicBezTo>
                      <a:pt x="46" y="7"/>
                      <a:pt x="30" y="13"/>
                      <a:pt x="30" y="13"/>
                    </a:cubicBezTo>
                    <a:cubicBezTo>
                      <a:pt x="29" y="0"/>
                      <a:pt x="15" y="2"/>
                      <a:pt x="15" y="2"/>
                    </a:cubicBezTo>
                    <a:cubicBezTo>
                      <a:pt x="6" y="3"/>
                      <a:pt x="6" y="13"/>
                      <a:pt x="6" y="13"/>
                    </a:cubicBezTo>
                    <a:cubicBezTo>
                      <a:pt x="5" y="19"/>
                      <a:pt x="12" y="28"/>
                      <a:pt x="12" y="28"/>
                    </a:cubicBezTo>
                    <a:cubicBezTo>
                      <a:pt x="0" y="48"/>
                      <a:pt x="20" y="42"/>
                      <a:pt x="20" y="42"/>
                    </a:cubicBezTo>
                    <a:cubicBezTo>
                      <a:pt x="6" y="54"/>
                      <a:pt x="31" y="59"/>
                      <a:pt x="31" y="59"/>
                    </a:cubicBezTo>
                    <a:cubicBezTo>
                      <a:pt x="26" y="78"/>
                      <a:pt x="47" y="76"/>
                      <a:pt x="47" y="76"/>
                    </a:cubicBezTo>
                    <a:cubicBezTo>
                      <a:pt x="59" y="77"/>
                      <a:pt x="60" y="67"/>
                      <a:pt x="60" y="67"/>
                    </a:cubicBezTo>
                    <a:cubicBezTo>
                      <a:pt x="63" y="60"/>
                      <a:pt x="54" y="54"/>
                      <a:pt x="54" y="5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33" name="Freeform 6080"/>
              <p:cNvSpPr>
                <a:spLocks/>
              </p:cNvSpPr>
              <p:nvPr/>
            </p:nvSpPr>
            <p:spPr bwMode="auto">
              <a:xfrm>
                <a:off x="-1072" y="2055"/>
                <a:ext cx="2" cy="2"/>
              </a:xfrm>
              <a:custGeom>
                <a:avLst/>
                <a:gdLst>
                  <a:gd name="T0" fmla="*/ 1 w 1"/>
                  <a:gd name="T1" fmla="*/ 0 h 1"/>
                  <a:gd name="T2" fmla="*/ 0 w 1"/>
                  <a:gd name="T3" fmla="*/ 1 h 1"/>
                  <a:gd name="T4" fmla="*/ 1 w 1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34" name="Freeform 6081"/>
              <p:cNvSpPr>
                <a:spLocks/>
              </p:cNvSpPr>
              <p:nvPr/>
            </p:nvSpPr>
            <p:spPr bwMode="auto">
              <a:xfrm>
                <a:off x="-1204" y="2010"/>
                <a:ext cx="126" cy="122"/>
              </a:xfrm>
              <a:custGeom>
                <a:avLst/>
                <a:gdLst>
                  <a:gd name="T0" fmla="*/ 61 w 78"/>
                  <a:gd name="T1" fmla="*/ 25 h 76"/>
                  <a:gd name="T2" fmla="*/ 50 w 78"/>
                  <a:gd name="T3" fmla="*/ 15 h 76"/>
                  <a:gd name="T4" fmla="*/ 39 w 78"/>
                  <a:gd name="T5" fmla="*/ 1 h 76"/>
                  <a:gd name="T6" fmla="*/ 29 w 78"/>
                  <a:gd name="T7" fmla="*/ 14 h 76"/>
                  <a:gd name="T8" fmla="*/ 15 w 78"/>
                  <a:gd name="T9" fmla="*/ 27 h 76"/>
                  <a:gd name="T10" fmla="*/ 23 w 78"/>
                  <a:gd name="T11" fmla="*/ 51 h 76"/>
                  <a:gd name="T12" fmla="*/ 37 w 78"/>
                  <a:gd name="T13" fmla="*/ 62 h 76"/>
                  <a:gd name="T14" fmla="*/ 54 w 78"/>
                  <a:gd name="T15" fmla="*/ 59 h 76"/>
                  <a:gd name="T16" fmla="*/ 61 w 78"/>
                  <a:gd name="T17" fmla="*/ 40 h 76"/>
                  <a:gd name="T18" fmla="*/ 61 w 78"/>
                  <a:gd name="T19" fmla="*/ 25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8" h="76">
                    <a:moveTo>
                      <a:pt x="61" y="25"/>
                    </a:moveTo>
                    <a:cubicBezTo>
                      <a:pt x="62" y="12"/>
                      <a:pt x="50" y="15"/>
                      <a:pt x="50" y="15"/>
                    </a:cubicBezTo>
                    <a:cubicBezTo>
                      <a:pt x="48" y="0"/>
                      <a:pt x="39" y="1"/>
                      <a:pt x="39" y="1"/>
                    </a:cubicBezTo>
                    <a:cubicBezTo>
                      <a:pt x="30" y="2"/>
                      <a:pt x="29" y="14"/>
                      <a:pt x="29" y="14"/>
                    </a:cubicBezTo>
                    <a:cubicBezTo>
                      <a:pt x="12" y="13"/>
                      <a:pt x="15" y="27"/>
                      <a:pt x="15" y="27"/>
                    </a:cubicBezTo>
                    <a:cubicBezTo>
                      <a:pt x="0" y="42"/>
                      <a:pt x="23" y="51"/>
                      <a:pt x="23" y="51"/>
                    </a:cubicBezTo>
                    <a:cubicBezTo>
                      <a:pt x="18" y="70"/>
                      <a:pt x="37" y="62"/>
                      <a:pt x="37" y="62"/>
                    </a:cubicBezTo>
                    <a:cubicBezTo>
                      <a:pt x="48" y="76"/>
                      <a:pt x="54" y="59"/>
                      <a:pt x="54" y="59"/>
                    </a:cubicBezTo>
                    <a:cubicBezTo>
                      <a:pt x="65" y="60"/>
                      <a:pt x="61" y="40"/>
                      <a:pt x="61" y="40"/>
                    </a:cubicBezTo>
                    <a:cubicBezTo>
                      <a:pt x="78" y="31"/>
                      <a:pt x="61" y="25"/>
                      <a:pt x="61" y="2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35" name="Freeform 6082"/>
              <p:cNvSpPr>
                <a:spLocks/>
              </p:cNvSpPr>
              <p:nvPr/>
            </p:nvSpPr>
            <p:spPr bwMode="auto">
              <a:xfrm>
                <a:off x="-1238" y="2053"/>
                <a:ext cx="116" cy="115"/>
              </a:xfrm>
              <a:custGeom>
                <a:avLst/>
                <a:gdLst>
                  <a:gd name="T0" fmla="*/ 55 w 72"/>
                  <a:gd name="T1" fmla="*/ 30 h 71"/>
                  <a:gd name="T2" fmla="*/ 58 w 72"/>
                  <a:gd name="T3" fmla="*/ 18 h 71"/>
                  <a:gd name="T4" fmla="*/ 42 w 72"/>
                  <a:gd name="T5" fmla="*/ 15 h 71"/>
                  <a:gd name="T6" fmla="*/ 33 w 72"/>
                  <a:gd name="T7" fmla="*/ 0 h 71"/>
                  <a:gd name="T8" fmla="*/ 23 w 72"/>
                  <a:gd name="T9" fmla="*/ 14 h 71"/>
                  <a:gd name="T10" fmla="*/ 16 w 72"/>
                  <a:gd name="T11" fmla="*/ 28 h 71"/>
                  <a:gd name="T12" fmla="*/ 13 w 72"/>
                  <a:gd name="T13" fmla="*/ 49 h 71"/>
                  <a:gd name="T14" fmla="*/ 15 w 72"/>
                  <a:gd name="T15" fmla="*/ 49 h 71"/>
                  <a:gd name="T16" fmla="*/ 29 w 72"/>
                  <a:gd name="T17" fmla="*/ 56 h 71"/>
                  <a:gd name="T18" fmla="*/ 42 w 72"/>
                  <a:gd name="T19" fmla="*/ 55 h 71"/>
                  <a:gd name="T20" fmla="*/ 66 w 72"/>
                  <a:gd name="T21" fmla="*/ 47 h 71"/>
                  <a:gd name="T22" fmla="*/ 55 w 72"/>
                  <a:gd name="T23" fmla="*/ 30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2" h="71">
                    <a:moveTo>
                      <a:pt x="55" y="30"/>
                    </a:moveTo>
                    <a:cubicBezTo>
                      <a:pt x="62" y="29"/>
                      <a:pt x="58" y="18"/>
                      <a:pt x="58" y="18"/>
                    </a:cubicBezTo>
                    <a:cubicBezTo>
                      <a:pt x="54" y="8"/>
                      <a:pt x="42" y="15"/>
                      <a:pt x="42" y="15"/>
                    </a:cubicBezTo>
                    <a:cubicBezTo>
                      <a:pt x="47" y="0"/>
                      <a:pt x="33" y="0"/>
                      <a:pt x="33" y="0"/>
                    </a:cubicBezTo>
                    <a:cubicBezTo>
                      <a:pt x="24" y="0"/>
                      <a:pt x="23" y="14"/>
                      <a:pt x="23" y="14"/>
                    </a:cubicBezTo>
                    <a:cubicBezTo>
                      <a:pt x="8" y="15"/>
                      <a:pt x="16" y="28"/>
                      <a:pt x="16" y="28"/>
                    </a:cubicBezTo>
                    <a:cubicBezTo>
                      <a:pt x="0" y="35"/>
                      <a:pt x="13" y="49"/>
                      <a:pt x="13" y="49"/>
                    </a:cubicBezTo>
                    <a:cubicBezTo>
                      <a:pt x="14" y="50"/>
                      <a:pt x="15" y="49"/>
                      <a:pt x="15" y="49"/>
                    </a:cubicBezTo>
                    <a:cubicBezTo>
                      <a:pt x="14" y="66"/>
                      <a:pt x="29" y="56"/>
                      <a:pt x="29" y="56"/>
                    </a:cubicBezTo>
                    <a:cubicBezTo>
                      <a:pt x="30" y="65"/>
                      <a:pt x="42" y="55"/>
                      <a:pt x="42" y="55"/>
                    </a:cubicBezTo>
                    <a:cubicBezTo>
                      <a:pt x="57" y="71"/>
                      <a:pt x="66" y="47"/>
                      <a:pt x="66" y="47"/>
                    </a:cubicBezTo>
                    <a:cubicBezTo>
                      <a:pt x="72" y="33"/>
                      <a:pt x="55" y="30"/>
                      <a:pt x="55" y="3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36" name="Freeform 6083"/>
              <p:cNvSpPr>
                <a:spLocks/>
              </p:cNvSpPr>
              <p:nvPr/>
            </p:nvSpPr>
            <p:spPr bwMode="auto">
              <a:xfrm>
                <a:off x="-1193" y="2199"/>
                <a:ext cx="15" cy="22"/>
              </a:xfrm>
              <a:custGeom>
                <a:avLst/>
                <a:gdLst>
                  <a:gd name="T0" fmla="*/ 9 w 9"/>
                  <a:gd name="T1" fmla="*/ 14 h 14"/>
                  <a:gd name="T2" fmla="*/ 9 w 9"/>
                  <a:gd name="T3" fmla="*/ 14 h 14"/>
                  <a:gd name="T4" fmla="*/ 9 w 9"/>
                  <a:gd name="T5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14">
                    <a:moveTo>
                      <a:pt x="9" y="14"/>
                    </a:moveTo>
                    <a:cubicBezTo>
                      <a:pt x="9" y="14"/>
                      <a:pt x="9" y="14"/>
                      <a:pt x="9" y="14"/>
                    </a:cubicBezTo>
                    <a:cubicBezTo>
                      <a:pt x="8" y="12"/>
                      <a:pt x="0" y="0"/>
                      <a:pt x="9" y="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37" name="Freeform 6084"/>
              <p:cNvSpPr>
                <a:spLocks/>
              </p:cNvSpPr>
              <p:nvPr/>
            </p:nvSpPr>
            <p:spPr bwMode="auto">
              <a:xfrm>
                <a:off x="-1239" y="2113"/>
                <a:ext cx="125" cy="133"/>
              </a:xfrm>
              <a:custGeom>
                <a:avLst/>
                <a:gdLst>
                  <a:gd name="T0" fmla="*/ 64 w 78"/>
                  <a:gd name="T1" fmla="*/ 26 h 82"/>
                  <a:gd name="T2" fmla="*/ 51 w 78"/>
                  <a:gd name="T3" fmla="*/ 17 h 82"/>
                  <a:gd name="T4" fmla="*/ 36 w 78"/>
                  <a:gd name="T5" fmla="*/ 8 h 82"/>
                  <a:gd name="T6" fmla="*/ 31 w 78"/>
                  <a:gd name="T7" fmla="*/ 1 h 82"/>
                  <a:gd name="T8" fmla="*/ 30 w 78"/>
                  <a:gd name="T9" fmla="*/ 1 h 82"/>
                  <a:gd name="T10" fmla="*/ 17 w 78"/>
                  <a:gd name="T11" fmla="*/ 12 h 82"/>
                  <a:gd name="T12" fmla="*/ 16 w 78"/>
                  <a:gd name="T13" fmla="*/ 29 h 82"/>
                  <a:gd name="T14" fmla="*/ 18 w 78"/>
                  <a:gd name="T15" fmla="*/ 43 h 82"/>
                  <a:gd name="T16" fmla="*/ 26 w 78"/>
                  <a:gd name="T17" fmla="*/ 54 h 82"/>
                  <a:gd name="T18" fmla="*/ 38 w 78"/>
                  <a:gd name="T19" fmla="*/ 67 h 82"/>
                  <a:gd name="T20" fmla="*/ 38 w 78"/>
                  <a:gd name="T21" fmla="*/ 67 h 82"/>
                  <a:gd name="T22" fmla="*/ 38 w 78"/>
                  <a:gd name="T23" fmla="*/ 67 h 82"/>
                  <a:gd name="T24" fmla="*/ 38 w 78"/>
                  <a:gd name="T25" fmla="*/ 67 h 82"/>
                  <a:gd name="T26" fmla="*/ 39 w 78"/>
                  <a:gd name="T27" fmla="*/ 68 h 82"/>
                  <a:gd name="T28" fmla="*/ 54 w 78"/>
                  <a:gd name="T29" fmla="*/ 69 h 82"/>
                  <a:gd name="T30" fmla="*/ 55 w 78"/>
                  <a:gd name="T31" fmla="*/ 69 h 82"/>
                  <a:gd name="T32" fmla="*/ 67 w 78"/>
                  <a:gd name="T33" fmla="*/ 61 h 82"/>
                  <a:gd name="T34" fmla="*/ 68 w 78"/>
                  <a:gd name="T35" fmla="*/ 52 h 82"/>
                  <a:gd name="T36" fmla="*/ 70 w 78"/>
                  <a:gd name="T37" fmla="*/ 38 h 82"/>
                  <a:gd name="T38" fmla="*/ 64 w 78"/>
                  <a:gd name="T39" fmla="*/ 26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78" h="82">
                    <a:moveTo>
                      <a:pt x="64" y="26"/>
                    </a:moveTo>
                    <a:cubicBezTo>
                      <a:pt x="64" y="11"/>
                      <a:pt x="51" y="17"/>
                      <a:pt x="51" y="17"/>
                    </a:cubicBezTo>
                    <a:cubicBezTo>
                      <a:pt x="46" y="0"/>
                      <a:pt x="36" y="8"/>
                      <a:pt x="36" y="8"/>
                    </a:cubicBezTo>
                    <a:cubicBezTo>
                      <a:pt x="36" y="4"/>
                      <a:pt x="31" y="1"/>
                      <a:pt x="31" y="1"/>
                    </a:cubicBezTo>
                    <a:cubicBezTo>
                      <a:pt x="30" y="1"/>
                      <a:pt x="30" y="1"/>
                      <a:pt x="30" y="1"/>
                    </a:cubicBezTo>
                    <a:cubicBezTo>
                      <a:pt x="17" y="0"/>
                      <a:pt x="17" y="12"/>
                      <a:pt x="17" y="12"/>
                    </a:cubicBezTo>
                    <a:cubicBezTo>
                      <a:pt x="0" y="20"/>
                      <a:pt x="16" y="29"/>
                      <a:pt x="16" y="29"/>
                    </a:cubicBezTo>
                    <a:cubicBezTo>
                      <a:pt x="3" y="36"/>
                      <a:pt x="18" y="43"/>
                      <a:pt x="18" y="43"/>
                    </a:cubicBezTo>
                    <a:cubicBezTo>
                      <a:pt x="15" y="60"/>
                      <a:pt x="26" y="54"/>
                      <a:pt x="26" y="54"/>
                    </a:cubicBezTo>
                    <a:cubicBezTo>
                      <a:pt x="23" y="75"/>
                      <a:pt x="38" y="67"/>
                      <a:pt x="38" y="67"/>
                    </a:cubicBezTo>
                    <a:cubicBezTo>
                      <a:pt x="38" y="67"/>
                      <a:pt x="38" y="67"/>
                      <a:pt x="38" y="67"/>
                    </a:cubicBezTo>
                    <a:cubicBezTo>
                      <a:pt x="38" y="67"/>
                      <a:pt x="38" y="67"/>
                      <a:pt x="38" y="67"/>
                    </a:cubicBezTo>
                    <a:cubicBezTo>
                      <a:pt x="29" y="53"/>
                      <a:pt x="37" y="65"/>
                      <a:pt x="38" y="67"/>
                    </a:cubicBezTo>
                    <a:cubicBezTo>
                      <a:pt x="38" y="67"/>
                      <a:pt x="39" y="67"/>
                      <a:pt x="39" y="68"/>
                    </a:cubicBezTo>
                    <a:cubicBezTo>
                      <a:pt x="48" y="82"/>
                      <a:pt x="54" y="69"/>
                      <a:pt x="54" y="69"/>
                    </a:cubicBezTo>
                    <a:cubicBezTo>
                      <a:pt x="54" y="69"/>
                      <a:pt x="54" y="69"/>
                      <a:pt x="55" y="69"/>
                    </a:cubicBezTo>
                    <a:cubicBezTo>
                      <a:pt x="71" y="79"/>
                      <a:pt x="67" y="61"/>
                      <a:pt x="67" y="61"/>
                    </a:cubicBezTo>
                    <a:cubicBezTo>
                      <a:pt x="75" y="56"/>
                      <a:pt x="68" y="52"/>
                      <a:pt x="68" y="52"/>
                    </a:cubicBezTo>
                    <a:cubicBezTo>
                      <a:pt x="78" y="49"/>
                      <a:pt x="70" y="38"/>
                      <a:pt x="70" y="38"/>
                    </a:cubicBezTo>
                    <a:cubicBezTo>
                      <a:pt x="76" y="31"/>
                      <a:pt x="64" y="26"/>
                      <a:pt x="64" y="2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38" name="Freeform 6085"/>
              <p:cNvSpPr>
                <a:spLocks/>
              </p:cNvSpPr>
              <p:nvPr/>
            </p:nvSpPr>
            <p:spPr bwMode="auto">
              <a:xfrm>
                <a:off x="-1136" y="2073"/>
                <a:ext cx="114" cy="158"/>
              </a:xfrm>
              <a:custGeom>
                <a:avLst/>
                <a:gdLst>
                  <a:gd name="T0" fmla="*/ 61 w 71"/>
                  <a:gd name="T1" fmla="*/ 62 h 98"/>
                  <a:gd name="T2" fmla="*/ 64 w 71"/>
                  <a:gd name="T3" fmla="*/ 51 h 98"/>
                  <a:gd name="T4" fmla="*/ 56 w 71"/>
                  <a:gd name="T5" fmla="*/ 41 h 98"/>
                  <a:gd name="T6" fmla="*/ 56 w 71"/>
                  <a:gd name="T7" fmla="*/ 30 h 98"/>
                  <a:gd name="T8" fmla="*/ 47 w 71"/>
                  <a:gd name="T9" fmla="*/ 26 h 98"/>
                  <a:gd name="T10" fmla="*/ 32 w 71"/>
                  <a:gd name="T11" fmla="*/ 10 h 98"/>
                  <a:gd name="T12" fmla="*/ 21 w 71"/>
                  <a:gd name="T13" fmla="*/ 0 h 98"/>
                  <a:gd name="T14" fmla="*/ 12 w 71"/>
                  <a:gd name="T15" fmla="*/ 16 h 98"/>
                  <a:gd name="T16" fmla="*/ 2 w 71"/>
                  <a:gd name="T17" fmla="*/ 34 h 98"/>
                  <a:gd name="T18" fmla="*/ 18 w 71"/>
                  <a:gd name="T19" fmla="*/ 56 h 98"/>
                  <a:gd name="T20" fmla="*/ 30 w 71"/>
                  <a:gd name="T21" fmla="*/ 54 h 98"/>
                  <a:gd name="T22" fmla="*/ 30 w 71"/>
                  <a:gd name="T23" fmla="*/ 55 h 98"/>
                  <a:gd name="T24" fmla="*/ 41 w 71"/>
                  <a:gd name="T25" fmla="*/ 66 h 98"/>
                  <a:gd name="T26" fmla="*/ 67 w 71"/>
                  <a:gd name="T27" fmla="*/ 74 h 98"/>
                  <a:gd name="T28" fmla="*/ 61 w 71"/>
                  <a:gd name="T29" fmla="*/ 62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71" h="98">
                    <a:moveTo>
                      <a:pt x="61" y="62"/>
                    </a:moveTo>
                    <a:cubicBezTo>
                      <a:pt x="64" y="61"/>
                      <a:pt x="64" y="51"/>
                      <a:pt x="64" y="51"/>
                    </a:cubicBezTo>
                    <a:cubicBezTo>
                      <a:pt x="64" y="43"/>
                      <a:pt x="56" y="41"/>
                      <a:pt x="56" y="41"/>
                    </a:cubicBezTo>
                    <a:cubicBezTo>
                      <a:pt x="59" y="37"/>
                      <a:pt x="56" y="30"/>
                      <a:pt x="56" y="30"/>
                    </a:cubicBezTo>
                    <a:cubicBezTo>
                      <a:pt x="53" y="24"/>
                      <a:pt x="47" y="26"/>
                      <a:pt x="47" y="26"/>
                    </a:cubicBezTo>
                    <a:cubicBezTo>
                      <a:pt x="49" y="10"/>
                      <a:pt x="32" y="10"/>
                      <a:pt x="32" y="10"/>
                    </a:cubicBezTo>
                    <a:cubicBezTo>
                      <a:pt x="32" y="1"/>
                      <a:pt x="21" y="0"/>
                      <a:pt x="21" y="0"/>
                    </a:cubicBezTo>
                    <a:cubicBezTo>
                      <a:pt x="10" y="2"/>
                      <a:pt x="12" y="16"/>
                      <a:pt x="12" y="16"/>
                    </a:cubicBezTo>
                    <a:cubicBezTo>
                      <a:pt x="0" y="17"/>
                      <a:pt x="2" y="34"/>
                      <a:pt x="2" y="34"/>
                    </a:cubicBezTo>
                    <a:cubicBezTo>
                      <a:pt x="1" y="79"/>
                      <a:pt x="18" y="56"/>
                      <a:pt x="18" y="56"/>
                    </a:cubicBezTo>
                    <a:cubicBezTo>
                      <a:pt x="23" y="64"/>
                      <a:pt x="30" y="54"/>
                      <a:pt x="30" y="54"/>
                    </a:cubicBezTo>
                    <a:cubicBezTo>
                      <a:pt x="30" y="55"/>
                      <a:pt x="30" y="55"/>
                      <a:pt x="30" y="55"/>
                    </a:cubicBezTo>
                    <a:cubicBezTo>
                      <a:pt x="25" y="69"/>
                      <a:pt x="41" y="66"/>
                      <a:pt x="41" y="66"/>
                    </a:cubicBezTo>
                    <a:cubicBezTo>
                      <a:pt x="59" y="98"/>
                      <a:pt x="67" y="74"/>
                      <a:pt x="67" y="74"/>
                    </a:cubicBezTo>
                    <a:cubicBezTo>
                      <a:pt x="71" y="67"/>
                      <a:pt x="61" y="62"/>
                      <a:pt x="61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39" name="Freeform 6086"/>
              <p:cNvSpPr>
                <a:spLocks/>
              </p:cNvSpPr>
              <p:nvPr/>
            </p:nvSpPr>
            <p:spPr bwMode="auto">
              <a:xfrm>
                <a:off x="-1180" y="2094"/>
                <a:ext cx="179" cy="152"/>
              </a:xfrm>
              <a:custGeom>
                <a:avLst/>
                <a:gdLst>
                  <a:gd name="T0" fmla="*/ 101 w 111"/>
                  <a:gd name="T1" fmla="*/ 68 h 94"/>
                  <a:gd name="T2" fmla="*/ 85 w 111"/>
                  <a:gd name="T3" fmla="*/ 63 h 94"/>
                  <a:gd name="T4" fmla="*/ 77 w 111"/>
                  <a:gd name="T5" fmla="*/ 52 h 94"/>
                  <a:gd name="T6" fmla="*/ 62 w 111"/>
                  <a:gd name="T7" fmla="*/ 34 h 94"/>
                  <a:gd name="T8" fmla="*/ 54 w 111"/>
                  <a:gd name="T9" fmla="*/ 22 h 94"/>
                  <a:gd name="T10" fmla="*/ 34 w 111"/>
                  <a:gd name="T11" fmla="*/ 23 h 94"/>
                  <a:gd name="T12" fmla="*/ 22 w 111"/>
                  <a:gd name="T13" fmla="*/ 33 h 94"/>
                  <a:gd name="T14" fmla="*/ 14 w 111"/>
                  <a:gd name="T15" fmla="*/ 52 h 94"/>
                  <a:gd name="T16" fmla="*/ 22 w 111"/>
                  <a:gd name="T17" fmla="*/ 68 h 94"/>
                  <a:gd name="T18" fmla="*/ 38 w 111"/>
                  <a:gd name="T19" fmla="*/ 56 h 94"/>
                  <a:gd name="T20" fmla="*/ 56 w 111"/>
                  <a:gd name="T21" fmla="*/ 56 h 94"/>
                  <a:gd name="T22" fmla="*/ 68 w 111"/>
                  <a:gd name="T23" fmla="*/ 63 h 94"/>
                  <a:gd name="T24" fmla="*/ 69 w 111"/>
                  <a:gd name="T25" fmla="*/ 62 h 94"/>
                  <a:gd name="T26" fmla="*/ 69 w 111"/>
                  <a:gd name="T27" fmla="*/ 63 h 94"/>
                  <a:gd name="T28" fmla="*/ 85 w 111"/>
                  <a:gd name="T29" fmla="*/ 77 h 94"/>
                  <a:gd name="T30" fmla="*/ 106 w 111"/>
                  <a:gd name="T31" fmla="*/ 81 h 94"/>
                  <a:gd name="T32" fmla="*/ 101 w 111"/>
                  <a:gd name="T33" fmla="*/ 68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1" h="94">
                    <a:moveTo>
                      <a:pt x="101" y="68"/>
                    </a:moveTo>
                    <a:cubicBezTo>
                      <a:pt x="101" y="68"/>
                      <a:pt x="99" y="49"/>
                      <a:pt x="85" y="63"/>
                    </a:cubicBezTo>
                    <a:cubicBezTo>
                      <a:pt x="85" y="63"/>
                      <a:pt x="90" y="52"/>
                      <a:pt x="77" y="52"/>
                    </a:cubicBezTo>
                    <a:cubicBezTo>
                      <a:pt x="77" y="52"/>
                      <a:pt x="86" y="28"/>
                      <a:pt x="62" y="34"/>
                    </a:cubicBezTo>
                    <a:cubicBezTo>
                      <a:pt x="62" y="34"/>
                      <a:pt x="69" y="20"/>
                      <a:pt x="54" y="22"/>
                    </a:cubicBezTo>
                    <a:cubicBezTo>
                      <a:pt x="54" y="22"/>
                      <a:pt x="44" y="0"/>
                      <a:pt x="34" y="23"/>
                    </a:cubicBezTo>
                    <a:cubicBezTo>
                      <a:pt x="34" y="23"/>
                      <a:pt x="18" y="16"/>
                      <a:pt x="22" y="33"/>
                    </a:cubicBezTo>
                    <a:cubicBezTo>
                      <a:pt x="22" y="33"/>
                      <a:pt x="3" y="36"/>
                      <a:pt x="14" y="52"/>
                    </a:cubicBezTo>
                    <a:cubicBezTo>
                      <a:pt x="14" y="52"/>
                      <a:pt x="0" y="73"/>
                      <a:pt x="22" y="68"/>
                    </a:cubicBezTo>
                    <a:cubicBezTo>
                      <a:pt x="22" y="68"/>
                      <a:pt x="37" y="83"/>
                      <a:pt x="38" y="56"/>
                    </a:cubicBezTo>
                    <a:cubicBezTo>
                      <a:pt x="38" y="56"/>
                      <a:pt x="48" y="76"/>
                      <a:pt x="56" y="56"/>
                    </a:cubicBezTo>
                    <a:cubicBezTo>
                      <a:pt x="56" y="56"/>
                      <a:pt x="56" y="70"/>
                      <a:pt x="68" y="63"/>
                    </a:cubicBezTo>
                    <a:cubicBezTo>
                      <a:pt x="68" y="63"/>
                      <a:pt x="69" y="63"/>
                      <a:pt x="69" y="62"/>
                    </a:cubicBezTo>
                    <a:cubicBezTo>
                      <a:pt x="81" y="54"/>
                      <a:pt x="69" y="63"/>
                      <a:pt x="69" y="63"/>
                    </a:cubicBezTo>
                    <a:cubicBezTo>
                      <a:pt x="69" y="63"/>
                      <a:pt x="66" y="91"/>
                      <a:pt x="85" y="77"/>
                    </a:cubicBezTo>
                    <a:cubicBezTo>
                      <a:pt x="85" y="77"/>
                      <a:pt x="93" y="94"/>
                      <a:pt x="106" y="81"/>
                    </a:cubicBezTo>
                    <a:cubicBezTo>
                      <a:pt x="106" y="81"/>
                      <a:pt x="111" y="70"/>
                      <a:pt x="101" y="6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40" name="Freeform 6087"/>
              <p:cNvSpPr>
                <a:spLocks/>
              </p:cNvSpPr>
              <p:nvPr/>
            </p:nvSpPr>
            <p:spPr bwMode="auto">
              <a:xfrm>
                <a:off x="-1429" y="2068"/>
                <a:ext cx="103" cy="157"/>
              </a:xfrm>
              <a:custGeom>
                <a:avLst/>
                <a:gdLst>
                  <a:gd name="T0" fmla="*/ 52 w 64"/>
                  <a:gd name="T1" fmla="*/ 39 h 97"/>
                  <a:gd name="T2" fmla="*/ 52 w 64"/>
                  <a:gd name="T3" fmla="*/ 8 h 97"/>
                  <a:gd name="T4" fmla="*/ 35 w 64"/>
                  <a:gd name="T5" fmla="*/ 18 h 97"/>
                  <a:gd name="T6" fmla="*/ 25 w 64"/>
                  <a:gd name="T7" fmla="*/ 30 h 97"/>
                  <a:gd name="T8" fmla="*/ 13 w 64"/>
                  <a:gd name="T9" fmla="*/ 46 h 97"/>
                  <a:gd name="T10" fmla="*/ 13 w 64"/>
                  <a:gd name="T11" fmla="*/ 64 h 97"/>
                  <a:gd name="T12" fmla="*/ 18 w 64"/>
                  <a:gd name="T13" fmla="*/ 84 h 97"/>
                  <a:gd name="T14" fmla="*/ 25 w 64"/>
                  <a:gd name="T15" fmla="*/ 97 h 97"/>
                  <a:gd name="T16" fmla="*/ 36 w 64"/>
                  <a:gd name="T17" fmla="*/ 81 h 97"/>
                  <a:gd name="T18" fmla="*/ 43 w 64"/>
                  <a:gd name="T19" fmla="*/ 64 h 97"/>
                  <a:gd name="T20" fmla="*/ 52 w 64"/>
                  <a:gd name="T21" fmla="*/ 39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4" h="97">
                    <a:moveTo>
                      <a:pt x="52" y="39"/>
                    </a:moveTo>
                    <a:cubicBezTo>
                      <a:pt x="52" y="39"/>
                      <a:pt x="60" y="14"/>
                      <a:pt x="52" y="8"/>
                    </a:cubicBezTo>
                    <a:cubicBezTo>
                      <a:pt x="52" y="8"/>
                      <a:pt x="37" y="0"/>
                      <a:pt x="35" y="18"/>
                    </a:cubicBezTo>
                    <a:cubicBezTo>
                      <a:pt x="35" y="18"/>
                      <a:pt x="23" y="17"/>
                      <a:pt x="25" y="30"/>
                    </a:cubicBezTo>
                    <a:cubicBezTo>
                      <a:pt x="25" y="30"/>
                      <a:pt x="6" y="24"/>
                      <a:pt x="13" y="46"/>
                    </a:cubicBezTo>
                    <a:cubicBezTo>
                      <a:pt x="13" y="46"/>
                      <a:pt x="0" y="54"/>
                      <a:pt x="13" y="64"/>
                    </a:cubicBezTo>
                    <a:cubicBezTo>
                      <a:pt x="13" y="64"/>
                      <a:pt x="1" y="78"/>
                      <a:pt x="18" y="84"/>
                    </a:cubicBezTo>
                    <a:cubicBezTo>
                      <a:pt x="18" y="84"/>
                      <a:pt x="14" y="97"/>
                      <a:pt x="25" y="97"/>
                    </a:cubicBezTo>
                    <a:cubicBezTo>
                      <a:pt x="25" y="97"/>
                      <a:pt x="38" y="97"/>
                      <a:pt x="36" y="81"/>
                    </a:cubicBezTo>
                    <a:cubicBezTo>
                      <a:pt x="36" y="81"/>
                      <a:pt x="52" y="75"/>
                      <a:pt x="43" y="64"/>
                    </a:cubicBezTo>
                    <a:cubicBezTo>
                      <a:pt x="43" y="64"/>
                      <a:pt x="64" y="49"/>
                      <a:pt x="52" y="3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41" name="Freeform 6088"/>
              <p:cNvSpPr>
                <a:spLocks/>
              </p:cNvSpPr>
              <p:nvPr/>
            </p:nvSpPr>
            <p:spPr bwMode="auto">
              <a:xfrm>
                <a:off x="-1334" y="2260"/>
                <a:ext cx="0" cy="2"/>
              </a:xfrm>
              <a:custGeom>
                <a:avLst/>
                <a:gdLst>
                  <a:gd name="T0" fmla="*/ 0 h 1"/>
                  <a:gd name="T1" fmla="*/ 1 h 1"/>
                  <a:gd name="T2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42" name="Freeform 6089"/>
              <p:cNvSpPr>
                <a:spLocks/>
              </p:cNvSpPr>
              <p:nvPr/>
            </p:nvSpPr>
            <p:spPr bwMode="auto">
              <a:xfrm>
                <a:off x="-1360" y="2216"/>
                <a:ext cx="50" cy="131"/>
              </a:xfrm>
              <a:custGeom>
                <a:avLst/>
                <a:gdLst>
                  <a:gd name="T0" fmla="*/ 16 w 31"/>
                  <a:gd name="T1" fmla="*/ 27 h 81"/>
                  <a:gd name="T2" fmla="*/ 16 w 31"/>
                  <a:gd name="T3" fmla="*/ 28 h 81"/>
                  <a:gd name="T4" fmla="*/ 16 w 31"/>
                  <a:gd name="T5" fmla="*/ 27 h 81"/>
                  <a:gd name="T6" fmla="*/ 19 w 31"/>
                  <a:gd name="T7" fmla="*/ 3 h 81"/>
                  <a:gd name="T8" fmla="*/ 14 w 31"/>
                  <a:gd name="T9" fmla="*/ 0 h 81"/>
                  <a:gd name="T10" fmla="*/ 11 w 31"/>
                  <a:gd name="T11" fmla="*/ 22 h 81"/>
                  <a:gd name="T12" fmla="*/ 11 w 31"/>
                  <a:gd name="T13" fmla="*/ 23 h 81"/>
                  <a:gd name="T14" fmla="*/ 11 w 31"/>
                  <a:gd name="T15" fmla="*/ 22 h 81"/>
                  <a:gd name="T16" fmla="*/ 2 w 31"/>
                  <a:gd name="T17" fmla="*/ 7 h 81"/>
                  <a:gd name="T18" fmla="*/ 0 w 31"/>
                  <a:gd name="T19" fmla="*/ 14 h 81"/>
                  <a:gd name="T20" fmla="*/ 6 w 31"/>
                  <a:gd name="T21" fmla="*/ 48 h 81"/>
                  <a:gd name="T22" fmla="*/ 3 w 31"/>
                  <a:gd name="T23" fmla="*/ 81 h 81"/>
                  <a:gd name="T24" fmla="*/ 5 w 31"/>
                  <a:gd name="T25" fmla="*/ 81 h 81"/>
                  <a:gd name="T26" fmla="*/ 21 w 31"/>
                  <a:gd name="T27" fmla="*/ 81 h 81"/>
                  <a:gd name="T28" fmla="*/ 19 w 31"/>
                  <a:gd name="T29" fmla="*/ 37 h 81"/>
                  <a:gd name="T30" fmla="*/ 31 w 31"/>
                  <a:gd name="T31" fmla="*/ 11 h 81"/>
                  <a:gd name="T32" fmla="*/ 30 w 31"/>
                  <a:gd name="T33" fmla="*/ 3 h 81"/>
                  <a:gd name="T34" fmla="*/ 16 w 31"/>
                  <a:gd name="T35" fmla="*/ 27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1" h="81">
                    <a:moveTo>
                      <a:pt x="16" y="27"/>
                    </a:move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28"/>
                      <a:pt x="16" y="28"/>
                      <a:pt x="16" y="27"/>
                    </a:cubicBezTo>
                    <a:cubicBezTo>
                      <a:pt x="16" y="23"/>
                      <a:pt x="17" y="6"/>
                      <a:pt x="19" y="3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4" y="0"/>
                      <a:pt x="11" y="19"/>
                      <a:pt x="11" y="22"/>
                    </a:cubicBezTo>
                    <a:cubicBezTo>
                      <a:pt x="11" y="23"/>
                      <a:pt x="11" y="23"/>
                      <a:pt x="11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0"/>
                      <a:pt x="8" y="12"/>
                      <a:pt x="2" y="7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14"/>
                      <a:pt x="8" y="22"/>
                      <a:pt x="6" y="48"/>
                    </a:cubicBezTo>
                    <a:cubicBezTo>
                      <a:pt x="6" y="48"/>
                      <a:pt x="4" y="77"/>
                      <a:pt x="3" y="81"/>
                    </a:cubicBezTo>
                    <a:cubicBezTo>
                      <a:pt x="5" y="81"/>
                      <a:pt x="5" y="81"/>
                      <a:pt x="5" y="81"/>
                    </a:cubicBezTo>
                    <a:cubicBezTo>
                      <a:pt x="21" y="81"/>
                      <a:pt x="21" y="81"/>
                      <a:pt x="21" y="81"/>
                    </a:cubicBezTo>
                    <a:cubicBezTo>
                      <a:pt x="21" y="81"/>
                      <a:pt x="16" y="50"/>
                      <a:pt x="19" y="37"/>
                    </a:cubicBezTo>
                    <a:cubicBezTo>
                      <a:pt x="22" y="24"/>
                      <a:pt x="27" y="13"/>
                      <a:pt x="31" y="11"/>
                    </a:cubicBezTo>
                    <a:cubicBezTo>
                      <a:pt x="30" y="3"/>
                      <a:pt x="30" y="3"/>
                      <a:pt x="30" y="3"/>
                    </a:cubicBezTo>
                    <a:cubicBezTo>
                      <a:pt x="30" y="3"/>
                      <a:pt x="17" y="17"/>
                      <a:pt x="16" y="2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43" name="Freeform 6090"/>
              <p:cNvSpPr>
                <a:spLocks/>
              </p:cNvSpPr>
              <p:nvPr/>
            </p:nvSpPr>
            <p:spPr bwMode="auto">
              <a:xfrm>
                <a:off x="-1342" y="2252"/>
                <a:ext cx="0" cy="2"/>
              </a:xfrm>
              <a:custGeom>
                <a:avLst/>
                <a:gdLst>
                  <a:gd name="T0" fmla="*/ 0 h 1"/>
                  <a:gd name="T1" fmla="*/ 1 h 1"/>
                  <a:gd name="T2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44" name="Freeform 6091"/>
              <p:cNvSpPr>
                <a:spLocks/>
              </p:cNvSpPr>
              <p:nvPr/>
            </p:nvSpPr>
            <p:spPr bwMode="auto">
              <a:xfrm>
                <a:off x="-1411" y="2136"/>
                <a:ext cx="51" cy="76"/>
              </a:xfrm>
              <a:custGeom>
                <a:avLst/>
                <a:gdLst>
                  <a:gd name="T0" fmla="*/ 21 w 32"/>
                  <a:gd name="T1" fmla="*/ 3 h 47"/>
                  <a:gd name="T2" fmla="*/ 10 w 32"/>
                  <a:gd name="T3" fmla="*/ 16 h 47"/>
                  <a:gd name="T4" fmla="*/ 9 w 32"/>
                  <a:gd name="T5" fmla="*/ 30 h 47"/>
                  <a:gd name="T6" fmla="*/ 19 w 32"/>
                  <a:gd name="T7" fmla="*/ 43 h 47"/>
                  <a:gd name="T8" fmla="*/ 21 w 32"/>
                  <a:gd name="T9" fmla="*/ 3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47">
                    <a:moveTo>
                      <a:pt x="21" y="3"/>
                    </a:moveTo>
                    <a:cubicBezTo>
                      <a:pt x="21" y="3"/>
                      <a:pt x="4" y="0"/>
                      <a:pt x="10" y="16"/>
                    </a:cubicBezTo>
                    <a:cubicBezTo>
                      <a:pt x="10" y="16"/>
                      <a:pt x="0" y="21"/>
                      <a:pt x="9" y="30"/>
                    </a:cubicBezTo>
                    <a:cubicBezTo>
                      <a:pt x="9" y="30"/>
                      <a:pt x="3" y="47"/>
                      <a:pt x="19" y="43"/>
                    </a:cubicBezTo>
                    <a:cubicBezTo>
                      <a:pt x="19" y="43"/>
                      <a:pt x="32" y="6"/>
                      <a:pt x="21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45" name="Freeform 6092"/>
              <p:cNvSpPr>
                <a:spLocks/>
              </p:cNvSpPr>
              <p:nvPr/>
            </p:nvSpPr>
            <p:spPr bwMode="auto">
              <a:xfrm>
                <a:off x="-1357" y="2111"/>
                <a:ext cx="2" cy="0"/>
              </a:xfrm>
              <a:custGeom>
                <a:avLst/>
                <a:gdLst>
                  <a:gd name="T0" fmla="*/ 0 w 1"/>
                  <a:gd name="T1" fmla="*/ 1 w 1"/>
                  <a:gd name="T2" fmla="*/ 0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46" name="Freeform 6093"/>
              <p:cNvSpPr>
                <a:spLocks/>
              </p:cNvSpPr>
              <p:nvPr/>
            </p:nvSpPr>
            <p:spPr bwMode="auto">
              <a:xfrm>
                <a:off x="-1381" y="2061"/>
                <a:ext cx="86" cy="105"/>
              </a:xfrm>
              <a:custGeom>
                <a:avLst/>
                <a:gdLst>
                  <a:gd name="T0" fmla="*/ 47 w 53"/>
                  <a:gd name="T1" fmla="*/ 11 h 65"/>
                  <a:gd name="T2" fmla="*/ 40 w 53"/>
                  <a:gd name="T3" fmla="*/ 2 h 65"/>
                  <a:gd name="T4" fmla="*/ 28 w 53"/>
                  <a:gd name="T5" fmla="*/ 11 h 65"/>
                  <a:gd name="T6" fmla="*/ 12 w 53"/>
                  <a:gd name="T7" fmla="*/ 20 h 65"/>
                  <a:gd name="T8" fmla="*/ 15 w 53"/>
                  <a:gd name="T9" fmla="*/ 31 h 65"/>
                  <a:gd name="T10" fmla="*/ 16 w 53"/>
                  <a:gd name="T11" fmla="*/ 31 h 65"/>
                  <a:gd name="T12" fmla="*/ 15 w 53"/>
                  <a:gd name="T13" fmla="*/ 31 h 65"/>
                  <a:gd name="T14" fmla="*/ 6 w 53"/>
                  <a:gd name="T15" fmla="*/ 36 h 65"/>
                  <a:gd name="T16" fmla="*/ 8 w 53"/>
                  <a:gd name="T17" fmla="*/ 46 h 65"/>
                  <a:gd name="T18" fmla="*/ 2 w 53"/>
                  <a:gd name="T19" fmla="*/ 56 h 65"/>
                  <a:gd name="T20" fmla="*/ 14 w 53"/>
                  <a:gd name="T21" fmla="*/ 64 h 65"/>
                  <a:gd name="T22" fmla="*/ 27 w 53"/>
                  <a:gd name="T23" fmla="*/ 49 h 65"/>
                  <a:gd name="T24" fmla="*/ 35 w 53"/>
                  <a:gd name="T25" fmla="*/ 35 h 65"/>
                  <a:gd name="T26" fmla="*/ 42 w 53"/>
                  <a:gd name="T27" fmla="*/ 24 h 65"/>
                  <a:gd name="T28" fmla="*/ 47 w 53"/>
                  <a:gd name="T29" fmla="*/ 11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3" h="65">
                    <a:moveTo>
                      <a:pt x="47" y="11"/>
                    </a:moveTo>
                    <a:cubicBezTo>
                      <a:pt x="47" y="11"/>
                      <a:pt x="47" y="2"/>
                      <a:pt x="40" y="2"/>
                    </a:cubicBezTo>
                    <a:cubicBezTo>
                      <a:pt x="40" y="2"/>
                      <a:pt x="28" y="0"/>
                      <a:pt x="28" y="11"/>
                    </a:cubicBezTo>
                    <a:cubicBezTo>
                      <a:pt x="28" y="11"/>
                      <a:pt x="14" y="6"/>
                      <a:pt x="12" y="20"/>
                    </a:cubicBezTo>
                    <a:cubicBezTo>
                      <a:pt x="12" y="20"/>
                      <a:pt x="11" y="29"/>
                      <a:pt x="15" y="31"/>
                    </a:cubicBezTo>
                    <a:cubicBezTo>
                      <a:pt x="16" y="31"/>
                      <a:pt x="16" y="31"/>
                      <a:pt x="16" y="31"/>
                    </a:cubicBezTo>
                    <a:cubicBezTo>
                      <a:pt x="16" y="31"/>
                      <a:pt x="15" y="31"/>
                      <a:pt x="15" y="31"/>
                    </a:cubicBezTo>
                    <a:cubicBezTo>
                      <a:pt x="12" y="30"/>
                      <a:pt x="7" y="30"/>
                      <a:pt x="6" y="36"/>
                    </a:cubicBezTo>
                    <a:cubicBezTo>
                      <a:pt x="6" y="36"/>
                      <a:pt x="4" y="38"/>
                      <a:pt x="8" y="46"/>
                    </a:cubicBezTo>
                    <a:cubicBezTo>
                      <a:pt x="8" y="46"/>
                      <a:pt x="0" y="50"/>
                      <a:pt x="2" y="56"/>
                    </a:cubicBezTo>
                    <a:cubicBezTo>
                      <a:pt x="2" y="56"/>
                      <a:pt x="3" y="65"/>
                      <a:pt x="14" y="64"/>
                    </a:cubicBezTo>
                    <a:cubicBezTo>
                      <a:pt x="14" y="64"/>
                      <a:pt x="31" y="65"/>
                      <a:pt x="27" y="49"/>
                    </a:cubicBezTo>
                    <a:cubicBezTo>
                      <a:pt x="27" y="49"/>
                      <a:pt x="47" y="45"/>
                      <a:pt x="35" y="35"/>
                    </a:cubicBezTo>
                    <a:cubicBezTo>
                      <a:pt x="35" y="35"/>
                      <a:pt x="53" y="40"/>
                      <a:pt x="42" y="24"/>
                    </a:cubicBezTo>
                    <a:cubicBezTo>
                      <a:pt x="42" y="24"/>
                      <a:pt x="48" y="16"/>
                      <a:pt x="47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47" name="Freeform 6094"/>
              <p:cNvSpPr>
                <a:spLocks/>
              </p:cNvSpPr>
              <p:nvPr/>
            </p:nvSpPr>
            <p:spPr bwMode="auto">
              <a:xfrm>
                <a:off x="-1350" y="2073"/>
                <a:ext cx="104" cy="101"/>
              </a:xfrm>
              <a:custGeom>
                <a:avLst/>
                <a:gdLst>
                  <a:gd name="T0" fmla="*/ 41 w 65"/>
                  <a:gd name="T1" fmla="*/ 11 h 63"/>
                  <a:gd name="T2" fmla="*/ 33 w 65"/>
                  <a:gd name="T3" fmla="*/ 1 h 63"/>
                  <a:gd name="T4" fmla="*/ 23 w 65"/>
                  <a:gd name="T5" fmla="*/ 12 h 63"/>
                  <a:gd name="T6" fmla="*/ 14 w 65"/>
                  <a:gd name="T7" fmla="*/ 21 h 63"/>
                  <a:gd name="T8" fmla="*/ 14 w 65"/>
                  <a:gd name="T9" fmla="*/ 33 h 63"/>
                  <a:gd name="T10" fmla="*/ 20 w 65"/>
                  <a:gd name="T11" fmla="*/ 49 h 63"/>
                  <a:gd name="T12" fmla="*/ 35 w 65"/>
                  <a:gd name="T13" fmla="*/ 52 h 63"/>
                  <a:gd name="T14" fmla="*/ 46 w 65"/>
                  <a:gd name="T15" fmla="*/ 43 h 63"/>
                  <a:gd name="T16" fmla="*/ 53 w 65"/>
                  <a:gd name="T17" fmla="*/ 23 h 63"/>
                  <a:gd name="T18" fmla="*/ 41 w 65"/>
                  <a:gd name="T19" fmla="*/ 11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5" h="63">
                    <a:moveTo>
                      <a:pt x="41" y="11"/>
                    </a:moveTo>
                    <a:cubicBezTo>
                      <a:pt x="41" y="11"/>
                      <a:pt x="41" y="2"/>
                      <a:pt x="33" y="1"/>
                    </a:cubicBezTo>
                    <a:cubicBezTo>
                      <a:pt x="33" y="1"/>
                      <a:pt x="25" y="0"/>
                      <a:pt x="23" y="12"/>
                    </a:cubicBezTo>
                    <a:cubicBezTo>
                      <a:pt x="23" y="12"/>
                      <a:pt x="13" y="10"/>
                      <a:pt x="14" y="21"/>
                    </a:cubicBezTo>
                    <a:cubicBezTo>
                      <a:pt x="14" y="21"/>
                      <a:pt x="0" y="25"/>
                      <a:pt x="14" y="33"/>
                    </a:cubicBezTo>
                    <a:cubicBezTo>
                      <a:pt x="14" y="33"/>
                      <a:pt x="11" y="50"/>
                      <a:pt x="20" y="49"/>
                    </a:cubicBezTo>
                    <a:cubicBezTo>
                      <a:pt x="20" y="49"/>
                      <a:pt x="25" y="63"/>
                      <a:pt x="35" y="52"/>
                    </a:cubicBezTo>
                    <a:cubicBezTo>
                      <a:pt x="35" y="52"/>
                      <a:pt x="50" y="58"/>
                      <a:pt x="46" y="43"/>
                    </a:cubicBezTo>
                    <a:cubicBezTo>
                      <a:pt x="46" y="43"/>
                      <a:pt x="65" y="35"/>
                      <a:pt x="53" y="23"/>
                    </a:cubicBezTo>
                    <a:cubicBezTo>
                      <a:pt x="53" y="23"/>
                      <a:pt x="55" y="11"/>
                      <a:pt x="41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48" name="Freeform 6095"/>
              <p:cNvSpPr>
                <a:spLocks/>
              </p:cNvSpPr>
              <p:nvPr/>
            </p:nvSpPr>
            <p:spPr bwMode="auto">
              <a:xfrm>
                <a:off x="-1313" y="2108"/>
                <a:ext cx="96" cy="97"/>
              </a:xfrm>
              <a:custGeom>
                <a:avLst/>
                <a:gdLst>
                  <a:gd name="T0" fmla="*/ 47 w 60"/>
                  <a:gd name="T1" fmla="*/ 24 h 60"/>
                  <a:gd name="T2" fmla="*/ 41 w 60"/>
                  <a:gd name="T3" fmla="*/ 12 h 60"/>
                  <a:gd name="T4" fmla="*/ 33 w 60"/>
                  <a:gd name="T5" fmla="*/ 1 h 60"/>
                  <a:gd name="T6" fmla="*/ 24 w 60"/>
                  <a:gd name="T7" fmla="*/ 13 h 60"/>
                  <a:gd name="T8" fmla="*/ 12 w 60"/>
                  <a:gd name="T9" fmla="*/ 15 h 60"/>
                  <a:gd name="T10" fmla="*/ 14 w 60"/>
                  <a:gd name="T11" fmla="*/ 26 h 60"/>
                  <a:gd name="T12" fmla="*/ 5 w 60"/>
                  <a:gd name="T13" fmla="*/ 40 h 60"/>
                  <a:gd name="T14" fmla="*/ 25 w 60"/>
                  <a:gd name="T15" fmla="*/ 47 h 60"/>
                  <a:gd name="T16" fmla="*/ 36 w 60"/>
                  <a:gd name="T17" fmla="*/ 47 h 60"/>
                  <a:gd name="T18" fmla="*/ 47 w 60"/>
                  <a:gd name="T19" fmla="*/ 41 h 60"/>
                  <a:gd name="T20" fmla="*/ 49 w 60"/>
                  <a:gd name="T21" fmla="*/ 41 h 60"/>
                  <a:gd name="T22" fmla="*/ 47 w 60"/>
                  <a:gd name="T23" fmla="*/ 24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0" h="60">
                    <a:moveTo>
                      <a:pt x="47" y="24"/>
                    </a:moveTo>
                    <a:cubicBezTo>
                      <a:pt x="47" y="24"/>
                      <a:pt x="54" y="13"/>
                      <a:pt x="41" y="12"/>
                    </a:cubicBezTo>
                    <a:cubicBezTo>
                      <a:pt x="41" y="12"/>
                      <a:pt x="40" y="0"/>
                      <a:pt x="33" y="1"/>
                    </a:cubicBezTo>
                    <a:cubicBezTo>
                      <a:pt x="33" y="1"/>
                      <a:pt x="20" y="0"/>
                      <a:pt x="24" y="13"/>
                    </a:cubicBezTo>
                    <a:cubicBezTo>
                      <a:pt x="24" y="13"/>
                      <a:pt x="15" y="7"/>
                      <a:pt x="12" y="15"/>
                    </a:cubicBezTo>
                    <a:cubicBezTo>
                      <a:pt x="12" y="15"/>
                      <a:pt x="8" y="24"/>
                      <a:pt x="14" y="26"/>
                    </a:cubicBezTo>
                    <a:cubicBezTo>
                      <a:pt x="14" y="26"/>
                      <a:pt x="0" y="28"/>
                      <a:pt x="5" y="40"/>
                    </a:cubicBezTo>
                    <a:cubicBezTo>
                      <a:pt x="5" y="40"/>
                      <a:pt x="12" y="60"/>
                      <a:pt x="25" y="47"/>
                    </a:cubicBezTo>
                    <a:cubicBezTo>
                      <a:pt x="25" y="47"/>
                      <a:pt x="35" y="55"/>
                      <a:pt x="36" y="47"/>
                    </a:cubicBezTo>
                    <a:cubicBezTo>
                      <a:pt x="36" y="47"/>
                      <a:pt x="48" y="56"/>
                      <a:pt x="47" y="41"/>
                    </a:cubicBezTo>
                    <a:cubicBezTo>
                      <a:pt x="47" y="41"/>
                      <a:pt x="48" y="42"/>
                      <a:pt x="49" y="41"/>
                    </a:cubicBezTo>
                    <a:cubicBezTo>
                      <a:pt x="49" y="41"/>
                      <a:pt x="60" y="29"/>
                      <a:pt x="47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49" name="Freeform 6096"/>
              <p:cNvSpPr>
                <a:spLocks/>
              </p:cNvSpPr>
              <p:nvPr/>
            </p:nvSpPr>
            <p:spPr bwMode="auto">
              <a:xfrm>
                <a:off x="-1320" y="2160"/>
                <a:ext cx="105" cy="110"/>
              </a:xfrm>
              <a:custGeom>
                <a:avLst/>
                <a:gdLst>
                  <a:gd name="T0" fmla="*/ 50 w 65"/>
                  <a:gd name="T1" fmla="*/ 9 h 68"/>
                  <a:gd name="T2" fmla="*/ 40 w 65"/>
                  <a:gd name="T3" fmla="*/ 0 h 68"/>
                  <a:gd name="T4" fmla="*/ 39 w 65"/>
                  <a:gd name="T5" fmla="*/ 0 h 68"/>
                  <a:gd name="T6" fmla="*/ 34 w 65"/>
                  <a:gd name="T7" fmla="*/ 6 h 68"/>
                  <a:gd name="T8" fmla="*/ 22 w 65"/>
                  <a:gd name="T9" fmla="*/ 13 h 68"/>
                  <a:gd name="T10" fmla="*/ 11 w 65"/>
                  <a:gd name="T11" fmla="*/ 21 h 68"/>
                  <a:gd name="T12" fmla="*/ 7 w 65"/>
                  <a:gd name="T13" fmla="*/ 32 h 68"/>
                  <a:gd name="T14" fmla="*/ 8 w 65"/>
                  <a:gd name="T15" fmla="*/ 42 h 68"/>
                  <a:gd name="T16" fmla="*/ 9 w 65"/>
                  <a:gd name="T17" fmla="*/ 51 h 68"/>
                  <a:gd name="T18" fmla="*/ 19 w 65"/>
                  <a:gd name="T19" fmla="*/ 57 h 68"/>
                  <a:gd name="T20" fmla="*/ 20 w 65"/>
                  <a:gd name="T21" fmla="*/ 57 h 68"/>
                  <a:gd name="T22" fmla="*/ 32 w 65"/>
                  <a:gd name="T23" fmla="*/ 56 h 68"/>
                  <a:gd name="T24" fmla="*/ 33 w 65"/>
                  <a:gd name="T25" fmla="*/ 55 h 68"/>
                  <a:gd name="T26" fmla="*/ 33 w 65"/>
                  <a:gd name="T27" fmla="*/ 56 h 68"/>
                  <a:gd name="T28" fmla="*/ 43 w 65"/>
                  <a:gd name="T29" fmla="*/ 44 h 68"/>
                  <a:gd name="T30" fmla="*/ 50 w 65"/>
                  <a:gd name="T31" fmla="*/ 35 h 68"/>
                  <a:gd name="T32" fmla="*/ 51 w 65"/>
                  <a:gd name="T33" fmla="*/ 24 h 68"/>
                  <a:gd name="T34" fmla="*/ 50 w 65"/>
                  <a:gd name="T35" fmla="*/ 9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5" h="68">
                    <a:moveTo>
                      <a:pt x="50" y="9"/>
                    </a:moveTo>
                    <a:cubicBezTo>
                      <a:pt x="50" y="9"/>
                      <a:pt x="51" y="0"/>
                      <a:pt x="4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0"/>
                      <a:pt x="34" y="3"/>
                      <a:pt x="34" y="6"/>
                    </a:cubicBezTo>
                    <a:cubicBezTo>
                      <a:pt x="34" y="6"/>
                      <a:pt x="26" y="0"/>
                      <a:pt x="22" y="13"/>
                    </a:cubicBezTo>
                    <a:cubicBezTo>
                      <a:pt x="22" y="13"/>
                      <a:pt x="11" y="9"/>
                      <a:pt x="11" y="21"/>
                    </a:cubicBezTo>
                    <a:cubicBezTo>
                      <a:pt x="11" y="21"/>
                      <a:pt x="1" y="25"/>
                      <a:pt x="7" y="32"/>
                    </a:cubicBezTo>
                    <a:cubicBezTo>
                      <a:pt x="7" y="32"/>
                      <a:pt x="0" y="41"/>
                      <a:pt x="8" y="42"/>
                    </a:cubicBezTo>
                    <a:cubicBezTo>
                      <a:pt x="8" y="42"/>
                      <a:pt x="2" y="46"/>
                      <a:pt x="9" y="51"/>
                    </a:cubicBezTo>
                    <a:cubicBezTo>
                      <a:pt x="9" y="51"/>
                      <a:pt x="5" y="66"/>
                      <a:pt x="19" y="57"/>
                    </a:cubicBezTo>
                    <a:cubicBezTo>
                      <a:pt x="19" y="57"/>
                      <a:pt x="19" y="57"/>
                      <a:pt x="20" y="57"/>
                    </a:cubicBezTo>
                    <a:cubicBezTo>
                      <a:pt x="20" y="57"/>
                      <a:pt x="24" y="68"/>
                      <a:pt x="32" y="56"/>
                    </a:cubicBezTo>
                    <a:cubicBezTo>
                      <a:pt x="32" y="56"/>
                      <a:pt x="33" y="56"/>
                      <a:pt x="33" y="55"/>
                    </a:cubicBezTo>
                    <a:cubicBezTo>
                      <a:pt x="41" y="43"/>
                      <a:pt x="33" y="56"/>
                      <a:pt x="33" y="56"/>
                    </a:cubicBezTo>
                    <a:cubicBezTo>
                      <a:pt x="33" y="56"/>
                      <a:pt x="45" y="62"/>
                      <a:pt x="43" y="44"/>
                    </a:cubicBezTo>
                    <a:cubicBezTo>
                      <a:pt x="43" y="44"/>
                      <a:pt x="53" y="49"/>
                      <a:pt x="50" y="35"/>
                    </a:cubicBezTo>
                    <a:cubicBezTo>
                      <a:pt x="50" y="35"/>
                      <a:pt x="62" y="30"/>
                      <a:pt x="51" y="24"/>
                    </a:cubicBezTo>
                    <a:cubicBezTo>
                      <a:pt x="51" y="24"/>
                      <a:pt x="65" y="16"/>
                      <a:pt x="50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50" name="Freeform 6097"/>
              <p:cNvSpPr>
                <a:spLocks/>
              </p:cNvSpPr>
              <p:nvPr/>
            </p:nvSpPr>
            <p:spPr bwMode="auto">
              <a:xfrm>
                <a:off x="-1397" y="2126"/>
                <a:ext cx="95" cy="131"/>
              </a:xfrm>
              <a:custGeom>
                <a:avLst/>
                <a:gdLst>
                  <a:gd name="T0" fmla="*/ 49 w 59"/>
                  <a:gd name="T1" fmla="*/ 13 h 81"/>
                  <a:gd name="T2" fmla="*/ 41 w 59"/>
                  <a:gd name="T3" fmla="*/ 0 h 81"/>
                  <a:gd name="T4" fmla="*/ 32 w 59"/>
                  <a:gd name="T5" fmla="*/ 8 h 81"/>
                  <a:gd name="T6" fmla="*/ 20 w 59"/>
                  <a:gd name="T7" fmla="*/ 21 h 81"/>
                  <a:gd name="T8" fmla="*/ 12 w 59"/>
                  <a:gd name="T9" fmla="*/ 24 h 81"/>
                  <a:gd name="T10" fmla="*/ 12 w 59"/>
                  <a:gd name="T11" fmla="*/ 34 h 81"/>
                  <a:gd name="T12" fmla="*/ 6 w 59"/>
                  <a:gd name="T13" fmla="*/ 42 h 81"/>
                  <a:gd name="T14" fmla="*/ 8 w 59"/>
                  <a:gd name="T15" fmla="*/ 51 h 81"/>
                  <a:gd name="T16" fmla="*/ 3 w 59"/>
                  <a:gd name="T17" fmla="*/ 61 h 81"/>
                  <a:gd name="T18" fmla="*/ 25 w 59"/>
                  <a:gd name="T19" fmla="*/ 55 h 81"/>
                  <a:gd name="T20" fmla="*/ 34 w 59"/>
                  <a:gd name="T21" fmla="*/ 46 h 81"/>
                  <a:gd name="T22" fmla="*/ 34 w 59"/>
                  <a:gd name="T23" fmla="*/ 45 h 81"/>
                  <a:gd name="T24" fmla="*/ 44 w 59"/>
                  <a:gd name="T25" fmla="*/ 46 h 81"/>
                  <a:gd name="T26" fmla="*/ 58 w 59"/>
                  <a:gd name="T27" fmla="*/ 28 h 81"/>
                  <a:gd name="T28" fmla="*/ 49 w 59"/>
                  <a:gd name="T29" fmla="*/ 13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9" h="81">
                    <a:moveTo>
                      <a:pt x="49" y="13"/>
                    </a:moveTo>
                    <a:cubicBezTo>
                      <a:pt x="49" y="13"/>
                      <a:pt x="51" y="1"/>
                      <a:pt x="41" y="0"/>
                    </a:cubicBezTo>
                    <a:cubicBezTo>
                      <a:pt x="41" y="0"/>
                      <a:pt x="32" y="0"/>
                      <a:pt x="32" y="8"/>
                    </a:cubicBezTo>
                    <a:cubicBezTo>
                      <a:pt x="32" y="8"/>
                      <a:pt x="18" y="8"/>
                      <a:pt x="20" y="21"/>
                    </a:cubicBezTo>
                    <a:cubicBezTo>
                      <a:pt x="20" y="21"/>
                      <a:pt x="15" y="20"/>
                      <a:pt x="12" y="24"/>
                    </a:cubicBezTo>
                    <a:cubicBezTo>
                      <a:pt x="12" y="24"/>
                      <a:pt x="10" y="31"/>
                      <a:pt x="12" y="34"/>
                    </a:cubicBezTo>
                    <a:cubicBezTo>
                      <a:pt x="12" y="34"/>
                      <a:pt x="5" y="36"/>
                      <a:pt x="6" y="42"/>
                    </a:cubicBezTo>
                    <a:cubicBezTo>
                      <a:pt x="6" y="42"/>
                      <a:pt x="6" y="50"/>
                      <a:pt x="8" y="51"/>
                    </a:cubicBezTo>
                    <a:cubicBezTo>
                      <a:pt x="8" y="51"/>
                      <a:pt x="0" y="56"/>
                      <a:pt x="3" y="61"/>
                    </a:cubicBezTo>
                    <a:cubicBezTo>
                      <a:pt x="3" y="61"/>
                      <a:pt x="10" y="81"/>
                      <a:pt x="25" y="55"/>
                    </a:cubicBezTo>
                    <a:cubicBezTo>
                      <a:pt x="25" y="55"/>
                      <a:pt x="39" y="57"/>
                      <a:pt x="34" y="46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4" y="45"/>
                      <a:pt x="40" y="53"/>
                      <a:pt x="44" y="46"/>
                    </a:cubicBezTo>
                    <a:cubicBezTo>
                      <a:pt x="44" y="46"/>
                      <a:pt x="59" y="65"/>
                      <a:pt x="58" y="28"/>
                    </a:cubicBezTo>
                    <a:cubicBezTo>
                      <a:pt x="58" y="28"/>
                      <a:pt x="59" y="14"/>
                      <a:pt x="49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51" name="Freeform 6098"/>
              <p:cNvSpPr>
                <a:spLocks/>
              </p:cNvSpPr>
              <p:nvPr/>
            </p:nvSpPr>
            <p:spPr bwMode="auto">
              <a:xfrm>
                <a:off x="-1414" y="2142"/>
                <a:ext cx="149" cy="128"/>
              </a:xfrm>
              <a:custGeom>
                <a:avLst/>
                <a:gdLst>
                  <a:gd name="T0" fmla="*/ 75 w 93"/>
                  <a:gd name="T1" fmla="*/ 28 h 79"/>
                  <a:gd name="T2" fmla="*/ 65 w 93"/>
                  <a:gd name="T3" fmla="*/ 20 h 79"/>
                  <a:gd name="T4" fmla="*/ 47 w 93"/>
                  <a:gd name="T5" fmla="*/ 19 h 79"/>
                  <a:gd name="T6" fmla="*/ 41 w 93"/>
                  <a:gd name="T7" fmla="*/ 29 h 79"/>
                  <a:gd name="T8" fmla="*/ 28 w 93"/>
                  <a:gd name="T9" fmla="*/ 44 h 79"/>
                  <a:gd name="T10" fmla="*/ 22 w 93"/>
                  <a:gd name="T11" fmla="*/ 53 h 79"/>
                  <a:gd name="T12" fmla="*/ 8 w 93"/>
                  <a:gd name="T13" fmla="*/ 57 h 79"/>
                  <a:gd name="T14" fmla="*/ 5 w 93"/>
                  <a:gd name="T15" fmla="*/ 68 h 79"/>
                  <a:gd name="T16" fmla="*/ 22 w 93"/>
                  <a:gd name="T17" fmla="*/ 65 h 79"/>
                  <a:gd name="T18" fmla="*/ 36 w 93"/>
                  <a:gd name="T19" fmla="*/ 53 h 79"/>
                  <a:gd name="T20" fmla="*/ 35 w 93"/>
                  <a:gd name="T21" fmla="*/ 53 h 79"/>
                  <a:gd name="T22" fmla="*/ 36 w 93"/>
                  <a:gd name="T23" fmla="*/ 53 h 79"/>
                  <a:gd name="T24" fmla="*/ 46 w 93"/>
                  <a:gd name="T25" fmla="*/ 47 h 79"/>
                  <a:gd name="T26" fmla="*/ 61 w 93"/>
                  <a:gd name="T27" fmla="*/ 47 h 79"/>
                  <a:gd name="T28" fmla="*/ 75 w 93"/>
                  <a:gd name="T29" fmla="*/ 57 h 79"/>
                  <a:gd name="T30" fmla="*/ 81 w 93"/>
                  <a:gd name="T31" fmla="*/ 44 h 79"/>
                  <a:gd name="T32" fmla="*/ 75 w 93"/>
                  <a:gd name="T33" fmla="*/ 28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3" h="79">
                    <a:moveTo>
                      <a:pt x="75" y="28"/>
                    </a:moveTo>
                    <a:cubicBezTo>
                      <a:pt x="78" y="14"/>
                      <a:pt x="65" y="20"/>
                      <a:pt x="65" y="20"/>
                    </a:cubicBezTo>
                    <a:cubicBezTo>
                      <a:pt x="56" y="0"/>
                      <a:pt x="47" y="19"/>
                      <a:pt x="47" y="19"/>
                    </a:cubicBezTo>
                    <a:cubicBezTo>
                      <a:pt x="35" y="17"/>
                      <a:pt x="41" y="29"/>
                      <a:pt x="41" y="29"/>
                    </a:cubicBezTo>
                    <a:cubicBezTo>
                      <a:pt x="21" y="24"/>
                      <a:pt x="28" y="44"/>
                      <a:pt x="28" y="44"/>
                    </a:cubicBezTo>
                    <a:cubicBezTo>
                      <a:pt x="18" y="44"/>
                      <a:pt x="22" y="53"/>
                      <a:pt x="22" y="53"/>
                    </a:cubicBezTo>
                    <a:cubicBezTo>
                      <a:pt x="10" y="41"/>
                      <a:pt x="8" y="57"/>
                      <a:pt x="8" y="57"/>
                    </a:cubicBezTo>
                    <a:cubicBezTo>
                      <a:pt x="0" y="58"/>
                      <a:pt x="5" y="68"/>
                      <a:pt x="5" y="68"/>
                    </a:cubicBezTo>
                    <a:cubicBezTo>
                      <a:pt x="15" y="79"/>
                      <a:pt x="22" y="65"/>
                      <a:pt x="22" y="65"/>
                    </a:cubicBezTo>
                    <a:cubicBezTo>
                      <a:pt x="38" y="76"/>
                      <a:pt x="36" y="53"/>
                      <a:pt x="36" y="53"/>
                    </a:cubicBezTo>
                    <a:cubicBezTo>
                      <a:pt x="36" y="53"/>
                      <a:pt x="25" y="46"/>
                      <a:pt x="35" y="53"/>
                    </a:cubicBezTo>
                    <a:cubicBezTo>
                      <a:pt x="36" y="53"/>
                      <a:pt x="36" y="53"/>
                      <a:pt x="36" y="53"/>
                    </a:cubicBezTo>
                    <a:cubicBezTo>
                      <a:pt x="46" y="59"/>
                      <a:pt x="46" y="47"/>
                      <a:pt x="46" y="47"/>
                    </a:cubicBezTo>
                    <a:cubicBezTo>
                      <a:pt x="53" y="64"/>
                      <a:pt x="61" y="47"/>
                      <a:pt x="61" y="47"/>
                    </a:cubicBezTo>
                    <a:cubicBezTo>
                      <a:pt x="62" y="70"/>
                      <a:pt x="75" y="57"/>
                      <a:pt x="75" y="57"/>
                    </a:cubicBezTo>
                    <a:cubicBezTo>
                      <a:pt x="93" y="61"/>
                      <a:pt x="81" y="44"/>
                      <a:pt x="81" y="44"/>
                    </a:cubicBezTo>
                    <a:cubicBezTo>
                      <a:pt x="90" y="31"/>
                      <a:pt x="75" y="28"/>
                      <a:pt x="75" y="2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52" name="Freeform 6099"/>
              <p:cNvSpPr>
                <a:spLocks/>
              </p:cNvSpPr>
              <p:nvPr/>
            </p:nvSpPr>
            <p:spPr bwMode="auto">
              <a:xfrm>
                <a:off x="-1045" y="1814"/>
                <a:ext cx="103" cy="157"/>
              </a:xfrm>
              <a:custGeom>
                <a:avLst/>
                <a:gdLst>
                  <a:gd name="T0" fmla="*/ 52 w 64"/>
                  <a:gd name="T1" fmla="*/ 39 h 97"/>
                  <a:gd name="T2" fmla="*/ 52 w 64"/>
                  <a:gd name="T3" fmla="*/ 9 h 97"/>
                  <a:gd name="T4" fmla="*/ 35 w 64"/>
                  <a:gd name="T5" fmla="*/ 18 h 97"/>
                  <a:gd name="T6" fmla="*/ 25 w 64"/>
                  <a:gd name="T7" fmla="*/ 30 h 97"/>
                  <a:gd name="T8" fmla="*/ 13 w 64"/>
                  <a:gd name="T9" fmla="*/ 46 h 97"/>
                  <a:gd name="T10" fmla="*/ 13 w 64"/>
                  <a:gd name="T11" fmla="*/ 64 h 97"/>
                  <a:gd name="T12" fmla="*/ 17 w 64"/>
                  <a:gd name="T13" fmla="*/ 85 h 97"/>
                  <a:gd name="T14" fmla="*/ 25 w 64"/>
                  <a:gd name="T15" fmla="*/ 97 h 97"/>
                  <a:gd name="T16" fmla="*/ 36 w 64"/>
                  <a:gd name="T17" fmla="*/ 81 h 97"/>
                  <a:gd name="T18" fmla="*/ 43 w 64"/>
                  <a:gd name="T19" fmla="*/ 64 h 97"/>
                  <a:gd name="T20" fmla="*/ 52 w 64"/>
                  <a:gd name="T21" fmla="*/ 39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4" h="97">
                    <a:moveTo>
                      <a:pt x="52" y="39"/>
                    </a:moveTo>
                    <a:cubicBezTo>
                      <a:pt x="52" y="39"/>
                      <a:pt x="60" y="14"/>
                      <a:pt x="52" y="9"/>
                    </a:cubicBezTo>
                    <a:cubicBezTo>
                      <a:pt x="52" y="9"/>
                      <a:pt x="37" y="0"/>
                      <a:pt x="35" y="18"/>
                    </a:cubicBezTo>
                    <a:cubicBezTo>
                      <a:pt x="35" y="18"/>
                      <a:pt x="23" y="17"/>
                      <a:pt x="25" y="30"/>
                    </a:cubicBezTo>
                    <a:cubicBezTo>
                      <a:pt x="25" y="30"/>
                      <a:pt x="6" y="24"/>
                      <a:pt x="13" y="46"/>
                    </a:cubicBezTo>
                    <a:cubicBezTo>
                      <a:pt x="13" y="46"/>
                      <a:pt x="0" y="54"/>
                      <a:pt x="13" y="64"/>
                    </a:cubicBezTo>
                    <a:cubicBezTo>
                      <a:pt x="13" y="64"/>
                      <a:pt x="1" y="78"/>
                      <a:pt x="17" y="85"/>
                    </a:cubicBezTo>
                    <a:cubicBezTo>
                      <a:pt x="17" y="85"/>
                      <a:pt x="14" y="97"/>
                      <a:pt x="25" y="97"/>
                    </a:cubicBezTo>
                    <a:cubicBezTo>
                      <a:pt x="25" y="97"/>
                      <a:pt x="38" y="97"/>
                      <a:pt x="36" y="81"/>
                    </a:cubicBezTo>
                    <a:cubicBezTo>
                      <a:pt x="36" y="81"/>
                      <a:pt x="52" y="75"/>
                      <a:pt x="43" y="64"/>
                    </a:cubicBezTo>
                    <a:cubicBezTo>
                      <a:pt x="43" y="64"/>
                      <a:pt x="64" y="49"/>
                      <a:pt x="52" y="3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53" name="Freeform 6100"/>
              <p:cNvSpPr>
                <a:spLocks/>
              </p:cNvSpPr>
              <p:nvPr/>
            </p:nvSpPr>
            <p:spPr bwMode="auto">
              <a:xfrm>
                <a:off x="-940" y="2003"/>
                <a:ext cx="0" cy="2"/>
              </a:xfrm>
              <a:custGeom>
                <a:avLst/>
                <a:gdLst>
                  <a:gd name="T0" fmla="*/ 0 h 1"/>
                  <a:gd name="T1" fmla="*/ 1 h 1"/>
                  <a:gd name="T2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54" name="Freeform 6101"/>
              <p:cNvSpPr>
                <a:spLocks/>
              </p:cNvSpPr>
              <p:nvPr/>
            </p:nvSpPr>
            <p:spPr bwMode="auto">
              <a:xfrm>
                <a:off x="-966" y="1960"/>
                <a:ext cx="50" cy="130"/>
              </a:xfrm>
              <a:custGeom>
                <a:avLst/>
                <a:gdLst>
                  <a:gd name="T0" fmla="*/ 16 w 31"/>
                  <a:gd name="T1" fmla="*/ 27 h 81"/>
                  <a:gd name="T2" fmla="*/ 16 w 31"/>
                  <a:gd name="T3" fmla="*/ 28 h 81"/>
                  <a:gd name="T4" fmla="*/ 16 w 31"/>
                  <a:gd name="T5" fmla="*/ 27 h 81"/>
                  <a:gd name="T6" fmla="*/ 19 w 31"/>
                  <a:gd name="T7" fmla="*/ 3 h 81"/>
                  <a:gd name="T8" fmla="*/ 14 w 31"/>
                  <a:gd name="T9" fmla="*/ 0 h 81"/>
                  <a:gd name="T10" fmla="*/ 11 w 31"/>
                  <a:gd name="T11" fmla="*/ 23 h 81"/>
                  <a:gd name="T12" fmla="*/ 12 w 31"/>
                  <a:gd name="T13" fmla="*/ 23 h 81"/>
                  <a:gd name="T14" fmla="*/ 11 w 31"/>
                  <a:gd name="T15" fmla="*/ 23 h 81"/>
                  <a:gd name="T16" fmla="*/ 3 w 31"/>
                  <a:gd name="T17" fmla="*/ 7 h 81"/>
                  <a:gd name="T18" fmla="*/ 0 w 31"/>
                  <a:gd name="T19" fmla="*/ 15 h 81"/>
                  <a:gd name="T20" fmla="*/ 6 w 31"/>
                  <a:gd name="T21" fmla="*/ 48 h 81"/>
                  <a:gd name="T22" fmla="*/ 3 w 31"/>
                  <a:gd name="T23" fmla="*/ 81 h 81"/>
                  <a:gd name="T24" fmla="*/ 5 w 31"/>
                  <a:gd name="T25" fmla="*/ 81 h 81"/>
                  <a:gd name="T26" fmla="*/ 21 w 31"/>
                  <a:gd name="T27" fmla="*/ 81 h 81"/>
                  <a:gd name="T28" fmla="*/ 20 w 31"/>
                  <a:gd name="T29" fmla="*/ 37 h 81"/>
                  <a:gd name="T30" fmla="*/ 31 w 31"/>
                  <a:gd name="T31" fmla="*/ 11 h 81"/>
                  <a:gd name="T32" fmla="*/ 30 w 31"/>
                  <a:gd name="T33" fmla="*/ 3 h 81"/>
                  <a:gd name="T34" fmla="*/ 16 w 31"/>
                  <a:gd name="T35" fmla="*/ 27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1" h="81">
                    <a:moveTo>
                      <a:pt x="16" y="27"/>
                    </a:move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28"/>
                      <a:pt x="16" y="28"/>
                      <a:pt x="16" y="27"/>
                    </a:cubicBezTo>
                    <a:cubicBezTo>
                      <a:pt x="16" y="23"/>
                      <a:pt x="17" y="7"/>
                      <a:pt x="19" y="3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4" y="0"/>
                      <a:pt x="11" y="19"/>
                      <a:pt x="11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1" y="23"/>
                      <a:pt x="11" y="23"/>
                    </a:cubicBezTo>
                    <a:cubicBezTo>
                      <a:pt x="11" y="20"/>
                      <a:pt x="9" y="12"/>
                      <a:pt x="3" y="7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0" y="15"/>
                      <a:pt x="8" y="22"/>
                      <a:pt x="6" y="48"/>
                    </a:cubicBezTo>
                    <a:cubicBezTo>
                      <a:pt x="6" y="48"/>
                      <a:pt x="5" y="77"/>
                      <a:pt x="3" y="81"/>
                    </a:cubicBezTo>
                    <a:cubicBezTo>
                      <a:pt x="5" y="81"/>
                      <a:pt x="5" y="81"/>
                      <a:pt x="5" y="81"/>
                    </a:cubicBezTo>
                    <a:cubicBezTo>
                      <a:pt x="21" y="81"/>
                      <a:pt x="21" y="81"/>
                      <a:pt x="21" y="81"/>
                    </a:cubicBezTo>
                    <a:cubicBezTo>
                      <a:pt x="21" y="81"/>
                      <a:pt x="17" y="51"/>
                      <a:pt x="20" y="37"/>
                    </a:cubicBezTo>
                    <a:cubicBezTo>
                      <a:pt x="22" y="24"/>
                      <a:pt x="27" y="13"/>
                      <a:pt x="31" y="11"/>
                    </a:cubicBezTo>
                    <a:cubicBezTo>
                      <a:pt x="30" y="3"/>
                      <a:pt x="30" y="3"/>
                      <a:pt x="30" y="3"/>
                    </a:cubicBezTo>
                    <a:cubicBezTo>
                      <a:pt x="30" y="3"/>
                      <a:pt x="17" y="17"/>
                      <a:pt x="16" y="2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55" name="Freeform 6102"/>
              <p:cNvSpPr>
                <a:spLocks/>
              </p:cNvSpPr>
              <p:nvPr/>
            </p:nvSpPr>
            <p:spPr bwMode="auto">
              <a:xfrm>
                <a:off x="-948" y="1997"/>
                <a:ext cx="1" cy="0"/>
              </a:xfrm>
              <a:custGeom>
                <a:avLst/>
                <a:gdLst>
                  <a:gd name="T0" fmla="*/ 0 w 1"/>
                  <a:gd name="T1" fmla="*/ 1 w 1"/>
                  <a:gd name="T2" fmla="*/ 0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56" name="Freeform 6103"/>
              <p:cNvSpPr>
                <a:spLocks/>
              </p:cNvSpPr>
              <p:nvPr/>
            </p:nvSpPr>
            <p:spPr bwMode="auto">
              <a:xfrm>
                <a:off x="-1017" y="1879"/>
                <a:ext cx="51" cy="76"/>
              </a:xfrm>
              <a:custGeom>
                <a:avLst/>
                <a:gdLst>
                  <a:gd name="T0" fmla="*/ 21 w 32"/>
                  <a:gd name="T1" fmla="*/ 4 h 47"/>
                  <a:gd name="T2" fmla="*/ 10 w 32"/>
                  <a:gd name="T3" fmla="*/ 16 h 47"/>
                  <a:gd name="T4" fmla="*/ 9 w 32"/>
                  <a:gd name="T5" fmla="*/ 30 h 47"/>
                  <a:gd name="T6" fmla="*/ 19 w 32"/>
                  <a:gd name="T7" fmla="*/ 43 h 47"/>
                  <a:gd name="T8" fmla="*/ 21 w 32"/>
                  <a:gd name="T9" fmla="*/ 4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47">
                    <a:moveTo>
                      <a:pt x="21" y="4"/>
                    </a:moveTo>
                    <a:cubicBezTo>
                      <a:pt x="21" y="4"/>
                      <a:pt x="4" y="0"/>
                      <a:pt x="10" y="16"/>
                    </a:cubicBezTo>
                    <a:cubicBezTo>
                      <a:pt x="10" y="16"/>
                      <a:pt x="0" y="21"/>
                      <a:pt x="9" y="30"/>
                    </a:cubicBezTo>
                    <a:cubicBezTo>
                      <a:pt x="9" y="30"/>
                      <a:pt x="3" y="47"/>
                      <a:pt x="19" y="43"/>
                    </a:cubicBezTo>
                    <a:cubicBezTo>
                      <a:pt x="19" y="43"/>
                      <a:pt x="32" y="6"/>
                      <a:pt x="21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57" name="Freeform 6104"/>
              <p:cNvSpPr>
                <a:spLocks/>
              </p:cNvSpPr>
              <p:nvPr/>
            </p:nvSpPr>
            <p:spPr bwMode="auto">
              <a:xfrm>
                <a:off x="-963" y="1855"/>
                <a:ext cx="2" cy="0"/>
              </a:xfrm>
              <a:custGeom>
                <a:avLst/>
                <a:gdLst>
                  <a:gd name="T0" fmla="*/ 0 w 1"/>
                  <a:gd name="T1" fmla="*/ 1 w 1"/>
                  <a:gd name="T2" fmla="*/ 0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58" name="Freeform 6105"/>
              <p:cNvSpPr>
                <a:spLocks/>
              </p:cNvSpPr>
              <p:nvPr/>
            </p:nvSpPr>
            <p:spPr bwMode="auto">
              <a:xfrm>
                <a:off x="-987" y="1805"/>
                <a:ext cx="85" cy="105"/>
              </a:xfrm>
              <a:custGeom>
                <a:avLst/>
                <a:gdLst>
                  <a:gd name="T0" fmla="*/ 48 w 53"/>
                  <a:gd name="T1" fmla="*/ 12 h 65"/>
                  <a:gd name="T2" fmla="*/ 41 w 53"/>
                  <a:gd name="T3" fmla="*/ 2 h 65"/>
                  <a:gd name="T4" fmla="*/ 28 w 53"/>
                  <a:gd name="T5" fmla="*/ 12 h 65"/>
                  <a:gd name="T6" fmla="*/ 12 w 53"/>
                  <a:gd name="T7" fmla="*/ 20 h 65"/>
                  <a:gd name="T8" fmla="*/ 15 w 53"/>
                  <a:gd name="T9" fmla="*/ 31 h 65"/>
                  <a:gd name="T10" fmla="*/ 16 w 53"/>
                  <a:gd name="T11" fmla="*/ 31 h 65"/>
                  <a:gd name="T12" fmla="*/ 15 w 53"/>
                  <a:gd name="T13" fmla="*/ 31 h 65"/>
                  <a:gd name="T14" fmla="*/ 6 w 53"/>
                  <a:gd name="T15" fmla="*/ 36 h 65"/>
                  <a:gd name="T16" fmla="*/ 8 w 53"/>
                  <a:gd name="T17" fmla="*/ 46 h 65"/>
                  <a:gd name="T18" fmla="*/ 2 w 53"/>
                  <a:gd name="T19" fmla="*/ 56 h 65"/>
                  <a:gd name="T20" fmla="*/ 14 w 53"/>
                  <a:gd name="T21" fmla="*/ 64 h 65"/>
                  <a:gd name="T22" fmla="*/ 27 w 53"/>
                  <a:gd name="T23" fmla="*/ 49 h 65"/>
                  <a:gd name="T24" fmla="*/ 36 w 53"/>
                  <a:gd name="T25" fmla="*/ 35 h 65"/>
                  <a:gd name="T26" fmla="*/ 43 w 53"/>
                  <a:gd name="T27" fmla="*/ 24 h 65"/>
                  <a:gd name="T28" fmla="*/ 48 w 53"/>
                  <a:gd name="T29" fmla="*/ 12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3" h="65">
                    <a:moveTo>
                      <a:pt x="48" y="12"/>
                    </a:moveTo>
                    <a:cubicBezTo>
                      <a:pt x="48" y="12"/>
                      <a:pt x="48" y="2"/>
                      <a:pt x="41" y="2"/>
                    </a:cubicBezTo>
                    <a:cubicBezTo>
                      <a:pt x="41" y="2"/>
                      <a:pt x="28" y="0"/>
                      <a:pt x="28" y="12"/>
                    </a:cubicBezTo>
                    <a:cubicBezTo>
                      <a:pt x="28" y="12"/>
                      <a:pt x="14" y="6"/>
                      <a:pt x="12" y="20"/>
                    </a:cubicBezTo>
                    <a:cubicBezTo>
                      <a:pt x="12" y="20"/>
                      <a:pt x="11" y="29"/>
                      <a:pt x="15" y="31"/>
                    </a:cubicBezTo>
                    <a:cubicBezTo>
                      <a:pt x="16" y="31"/>
                      <a:pt x="16" y="31"/>
                      <a:pt x="16" y="31"/>
                    </a:cubicBezTo>
                    <a:cubicBezTo>
                      <a:pt x="16" y="31"/>
                      <a:pt x="15" y="31"/>
                      <a:pt x="15" y="31"/>
                    </a:cubicBezTo>
                    <a:cubicBezTo>
                      <a:pt x="12" y="30"/>
                      <a:pt x="7" y="30"/>
                      <a:pt x="6" y="36"/>
                    </a:cubicBezTo>
                    <a:cubicBezTo>
                      <a:pt x="6" y="36"/>
                      <a:pt x="4" y="38"/>
                      <a:pt x="8" y="46"/>
                    </a:cubicBezTo>
                    <a:cubicBezTo>
                      <a:pt x="8" y="46"/>
                      <a:pt x="0" y="50"/>
                      <a:pt x="2" y="56"/>
                    </a:cubicBezTo>
                    <a:cubicBezTo>
                      <a:pt x="2" y="56"/>
                      <a:pt x="3" y="65"/>
                      <a:pt x="14" y="64"/>
                    </a:cubicBezTo>
                    <a:cubicBezTo>
                      <a:pt x="14" y="64"/>
                      <a:pt x="31" y="65"/>
                      <a:pt x="27" y="49"/>
                    </a:cubicBezTo>
                    <a:cubicBezTo>
                      <a:pt x="27" y="49"/>
                      <a:pt x="48" y="45"/>
                      <a:pt x="36" y="35"/>
                    </a:cubicBezTo>
                    <a:cubicBezTo>
                      <a:pt x="36" y="35"/>
                      <a:pt x="53" y="41"/>
                      <a:pt x="43" y="24"/>
                    </a:cubicBezTo>
                    <a:cubicBezTo>
                      <a:pt x="43" y="24"/>
                      <a:pt x="48" y="16"/>
                      <a:pt x="4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59" name="Freeform 6106"/>
              <p:cNvSpPr>
                <a:spLocks/>
              </p:cNvSpPr>
              <p:nvPr/>
            </p:nvSpPr>
            <p:spPr bwMode="auto">
              <a:xfrm>
                <a:off x="-956" y="1816"/>
                <a:ext cx="104" cy="102"/>
              </a:xfrm>
              <a:custGeom>
                <a:avLst/>
                <a:gdLst>
                  <a:gd name="T0" fmla="*/ 41 w 65"/>
                  <a:gd name="T1" fmla="*/ 12 h 63"/>
                  <a:gd name="T2" fmla="*/ 33 w 65"/>
                  <a:gd name="T3" fmla="*/ 1 h 63"/>
                  <a:gd name="T4" fmla="*/ 24 w 65"/>
                  <a:gd name="T5" fmla="*/ 12 h 63"/>
                  <a:gd name="T6" fmla="*/ 15 w 65"/>
                  <a:gd name="T7" fmla="*/ 21 h 63"/>
                  <a:gd name="T8" fmla="*/ 15 w 65"/>
                  <a:gd name="T9" fmla="*/ 33 h 63"/>
                  <a:gd name="T10" fmla="*/ 20 w 65"/>
                  <a:gd name="T11" fmla="*/ 49 h 63"/>
                  <a:gd name="T12" fmla="*/ 35 w 65"/>
                  <a:gd name="T13" fmla="*/ 52 h 63"/>
                  <a:gd name="T14" fmla="*/ 47 w 65"/>
                  <a:gd name="T15" fmla="*/ 43 h 63"/>
                  <a:gd name="T16" fmla="*/ 53 w 65"/>
                  <a:gd name="T17" fmla="*/ 23 h 63"/>
                  <a:gd name="T18" fmla="*/ 41 w 65"/>
                  <a:gd name="T19" fmla="*/ 12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5" h="63">
                    <a:moveTo>
                      <a:pt x="41" y="12"/>
                    </a:moveTo>
                    <a:cubicBezTo>
                      <a:pt x="41" y="12"/>
                      <a:pt x="41" y="2"/>
                      <a:pt x="33" y="1"/>
                    </a:cubicBezTo>
                    <a:cubicBezTo>
                      <a:pt x="33" y="1"/>
                      <a:pt x="25" y="0"/>
                      <a:pt x="24" y="12"/>
                    </a:cubicBezTo>
                    <a:cubicBezTo>
                      <a:pt x="24" y="12"/>
                      <a:pt x="14" y="10"/>
                      <a:pt x="15" y="21"/>
                    </a:cubicBezTo>
                    <a:cubicBezTo>
                      <a:pt x="15" y="21"/>
                      <a:pt x="0" y="26"/>
                      <a:pt x="15" y="33"/>
                    </a:cubicBezTo>
                    <a:cubicBezTo>
                      <a:pt x="15" y="33"/>
                      <a:pt x="11" y="50"/>
                      <a:pt x="20" y="49"/>
                    </a:cubicBezTo>
                    <a:cubicBezTo>
                      <a:pt x="20" y="49"/>
                      <a:pt x="25" y="63"/>
                      <a:pt x="35" y="52"/>
                    </a:cubicBezTo>
                    <a:cubicBezTo>
                      <a:pt x="35" y="52"/>
                      <a:pt x="50" y="58"/>
                      <a:pt x="47" y="43"/>
                    </a:cubicBezTo>
                    <a:cubicBezTo>
                      <a:pt x="47" y="43"/>
                      <a:pt x="65" y="35"/>
                      <a:pt x="53" y="23"/>
                    </a:cubicBezTo>
                    <a:cubicBezTo>
                      <a:pt x="53" y="23"/>
                      <a:pt x="55" y="11"/>
                      <a:pt x="41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60" name="Freeform 6107"/>
              <p:cNvSpPr>
                <a:spLocks/>
              </p:cNvSpPr>
              <p:nvPr/>
            </p:nvSpPr>
            <p:spPr bwMode="auto">
              <a:xfrm>
                <a:off x="-919" y="1851"/>
                <a:ext cx="96" cy="97"/>
              </a:xfrm>
              <a:custGeom>
                <a:avLst/>
                <a:gdLst>
                  <a:gd name="T0" fmla="*/ 47 w 60"/>
                  <a:gd name="T1" fmla="*/ 24 h 60"/>
                  <a:gd name="T2" fmla="*/ 41 w 60"/>
                  <a:gd name="T3" fmla="*/ 12 h 60"/>
                  <a:gd name="T4" fmla="*/ 33 w 60"/>
                  <a:gd name="T5" fmla="*/ 1 h 60"/>
                  <a:gd name="T6" fmla="*/ 25 w 60"/>
                  <a:gd name="T7" fmla="*/ 13 h 60"/>
                  <a:gd name="T8" fmla="*/ 12 w 60"/>
                  <a:gd name="T9" fmla="*/ 16 h 60"/>
                  <a:gd name="T10" fmla="*/ 14 w 60"/>
                  <a:gd name="T11" fmla="*/ 26 h 60"/>
                  <a:gd name="T12" fmla="*/ 5 w 60"/>
                  <a:gd name="T13" fmla="*/ 40 h 60"/>
                  <a:gd name="T14" fmla="*/ 25 w 60"/>
                  <a:gd name="T15" fmla="*/ 47 h 60"/>
                  <a:gd name="T16" fmla="*/ 36 w 60"/>
                  <a:gd name="T17" fmla="*/ 47 h 60"/>
                  <a:gd name="T18" fmla="*/ 47 w 60"/>
                  <a:gd name="T19" fmla="*/ 42 h 60"/>
                  <a:gd name="T20" fmla="*/ 49 w 60"/>
                  <a:gd name="T21" fmla="*/ 41 h 60"/>
                  <a:gd name="T22" fmla="*/ 47 w 60"/>
                  <a:gd name="T23" fmla="*/ 24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0" h="60">
                    <a:moveTo>
                      <a:pt x="47" y="24"/>
                    </a:moveTo>
                    <a:cubicBezTo>
                      <a:pt x="47" y="24"/>
                      <a:pt x="54" y="13"/>
                      <a:pt x="41" y="12"/>
                    </a:cubicBezTo>
                    <a:cubicBezTo>
                      <a:pt x="41" y="12"/>
                      <a:pt x="40" y="0"/>
                      <a:pt x="33" y="1"/>
                    </a:cubicBezTo>
                    <a:cubicBezTo>
                      <a:pt x="33" y="1"/>
                      <a:pt x="21" y="0"/>
                      <a:pt x="25" y="13"/>
                    </a:cubicBezTo>
                    <a:cubicBezTo>
                      <a:pt x="25" y="13"/>
                      <a:pt x="15" y="7"/>
                      <a:pt x="12" y="16"/>
                    </a:cubicBezTo>
                    <a:cubicBezTo>
                      <a:pt x="12" y="16"/>
                      <a:pt x="8" y="24"/>
                      <a:pt x="14" y="26"/>
                    </a:cubicBezTo>
                    <a:cubicBezTo>
                      <a:pt x="14" y="26"/>
                      <a:pt x="0" y="28"/>
                      <a:pt x="5" y="40"/>
                    </a:cubicBezTo>
                    <a:cubicBezTo>
                      <a:pt x="5" y="40"/>
                      <a:pt x="12" y="60"/>
                      <a:pt x="25" y="47"/>
                    </a:cubicBezTo>
                    <a:cubicBezTo>
                      <a:pt x="25" y="47"/>
                      <a:pt x="35" y="55"/>
                      <a:pt x="36" y="47"/>
                    </a:cubicBezTo>
                    <a:cubicBezTo>
                      <a:pt x="36" y="47"/>
                      <a:pt x="49" y="56"/>
                      <a:pt x="47" y="42"/>
                    </a:cubicBezTo>
                    <a:cubicBezTo>
                      <a:pt x="47" y="42"/>
                      <a:pt x="49" y="42"/>
                      <a:pt x="49" y="41"/>
                    </a:cubicBezTo>
                    <a:cubicBezTo>
                      <a:pt x="49" y="41"/>
                      <a:pt x="60" y="30"/>
                      <a:pt x="47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61" name="Freeform 6108"/>
              <p:cNvSpPr>
                <a:spLocks/>
              </p:cNvSpPr>
              <p:nvPr/>
            </p:nvSpPr>
            <p:spPr bwMode="auto">
              <a:xfrm>
                <a:off x="-926" y="1903"/>
                <a:ext cx="105" cy="110"/>
              </a:xfrm>
              <a:custGeom>
                <a:avLst/>
                <a:gdLst>
                  <a:gd name="T0" fmla="*/ 50 w 65"/>
                  <a:gd name="T1" fmla="*/ 9 h 68"/>
                  <a:gd name="T2" fmla="*/ 40 w 65"/>
                  <a:gd name="T3" fmla="*/ 0 h 68"/>
                  <a:gd name="T4" fmla="*/ 39 w 65"/>
                  <a:gd name="T5" fmla="*/ 0 h 68"/>
                  <a:gd name="T6" fmla="*/ 35 w 65"/>
                  <a:gd name="T7" fmla="*/ 6 h 68"/>
                  <a:gd name="T8" fmla="*/ 23 w 65"/>
                  <a:gd name="T9" fmla="*/ 14 h 68"/>
                  <a:gd name="T10" fmla="*/ 12 w 65"/>
                  <a:gd name="T11" fmla="*/ 21 h 68"/>
                  <a:gd name="T12" fmla="*/ 7 w 65"/>
                  <a:gd name="T13" fmla="*/ 32 h 68"/>
                  <a:gd name="T14" fmla="*/ 8 w 65"/>
                  <a:gd name="T15" fmla="*/ 43 h 68"/>
                  <a:gd name="T16" fmla="*/ 9 w 65"/>
                  <a:gd name="T17" fmla="*/ 51 h 68"/>
                  <a:gd name="T18" fmla="*/ 19 w 65"/>
                  <a:gd name="T19" fmla="*/ 57 h 68"/>
                  <a:gd name="T20" fmla="*/ 20 w 65"/>
                  <a:gd name="T21" fmla="*/ 57 h 68"/>
                  <a:gd name="T22" fmla="*/ 33 w 65"/>
                  <a:gd name="T23" fmla="*/ 56 h 68"/>
                  <a:gd name="T24" fmla="*/ 33 w 65"/>
                  <a:gd name="T25" fmla="*/ 55 h 68"/>
                  <a:gd name="T26" fmla="*/ 33 w 65"/>
                  <a:gd name="T27" fmla="*/ 56 h 68"/>
                  <a:gd name="T28" fmla="*/ 43 w 65"/>
                  <a:gd name="T29" fmla="*/ 44 h 68"/>
                  <a:gd name="T30" fmla="*/ 50 w 65"/>
                  <a:gd name="T31" fmla="*/ 35 h 68"/>
                  <a:gd name="T32" fmla="*/ 51 w 65"/>
                  <a:gd name="T33" fmla="*/ 24 h 68"/>
                  <a:gd name="T34" fmla="*/ 50 w 65"/>
                  <a:gd name="T35" fmla="*/ 9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5" h="68">
                    <a:moveTo>
                      <a:pt x="50" y="9"/>
                    </a:moveTo>
                    <a:cubicBezTo>
                      <a:pt x="50" y="9"/>
                      <a:pt x="51" y="0"/>
                      <a:pt x="40" y="0"/>
                    </a:cubicBezTo>
                    <a:cubicBezTo>
                      <a:pt x="40" y="0"/>
                      <a:pt x="40" y="0"/>
                      <a:pt x="39" y="0"/>
                    </a:cubicBezTo>
                    <a:cubicBezTo>
                      <a:pt x="39" y="0"/>
                      <a:pt x="35" y="3"/>
                      <a:pt x="35" y="6"/>
                    </a:cubicBezTo>
                    <a:cubicBezTo>
                      <a:pt x="35" y="6"/>
                      <a:pt x="26" y="0"/>
                      <a:pt x="23" y="14"/>
                    </a:cubicBezTo>
                    <a:cubicBezTo>
                      <a:pt x="23" y="14"/>
                      <a:pt x="11" y="9"/>
                      <a:pt x="12" y="21"/>
                    </a:cubicBezTo>
                    <a:cubicBezTo>
                      <a:pt x="12" y="21"/>
                      <a:pt x="2" y="25"/>
                      <a:pt x="7" y="32"/>
                    </a:cubicBezTo>
                    <a:cubicBezTo>
                      <a:pt x="7" y="32"/>
                      <a:pt x="0" y="41"/>
                      <a:pt x="8" y="43"/>
                    </a:cubicBezTo>
                    <a:cubicBezTo>
                      <a:pt x="8" y="43"/>
                      <a:pt x="3" y="46"/>
                      <a:pt x="9" y="51"/>
                    </a:cubicBezTo>
                    <a:cubicBezTo>
                      <a:pt x="9" y="51"/>
                      <a:pt x="6" y="66"/>
                      <a:pt x="19" y="57"/>
                    </a:cubicBezTo>
                    <a:cubicBezTo>
                      <a:pt x="20" y="57"/>
                      <a:pt x="20" y="57"/>
                      <a:pt x="20" y="57"/>
                    </a:cubicBezTo>
                    <a:cubicBezTo>
                      <a:pt x="20" y="57"/>
                      <a:pt x="25" y="68"/>
                      <a:pt x="33" y="56"/>
                    </a:cubicBezTo>
                    <a:cubicBezTo>
                      <a:pt x="33" y="56"/>
                      <a:pt x="33" y="56"/>
                      <a:pt x="33" y="55"/>
                    </a:cubicBezTo>
                    <a:cubicBezTo>
                      <a:pt x="41" y="43"/>
                      <a:pt x="33" y="56"/>
                      <a:pt x="33" y="56"/>
                    </a:cubicBezTo>
                    <a:cubicBezTo>
                      <a:pt x="33" y="56"/>
                      <a:pt x="45" y="62"/>
                      <a:pt x="43" y="44"/>
                    </a:cubicBezTo>
                    <a:cubicBezTo>
                      <a:pt x="43" y="44"/>
                      <a:pt x="53" y="49"/>
                      <a:pt x="50" y="35"/>
                    </a:cubicBezTo>
                    <a:cubicBezTo>
                      <a:pt x="50" y="35"/>
                      <a:pt x="62" y="30"/>
                      <a:pt x="51" y="24"/>
                    </a:cubicBezTo>
                    <a:cubicBezTo>
                      <a:pt x="51" y="24"/>
                      <a:pt x="65" y="16"/>
                      <a:pt x="50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62" name="Freeform 6109"/>
              <p:cNvSpPr>
                <a:spLocks/>
              </p:cNvSpPr>
              <p:nvPr/>
            </p:nvSpPr>
            <p:spPr bwMode="auto">
              <a:xfrm>
                <a:off x="-1003" y="1869"/>
                <a:ext cx="95" cy="131"/>
              </a:xfrm>
              <a:custGeom>
                <a:avLst/>
                <a:gdLst>
                  <a:gd name="T0" fmla="*/ 50 w 59"/>
                  <a:gd name="T1" fmla="*/ 13 h 81"/>
                  <a:gd name="T2" fmla="*/ 42 w 59"/>
                  <a:gd name="T3" fmla="*/ 0 h 81"/>
                  <a:gd name="T4" fmla="*/ 33 w 59"/>
                  <a:gd name="T5" fmla="*/ 8 h 81"/>
                  <a:gd name="T6" fmla="*/ 20 w 59"/>
                  <a:gd name="T7" fmla="*/ 21 h 81"/>
                  <a:gd name="T8" fmla="*/ 13 w 59"/>
                  <a:gd name="T9" fmla="*/ 25 h 81"/>
                  <a:gd name="T10" fmla="*/ 13 w 59"/>
                  <a:gd name="T11" fmla="*/ 34 h 81"/>
                  <a:gd name="T12" fmla="*/ 6 w 59"/>
                  <a:gd name="T13" fmla="*/ 42 h 81"/>
                  <a:gd name="T14" fmla="*/ 9 w 59"/>
                  <a:gd name="T15" fmla="*/ 51 h 81"/>
                  <a:gd name="T16" fmla="*/ 3 w 59"/>
                  <a:gd name="T17" fmla="*/ 61 h 81"/>
                  <a:gd name="T18" fmla="*/ 25 w 59"/>
                  <a:gd name="T19" fmla="*/ 55 h 81"/>
                  <a:gd name="T20" fmla="*/ 34 w 59"/>
                  <a:gd name="T21" fmla="*/ 46 h 81"/>
                  <a:gd name="T22" fmla="*/ 34 w 59"/>
                  <a:gd name="T23" fmla="*/ 45 h 81"/>
                  <a:gd name="T24" fmla="*/ 44 w 59"/>
                  <a:gd name="T25" fmla="*/ 46 h 81"/>
                  <a:gd name="T26" fmla="*/ 58 w 59"/>
                  <a:gd name="T27" fmla="*/ 28 h 81"/>
                  <a:gd name="T28" fmla="*/ 50 w 59"/>
                  <a:gd name="T29" fmla="*/ 13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9" h="81">
                    <a:moveTo>
                      <a:pt x="50" y="13"/>
                    </a:moveTo>
                    <a:cubicBezTo>
                      <a:pt x="50" y="13"/>
                      <a:pt x="52" y="1"/>
                      <a:pt x="42" y="0"/>
                    </a:cubicBezTo>
                    <a:cubicBezTo>
                      <a:pt x="42" y="0"/>
                      <a:pt x="33" y="0"/>
                      <a:pt x="33" y="8"/>
                    </a:cubicBezTo>
                    <a:cubicBezTo>
                      <a:pt x="33" y="8"/>
                      <a:pt x="19" y="8"/>
                      <a:pt x="20" y="21"/>
                    </a:cubicBezTo>
                    <a:cubicBezTo>
                      <a:pt x="20" y="21"/>
                      <a:pt x="15" y="20"/>
                      <a:pt x="13" y="25"/>
                    </a:cubicBezTo>
                    <a:cubicBezTo>
                      <a:pt x="13" y="25"/>
                      <a:pt x="10" y="31"/>
                      <a:pt x="13" y="34"/>
                    </a:cubicBezTo>
                    <a:cubicBezTo>
                      <a:pt x="13" y="34"/>
                      <a:pt x="6" y="36"/>
                      <a:pt x="6" y="42"/>
                    </a:cubicBezTo>
                    <a:cubicBezTo>
                      <a:pt x="6" y="42"/>
                      <a:pt x="6" y="50"/>
                      <a:pt x="9" y="51"/>
                    </a:cubicBezTo>
                    <a:cubicBezTo>
                      <a:pt x="9" y="51"/>
                      <a:pt x="0" y="56"/>
                      <a:pt x="3" y="61"/>
                    </a:cubicBezTo>
                    <a:cubicBezTo>
                      <a:pt x="3" y="61"/>
                      <a:pt x="10" y="81"/>
                      <a:pt x="25" y="55"/>
                    </a:cubicBezTo>
                    <a:cubicBezTo>
                      <a:pt x="25" y="55"/>
                      <a:pt x="39" y="57"/>
                      <a:pt x="34" y="46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4" y="45"/>
                      <a:pt x="40" y="53"/>
                      <a:pt x="44" y="46"/>
                    </a:cubicBezTo>
                    <a:cubicBezTo>
                      <a:pt x="44" y="46"/>
                      <a:pt x="59" y="65"/>
                      <a:pt x="58" y="28"/>
                    </a:cubicBezTo>
                    <a:cubicBezTo>
                      <a:pt x="58" y="28"/>
                      <a:pt x="59" y="14"/>
                      <a:pt x="50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63" name="Freeform 6110"/>
              <p:cNvSpPr>
                <a:spLocks/>
              </p:cNvSpPr>
              <p:nvPr/>
            </p:nvSpPr>
            <p:spPr bwMode="auto">
              <a:xfrm>
                <a:off x="-1021" y="1885"/>
                <a:ext cx="150" cy="128"/>
              </a:xfrm>
              <a:custGeom>
                <a:avLst/>
                <a:gdLst>
                  <a:gd name="T0" fmla="*/ 75 w 93"/>
                  <a:gd name="T1" fmla="*/ 28 h 79"/>
                  <a:gd name="T2" fmla="*/ 65 w 93"/>
                  <a:gd name="T3" fmla="*/ 20 h 79"/>
                  <a:gd name="T4" fmla="*/ 48 w 93"/>
                  <a:gd name="T5" fmla="*/ 19 h 79"/>
                  <a:gd name="T6" fmla="*/ 42 w 93"/>
                  <a:gd name="T7" fmla="*/ 29 h 79"/>
                  <a:gd name="T8" fmla="*/ 29 w 93"/>
                  <a:gd name="T9" fmla="*/ 44 h 79"/>
                  <a:gd name="T10" fmla="*/ 22 w 93"/>
                  <a:gd name="T11" fmla="*/ 53 h 79"/>
                  <a:gd name="T12" fmla="*/ 8 w 93"/>
                  <a:gd name="T13" fmla="*/ 58 h 79"/>
                  <a:gd name="T14" fmla="*/ 5 w 93"/>
                  <a:gd name="T15" fmla="*/ 68 h 79"/>
                  <a:gd name="T16" fmla="*/ 22 w 93"/>
                  <a:gd name="T17" fmla="*/ 65 h 79"/>
                  <a:gd name="T18" fmla="*/ 36 w 93"/>
                  <a:gd name="T19" fmla="*/ 53 h 79"/>
                  <a:gd name="T20" fmla="*/ 36 w 93"/>
                  <a:gd name="T21" fmla="*/ 53 h 79"/>
                  <a:gd name="T22" fmla="*/ 36 w 93"/>
                  <a:gd name="T23" fmla="*/ 53 h 79"/>
                  <a:gd name="T24" fmla="*/ 47 w 93"/>
                  <a:gd name="T25" fmla="*/ 48 h 79"/>
                  <a:gd name="T26" fmla="*/ 62 w 93"/>
                  <a:gd name="T27" fmla="*/ 48 h 79"/>
                  <a:gd name="T28" fmla="*/ 75 w 93"/>
                  <a:gd name="T29" fmla="*/ 57 h 79"/>
                  <a:gd name="T30" fmla="*/ 81 w 93"/>
                  <a:gd name="T31" fmla="*/ 44 h 79"/>
                  <a:gd name="T32" fmla="*/ 75 w 93"/>
                  <a:gd name="T33" fmla="*/ 28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3" h="79">
                    <a:moveTo>
                      <a:pt x="75" y="28"/>
                    </a:moveTo>
                    <a:cubicBezTo>
                      <a:pt x="78" y="14"/>
                      <a:pt x="65" y="20"/>
                      <a:pt x="65" y="20"/>
                    </a:cubicBezTo>
                    <a:cubicBezTo>
                      <a:pt x="56" y="0"/>
                      <a:pt x="48" y="19"/>
                      <a:pt x="48" y="19"/>
                    </a:cubicBezTo>
                    <a:cubicBezTo>
                      <a:pt x="35" y="17"/>
                      <a:pt x="42" y="29"/>
                      <a:pt x="42" y="29"/>
                    </a:cubicBezTo>
                    <a:cubicBezTo>
                      <a:pt x="21" y="24"/>
                      <a:pt x="29" y="44"/>
                      <a:pt x="29" y="44"/>
                    </a:cubicBezTo>
                    <a:cubicBezTo>
                      <a:pt x="18" y="44"/>
                      <a:pt x="22" y="53"/>
                      <a:pt x="22" y="53"/>
                    </a:cubicBezTo>
                    <a:cubicBezTo>
                      <a:pt x="10" y="41"/>
                      <a:pt x="8" y="58"/>
                      <a:pt x="8" y="58"/>
                    </a:cubicBezTo>
                    <a:cubicBezTo>
                      <a:pt x="0" y="59"/>
                      <a:pt x="5" y="68"/>
                      <a:pt x="5" y="68"/>
                    </a:cubicBezTo>
                    <a:cubicBezTo>
                      <a:pt x="16" y="79"/>
                      <a:pt x="22" y="65"/>
                      <a:pt x="22" y="65"/>
                    </a:cubicBezTo>
                    <a:cubicBezTo>
                      <a:pt x="38" y="76"/>
                      <a:pt x="36" y="53"/>
                      <a:pt x="36" y="53"/>
                    </a:cubicBezTo>
                    <a:cubicBezTo>
                      <a:pt x="36" y="53"/>
                      <a:pt x="25" y="46"/>
                      <a:pt x="36" y="53"/>
                    </a:cubicBezTo>
                    <a:cubicBezTo>
                      <a:pt x="36" y="53"/>
                      <a:pt x="36" y="53"/>
                      <a:pt x="36" y="53"/>
                    </a:cubicBezTo>
                    <a:cubicBezTo>
                      <a:pt x="46" y="59"/>
                      <a:pt x="47" y="48"/>
                      <a:pt x="47" y="48"/>
                    </a:cubicBezTo>
                    <a:cubicBezTo>
                      <a:pt x="53" y="64"/>
                      <a:pt x="62" y="48"/>
                      <a:pt x="62" y="48"/>
                    </a:cubicBezTo>
                    <a:cubicBezTo>
                      <a:pt x="62" y="70"/>
                      <a:pt x="75" y="57"/>
                      <a:pt x="75" y="57"/>
                    </a:cubicBezTo>
                    <a:cubicBezTo>
                      <a:pt x="93" y="61"/>
                      <a:pt x="81" y="44"/>
                      <a:pt x="81" y="44"/>
                    </a:cubicBezTo>
                    <a:cubicBezTo>
                      <a:pt x="91" y="31"/>
                      <a:pt x="75" y="28"/>
                      <a:pt x="75" y="2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64" name="Freeform 6111"/>
              <p:cNvSpPr>
                <a:spLocks/>
              </p:cNvSpPr>
              <p:nvPr/>
            </p:nvSpPr>
            <p:spPr bwMode="auto">
              <a:xfrm>
                <a:off x="-1321" y="1803"/>
                <a:ext cx="104" cy="158"/>
              </a:xfrm>
              <a:custGeom>
                <a:avLst/>
                <a:gdLst>
                  <a:gd name="T0" fmla="*/ 53 w 65"/>
                  <a:gd name="T1" fmla="*/ 39 h 98"/>
                  <a:gd name="T2" fmla="*/ 53 w 65"/>
                  <a:gd name="T3" fmla="*/ 9 h 98"/>
                  <a:gd name="T4" fmla="*/ 35 w 65"/>
                  <a:gd name="T5" fmla="*/ 18 h 98"/>
                  <a:gd name="T6" fmla="*/ 25 w 65"/>
                  <a:gd name="T7" fmla="*/ 30 h 98"/>
                  <a:gd name="T8" fmla="*/ 14 w 65"/>
                  <a:gd name="T9" fmla="*/ 46 h 98"/>
                  <a:gd name="T10" fmla="*/ 14 w 65"/>
                  <a:gd name="T11" fmla="*/ 65 h 98"/>
                  <a:gd name="T12" fmla="*/ 18 w 65"/>
                  <a:gd name="T13" fmla="*/ 85 h 98"/>
                  <a:gd name="T14" fmla="*/ 25 w 65"/>
                  <a:gd name="T15" fmla="*/ 98 h 98"/>
                  <a:gd name="T16" fmla="*/ 36 w 65"/>
                  <a:gd name="T17" fmla="*/ 81 h 98"/>
                  <a:gd name="T18" fmla="*/ 43 w 65"/>
                  <a:gd name="T19" fmla="*/ 65 h 98"/>
                  <a:gd name="T20" fmla="*/ 53 w 65"/>
                  <a:gd name="T21" fmla="*/ 39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5" h="98">
                    <a:moveTo>
                      <a:pt x="53" y="39"/>
                    </a:moveTo>
                    <a:cubicBezTo>
                      <a:pt x="53" y="39"/>
                      <a:pt x="61" y="14"/>
                      <a:pt x="53" y="9"/>
                    </a:cubicBezTo>
                    <a:cubicBezTo>
                      <a:pt x="53" y="9"/>
                      <a:pt x="37" y="0"/>
                      <a:pt x="35" y="18"/>
                    </a:cubicBezTo>
                    <a:cubicBezTo>
                      <a:pt x="35" y="18"/>
                      <a:pt x="24" y="17"/>
                      <a:pt x="25" y="30"/>
                    </a:cubicBezTo>
                    <a:cubicBezTo>
                      <a:pt x="25" y="30"/>
                      <a:pt x="7" y="24"/>
                      <a:pt x="14" y="46"/>
                    </a:cubicBezTo>
                    <a:cubicBezTo>
                      <a:pt x="14" y="46"/>
                      <a:pt x="0" y="55"/>
                      <a:pt x="14" y="65"/>
                    </a:cubicBezTo>
                    <a:cubicBezTo>
                      <a:pt x="14" y="65"/>
                      <a:pt x="2" y="78"/>
                      <a:pt x="18" y="85"/>
                    </a:cubicBezTo>
                    <a:cubicBezTo>
                      <a:pt x="18" y="85"/>
                      <a:pt x="15" y="97"/>
                      <a:pt x="25" y="98"/>
                    </a:cubicBezTo>
                    <a:cubicBezTo>
                      <a:pt x="25" y="98"/>
                      <a:pt x="39" y="97"/>
                      <a:pt x="36" y="81"/>
                    </a:cubicBezTo>
                    <a:cubicBezTo>
                      <a:pt x="36" y="81"/>
                      <a:pt x="53" y="75"/>
                      <a:pt x="43" y="65"/>
                    </a:cubicBezTo>
                    <a:cubicBezTo>
                      <a:pt x="43" y="65"/>
                      <a:pt x="65" y="49"/>
                      <a:pt x="53" y="3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65" name="Freeform 6112"/>
              <p:cNvSpPr>
                <a:spLocks/>
              </p:cNvSpPr>
              <p:nvPr/>
            </p:nvSpPr>
            <p:spPr bwMode="auto">
              <a:xfrm>
                <a:off x="-1223" y="1985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66" name="Freeform 6113"/>
              <p:cNvSpPr>
                <a:spLocks/>
              </p:cNvSpPr>
              <p:nvPr/>
            </p:nvSpPr>
            <p:spPr bwMode="auto">
              <a:xfrm>
                <a:off x="-1215" y="1994"/>
                <a:ext cx="0" cy="1"/>
              </a:xfrm>
              <a:custGeom>
                <a:avLst/>
                <a:gdLst>
                  <a:gd name="T0" fmla="*/ 0 h 1"/>
                  <a:gd name="T1" fmla="*/ 1 h 1"/>
                  <a:gd name="T2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1"/>
                    </a:cubicBezTo>
                    <a:cubicBezTo>
                      <a:pt x="0" y="1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67" name="Freeform 6114"/>
              <p:cNvSpPr>
                <a:spLocks/>
              </p:cNvSpPr>
              <p:nvPr/>
            </p:nvSpPr>
            <p:spPr bwMode="auto">
              <a:xfrm>
                <a:off x="-1241" y="1948"/>
                <a:ext cx="50" cy="133"/>
              </a:xfrm>
              <a:custGeom>
                <a:avLst/>
                <a:gdLst>
                  <a:gd name="T0" fmla="*/ 16 w 31"/>
                  <a:gd name="T1" fmla="*/ 28 h 82"/>
                  <a:gd name="T2" fmla="*/ 16 w 31"/>
                  <a:gd name="T3" fmla="*/ 29 h 82"/>
                  <a:gd name="T4" fmla="*/ 16 w 31"/>
                  <a:gd name="T5" fmla="*/ 28 h 82"/>
                  <a:gd name="T6" fmla="*/ 19 w 31"/>
                  <a:gd name="T7" fmla="*/ 3 h 82"/>
                  <a:gd name="T8" fmla="*/ 14 w 31"/>
                  <a:gd name="T9" fmla="*/ 0 h 82"/>
                  <a:gd name="T10" fmla="*/ 11 w 31"/>
                  <a:gd name="T11" fmla="*/ 23 h 82"/>
                  <a:gd name="T12" fmla="*/ 11 w 31"/>
                  <a:gd name="T13" fmla="*/ 23 h 82"/>
                  <a:gd name="T14" fmla="*/ 11 w 31"/>
                  <a:gd name="T15" fmla="*/ 23 h 82"/>
                  <a:gd name="T16" fmla="*/ 2 w 31"/>
                  <a:gd name="T17" fmla="*/ 8 h 82"/>
                  <a:gd name="T18" fmla="*/ 0 w 31"/>
                  <a:gd name="T19" fmla="*/ 15 h 82"/>
                  <a:gd name="T20" fmla="*/ 6 w 31"/>
                  <a:gd name="T21" fmla="*/ 48 h 82"/>
                  <a:gd name="T22" fmla="*/ 3 w 31"/>
                  <a:gd name="T23" fmla="*/ 82 h 82"/>
                  <a:gd name="T24" fmla="*/ 4 w 31"/>
                  <a:gd name="T25" fmla="*/ 82 h 82"/>
                  <a:gd name="T26" fmla="*/ 21 w 31"/>
                  <a:gd name="T27" fmla="*/ 82 h 82"/>
                  <a:gd name="T28" fmla="*/ 19 w 31"/>
                  <a:gd name="T29" fmla="*/ 38 h 82"/>
                  <a:gd name="T30" fmla="*/ 31 w 31"/>
                  <a:gd name="T31" fmla="*/ 12 h 82"/>
                  <a:gd name="T32" fmla="*/ 30 w 31"/>
                  <a:gd name="T33" fmla="*/ 4 h 82"/>
                  <a:gd name="T34" fmla="*/ 16 w 31"/>
                  <a:gd name="T35" fmla="*/ 28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1" h="82">
                    <a:moveTo>
                      <a:pt x="16" y="28"/>
                    </a:moveTo>
                    <a:cubicBezTo>
                      <a:pt x="16" y="28"/>
                      <a:pt x="16" y="29"/>
                      <a:pt x="16" y="29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23"/>
                      <a:pt x="17" y="7"/>
                      <a:pt x="19" y="3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4" y="0"/>
                      <a:pt x="11" y="19"/>
                      <a:pt x="11" y="23"/>
                    </a:cubicBezTo>
                    <a:cubicBezTo>
                      <a:pt x="11" y="23"/>
                      <a:pt x="11" y="23"/>
                      <a:pt x="11" y="23"/>
                    </a:cubicBezTo>
                    <a:cubicBezTo>
                      <a:pt x="11" y="23"/>
                      <a:pt x="11" y="23"/>
                      <a:pt x="11" y="23"/>
                    </a:cubicBezTo>
                    <a:cubicBezTo>
                      <a:pt x="11" y="21"/>
                      <a:pt x="8" y="12"/>
                      <a:pt x="2" y="8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0" y="15"/>
                      <a:pt x="8" y="23"/>
                      <a:pt x="6" y="48"/>
                    </a:cubicBezTo>
                    <a:cubicBezTo>
                      <a:pt x="6" y="48"/>
                      <a:pt x="4" y="77"/>
                      <a:pt x="3" y="82"/>
                    </a:cubicBezTo>
                    <a:cubicBezTo>
                      <a:pt x="4" y="82"/>
                      <a:pt x="4" y="82"/>
                      <a:pt x="4" y="82"/>
                    </a:cubicBezTo>
                    <a:cubicBezTo>
                      <a:pt x="21" y="82"/>
                      <a:pt x="21" y="82"/>
                      <a:pt x="21" y="82"/>
                    </a:cubicBezTo>
                    <a:cubicBezTo>
                      <a:pt x="21" y="82"/>
                      <a:pt x="16" y="51"/>
                      <a:pt x="19" y="38"/>
                    </a:cubicBezTo>
                    <a:cubicBezTo>
                      <a:pt x="22" y="25"/>
                      <a:pt x="26" y="13"/>
                      <a:pt x="31" y="12"/>
                    </a:cubicBezTo>
                    <a:cubicBezTo>
                      <a:pt x="30" y="4"/>
                      <a:pt x="30" y="4"/>
                      <a:pt x="30" y="4"/>
                    </a:cubicBezTo>
                    <a:cubicBezTo>
                      <a:pt x="30" y="4"/>
                      <a:pt x="16" y="17"/>
                      <a:pt x="16" y="2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68" name="Freeform 6115"/>
              <p:cNvSpPr>
                <a:spLocks/>
              </p:cNvSpPr>
              <p:nvPr/>
            </p:nvSpPr>
            <p:spPr bwMode="auto">
              <a:xfrm>
                <a:off x="-1294" y="1868"/>
                <a:ext cx="53" cy="75"/>
              </a:xfrm>
              <a:custGeom>
                <a:avLst/>
                <a:gdLst>
                  <a:gd name="T0" fmla="*/ 22 w 33"/>
                  <a:gd name="T1" fmla="*/ 4 h 47"/>
                  <a:gd name="T2" fmla="*/ 11 w 33"/>
                  <a:gd name="T3" fmla="*/ 16 h 47"/>
                  <a:gd name="T4" fmla="*/ 10 w 33"/>
                  <a:gd name="T5" fmla="*/ 30 h 47"/>
                  <a:gd name="T6" fmla="*/ 20 w 33"/>
                  <a:gd name="T7" fmla="*/ 43 h 47"/>
                  <a:gd name="T8" fmla="*/ 22 w 33"/>
                  <a:gd name="T9" fmla="*/ 4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47">
                    <a:moveTo>
                      <a:pt x="22" y="4"/>
                    </a:moveTo>
                    <a:cubicBezTo>
                      <a:pt x="22" y="4"/>
                      <a:pt x="5" y="0"/>
                      <a:pt x="11" y="16"/>
                    </a:cubicBezTo>
                    <a:cubicBezTo>
                      <a:pt x="11" y="16"/>
                      <a:pt x="0" y="21"/>
                      <a:pt x="10" y="30"/>
                    </a:cubicBezTo>
                    <a:cubicBezTo>
                      <a:pt x="10" y="30"/>
                      <a:pt x="4" y="47"/>
                      <a:pt x="20" y="43"/>
                    </a:cubicBezTo>
                    <a:cubicBezTo>
                      <a:pt x="20" y="43"/>
                      <a:pt x="33" y="6"/>
                      <a:pt x="22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69" name="Freeform 6116"/>
              <p:cNvSpPr>
                <a:spLocks/>
              </p:cNvSpPr>
              <p:nvPr/>
            </p:nvSpPr>
            <p:spPr bwMode="auto">
              <a:xfrm>
                <a:off x="-1238" y="1843"/>
                <a:ext cx="2" cy="0"/>
              </a:xfrm>
              <a:custGeom>
                <a:avLst/>
                <a:gdLst>
                  <a:gd name="T0" fmla="*/ 0 w 1"/>
                  <a:gd name="T1" fmla="*/ 1 w 1"/>
                  <a:gd name="T2" fmla="*/ 0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1" y="0"/>
                    </a:cubicBezTo>
                    <a:cubicBezTo>
                      <a:pt x="1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70" name="Freeform 6117"/>
              <p:cNvSpPr>
                <a:spLocks/>
              </p:cNvSpPr>
              <p:nvPr/>
            </p:nvSpPr>
            <p:spPr bwMode="auto">
              <a:xfrm>
                <a:off x="-1262" y="1795"/>
                <a:ext cx="85" cy="103"/>
              </a:xfrm>
              <a:custGeom>
                <a:avLst/>
                <a:gdLst>
                  <a:gd name="T0" fmla="*/ 47 w 53"/>
                  <a:gd name="T1" fmla="*/ 11 h 64"/>
                  <a:gd name="T2" fmla="*/ 40 w 53"/>
                  <a:gd name="T3" fmla="*/ 1 h 64"/>
                  <a:gd name="T4" fmla="*/ 28 w 53"/>
                  <a:gd name="T5" fmla="*/ 11 h 64"/>
                  <a:gd name="T6" fmla="*/ 12 w 53"/>
                  <a:gd name="T7" fmla="*/ 19 h 64"/>
                  <a:gd name="T8" fmla="*/ 15 w 53"/>
                  <a:gd name="T9" fmla="*/ 30 h 64"/>
                  <a:gd name="T10" fmla="*/ 16 w 53"/>
                  <a:gd name="T11" fmla="*/ 30 h 64"/>
                  <a:gd name="T12" fmla="*/ 15 w 53"/>
                  <a:gd name="T13" fmla="*/ 30 h 64"/>
                  <a:gd name="T14" fmla="*/ 6 w 53"/>
                  <a:gd name="T15" fmla="*/ 35 h 64"/>
                  <a:gd name="T16" fmla="*/ 7 w 53"/>
                  <a:gd name="T17" fmla="*/ 45 h 64"/>
                  <a:gd name="T18" fmla="*/ 2 w 53"/>
                  <a:gd name="T19" fmla="*/ 56 h 64"/>
                  <a:gd name="T20" fmla="*/ 13 w 53"/>
                  <a:gd name="T21" fmla="*/ 63 h 64"/>
                  <a:gd name="T22" fmla="*/ 27 w 53"/>
                  <a:gd name="T23" fmla="*/ 49 h 64"/>
                  <a:gd name="T24" fmla="*/ 35 w 53"/>
                  <a:gd name="T25" fmla="*/ 35 h 64"/>
                  <a:gd name="T26" fmla="*/ 42 w 53"/>
                  <a:gd name="T27" fmla="*/ 23 h 64"/>
                  <a:gd name="T28" fmla="*/ 47 w 53"/>
                  <a:gd name="T29" fmla="*/ 11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3" h="64">
                    <a:moveTo>
                      <a:pt x="47" y="11"/>
                    </a:moveTo>
                    <a:cubicBezTo>
                      <a:pt x="47" y="11"/>
                      <a:pt x="47" y="2"/>
                      <a:pt x="40" y="1"/>
                    </a:cubicBezTo>
                    <a:cubicBezTo>
                      <a:pt x="40" y="1"/>
                      <a:pt x="28" y="0"/>
                      <a:pt x="28" y="11"/>
                    </a:cubicBezTo>
                    <a:cubicBezTo>
                      <a:pt x="28" y="11"/>
                      <a:pt x="14" y="5"/>
                      <a:pt x="12" y="19"/>
                    </a:cubicBezTo>
                    <a:cubicBezTo>
                      <a:pt x="12" y="19"/>
                      <a:pt x="11" y="28"/>
                      <a:pt x="15" y="30"/>
                    </a:cubicBezTo>
                    <a:cubicBezTo>
                      <a:pt x="15" y="30"/>
                      <a:pt x="16" y="30"/>
                      <a:pt x="16" y="30"/>
                    </a:cubicBezTo>
                    <a:cubicBezTo>
                      <a:pt x="15" y="30"/>
                      <a:pt x="15" y="30"/>
                      <a:pt x="15" y="30"/>
                    </a:cubicBezTo>
                    <a:cubicBezTo>
                      <a:pt x="12" y="29"/>
                      <a:pt x="7" y="29"/>
                      <a:pt x="6" y="35"/>
                    </a:cubicBezTo>
                    <a:cubicBezTo>
                      <a:pt x="6" y="35"/>
                      <a:pt x="4" y="37"/>
                      <a:pt x="7" y="45"/>
                    </a:cubicBezTo>
                    <a:cubicBezTo>
                      <a:pt x="7" y="45"/>
                      <a:pt x="0" y="49"/>
                      <a:pt x="2" y="56"/>
                    </a:cubicBezTo>
                    <a:cubicBezTo>
                      <a:pt x="2" y="56"/>
                      <a:pt x="3" y="64"/>
                      <a:pt x="13" y="63"/>
                    </a:cubicBezTo>
                    <a:cubicBezTo>
                      <a:pt x="13" y="63"/>
                      <a:pt x="30" y="64"/>
                      <a:pt x="27" y="49"/>
                    </a:cubicBezTo>
                    <a:cubicBezTo>
                      <a:pt x="27" y="49"/>
                      <a:pt x="47" y="44"/>
                      <a:pt x="35" y="35"/>
                    </a:cubicBezTo>
                    <a:cubicBezTo>
                      <a:pt x="35" y="35"/>
                      <a:pt x="53" y="40"/>
                      <a:pt x="42" y="23"/>
                    </a:cubicBezTo>
                    <a:cubicBezTo>
                      <a:pt x="42" y="23"/>
                      <a:pt x="48" y="16"/>
                      <a:pt x="47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71" name="Freeform 6118"/>
              <p:cNvSpPr>
                <a:spLocks/>
              </p:cNvSpPr>
              <p:nvPr/>
            </p:nvSpPr>
            <p:spPr bwMode="auto">
              <a:xfrm>
                <a:off x="-1231" y="1805"/>
                <a:ext cx="104" cy="103"/>
              </a:xfrm>
              <a:custGeom>
                <a:avLst/>
                <a:gdLst>
                  <a:gd name="T0" fmla="*/ 41 w 65"/>
                  <a:gd name="T1" fmla="*/ 12 h 64"/>
                  <a:gd name="T2" fmla="*/ 32 w 65"/>
                  <a:gd name="T3" fmla="*/ 1 h 64"/>
                  <a:gd name="T4" fmla="*/ 23 w 65"/>
                  <a:gd name="T5" fmla="*/ 13 h 64"/>
                  <a:gd name="T6" fmla="*/ 14 w 65"/>
                  <a:gd name="T7" fmla="*/ 21 h 64"/>
                  <a:gd name="T8" fmla="*/ 14 w 65"/>
                  <a:gd name="T9" fmla="*/ 33 h 64"/>
                  <a:gd name="T10" fmla="*/ 20 w 65"/>
                  <a:gd name="T11" fmla="*/ 49 h 64"/>
                  <a:gd name="T12" fmla="*/ 35 w 65"/>
                  <a:gd name="T13" fmla="*/ 52 h 64"/>
                  <a:gd name="T14" fmla="*/ 46 w 65"/>
                  <a:gd name="T15" fmla="*/ 43 h 64"/>
                  <a:gd name="T16" fmla="*/ 52 w 65"/>
                  <a:gd name="T17" fmla="*/ 23 h 64"/>
                  <a:gd name="T18" fmla="*/ 41 w 65"/>
                  <a:gd name="T19" fmla="*/ 12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5" h="64">
                    <a:moveTo>
                      <a:pt x="41" y="12"/>
                    </a:moveTo>
                    <a:cubicBezTo>
                      <a:pt x="41" y="12"/>
                      <a:pt x="41" y="2"/>
                      <a:pt x="32" y="1"/>
                    </a:cubicBezTo>
                    <a:cubicBezTo>
                      <a:pt x="32" y="1"/>
                      <a:pt x="25" y="0"/>
                      <a:pt x="23" y="13"/>
                    </a:cubicBezTo>
                    <a:cubicBezTo>
                      <a:pt x="23" y="13"/>
                      <a:pt x="13" y="10"/>
                      <a:pt x="14" y="21"/>
                    </a:cubicBezTo>
                    <a:cubicBezTo>
                      <a:pt x="14" y="21"/>
                      <a:pt x="0" y="26"/>
                      <a:pt x="14" y="33"/>
                    </a:cubicBezTo>
                    <a:cubicBezTo>
                      <a:pt x="14" y="33"/>
                      <a:pt x="11" y="50"/>
                      <a:pt x="20" y="49"/>
                    </a:cubicBezTo>
                    <a:cubicBezTo>
                      <a:pt x="20" y="49"/>
                      <a:pt x="25" y="64"/>
                      <a:pt x="35" y="52"/>
                    </a:cubicBezTo>
                    <a:cubicBezTo>
                      <a:pt x="35" y="52"/>
                      <a:pt x="50" y="58"/>
                      <a:pt x="46" y="43"/>
                    </a:cubicBezTo>
                    <a:cubicBezTo>
                      <a:pt x="46" y="43"/>
                      <a:pt x="65" y="35"/>
                      <a:pt x="52" y="23"/>
                    </a:cubicBezTo>
                    <a:cubicBezTo>
                      <a:pt x="52" y="23"/>
                      <a:pt x="55" y="11"/>
                      <a:pt x="41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72" name="Freeform 6119"/>
              <p:cNvSpPr>
                <a:spLocks/>
              </p:cNvSpPr>
              <p:nvPr/>
            </p:nvSpPr>
            <p:spPr bwMode="auto">
              <a:xfrm>
                <a:off x="-1196" y="1842"/>
                <a:ext cx="98" cy="97"/>
              </a:xfrm>
              <a:custGeom>
                <a:avLst/>
                <a:gdLst>
                  <a:gd name="T0" fmla="*/ 48 w 61"/>
                  <a:gd name="T1" fmla="*/ 23 h 60"/>
                  <a:gd name="T2" fmla="*/ 42 w 61"/>
                  <a:gd name="T3" fmla="*/ 11 h 60"/>
                  <a:gd name="T4" fmla="*/ 33 w 61"/>
                  <a:gd name="T5" fmla="*/ 0 h 60"/>
                  <a:gd name="T6" fmla="*/ 25 w 61"/>
                  <a:gd name="T7" fmla="*/ 13 h 60"/>
                  <a:gd name="T8" fmla="*/ 13 w 61"/>
                  <a:gd name="T9" fmla="*/ 15 h 60"/>
                  <a:gd name="T10" fmla="*/ 15 w 61"/>
                  <a:gd name="T11" fmla="*/ 25 h 60"/>
                  <a:gd name="T12" fmla="*/ 5 w 61"/>
                  <a:gd name="T13" fmla="*/ 39 h 60"/>
                  <a:gd name="T14" fmla="*/ 26 w 61"/>
                  <a:gd name="T15" fmla="*/ 46 h 60"/>
                  <a:gd name="T16" fmla="*/ 37 w 61"/>
                  <a:gd name="T17" fmla="*/ 46 h 60"/>
                  <a:gd name="T18" fmla="*/ 48 w 61"/>
                  <a:gd name="T19" fmla="*/ 41 h 60"/>
                  <a:gd name="T20" fmla="*/ 50 w 61"/>
                  <a:gd name="T21" fmla="*/ 41 h 60"/>
                  <a:gd name="T22" fmla="*/ 48 w 61"/>
                  <a:gd name="T23" fmla="*/ 23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60">
                    <a:moveTo>
                      <a:pt x="48" y="23"/>
                    </a:moveTo>
                    <a:cubicBezTo>
                      <a:pt x="48" y="23"/>
                      <a:pt x="54" y="12"/>
                      <a:pt x="42" y="11"/>
                    </a:cubicBezTo>
                    <a:cubicBezTo>
                      <a:pt x="42" y="11"/>
                      <a:pt x="41" y="0"/>
                      <a:pt x="33" y="0"/>
                    </a:cubicBezTo>
                    <a:cubicBezTo>
                      <a:pt x="33" y="0"/>
                      <a:pt x="21" y="0"/>
                      <a:pt x="25" y="13"/>
                    </a:cubicBezTo>
                    <a:cubicBezTo>
                      <a:pt x="25" y="13"/>
                      <a:pt x="16" y="6"/>
                      <a:pt x="13" y="15"/>
                    </a:cubicBezTo>
                    <a:cubicBezTo>
                      <a:pt x="13" y="15"/>
                      <a:pt x="9" y="24"/>
                      <a:pt x="15" y="25"/>
                    </a:cubicBezTo>
                    <a:cubicBezTo>
                      <a:pt x="15" y="25"/>
                      <a:pt x="0" y="27"/>
                      <a:pt x="5" y="39"/>
                    </a:cubicBezTo>
                    <a:cubicBezTo>
                      <a:pt x="5" y="39"/>
                      <a:pt x="13" y="60"/>
                      <a:pt x="26" y="46"/>
                    </a:cubicBezTo>
                    <a:cubicBezTo>
                      <a:pt x="26" y="46"/>
                      <a:pt x="35" y="54"/>
                      <a:pt x="37" y="46"/>
                    </a:cubicBezTo>
                    <a:cubicBezTo>
                      <a:pt x="37" y="46"/>
                      <a:pt x="49" y="55"/>
                      <a:pt x="48" y="41"/>
                    </a:cubicBezTo>
                    <a:cubicBezTo>
                      <a:pt x="48" y="41"/>
                      <a:pt x="49" y="42"/>
                      <a:pt x="50" y="41"/>
                    </a:cubicBezTo>
                    <a:cubicBezTo>
                      <a:pt x="50" y="41"/>
                      <a:pt x="61" y="29"/>
                      <a:pt x="48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73" name="Freeform 6120"/>
              <p:cNvSpPr>
                <a:spLocks/>
              </p:cNvSpPr>
              <p:nvPr/>
            </p:nvSpPr>
            <p:spPr bwMode="auto">
              <a:xfrm>
                <a:off x="-1201" y="1892"/>
                <a:ext cx="105" cy="110"/>
              </a:xfrm>
              <a:custGeom>
                <a:avLst/>
                <a:gdLst>
                  <a:gd name="T0" fmla="*/ 50 w 65"/>
                  <a:gd name="T1" fmla="*/ 9 h 68"/>
                  <a:gd name="T2" fmla="*/ 39 w 65"/>
                  <a:gd name="T3" fmla="*/ 1 h 68"/>
                  <a:gd name="T4" fmla="*/ 39 w 65"/>
                  <a:gd name="T5" fmla="*/ 1 h 68"/>
                  <a:gd name="T6" fmla="*/ 34 w 65"/>
                  <a:gd name="T7" fmla="*/ 6 h 68"/>
                  <a:gd name="T8" fmla="*/ 22 w 65"/>
                  <a:gd name="T9" fmla="*/ 14 h 68"/>
                  <a:gd name="T10" fmla="*/ 11 w 65"/>
                  <a:gd name="T11" fmla="*/ 22 h 68"/>
                  <a:gd name="T12" fmla="*/ 6 w 65"/>
                  <a:gd name="T13" fmla="*/ 32 h 68"/>
                  <a:gd name="T14" fmla="*/ 8 w 65"/>
                  <a:gd name="T15" fmla="*/ 43 h 68"/>
                  <a:gd name="T16" fmla="*/ 9 w 65"/>
                  <a:gd name="T17" fmla="*/ 51 h 68"/>
                  <a:gd name="T18" fmla="*/ 19 w 65"/>
                  <a:gd name="T19" fmla="*/ 58 h 68"/>
                  <a:gd name="T20" fmla="*/ 19 w 65"/>
                  <a:gd name="T21" fmla="*/ 57 h 68"/>
                  <a:gd name="T22" fmla="*/ 32 w 65"/>
                  <a:gd name="T23" fmla="*/ 56 h 68"/>
                  <a:gd name="T24" fmla="*/ 33 w 65"/>
                  <a:gd name="T25" fmla="*/ 56 h 68"/>
                  <a:gd name="T26" fmla="*/ 32 w 65"/>
                  <a:gd name="T27" fmla="*/ 56 h 68"/>
                  <a:gd name="T28" fmla="*/ 43 w 65"/>
                  <a:gd name="T29" fmla="*/ 45 h 68"/>
                  <a:gd name="T30" fmla="*/ 50 w 65"/>
                  <a:gd name="T31" fmla="*/ 36 h 68"/>
                  <a:gd name="T32" fmla="*/ 51 w 65"/>
                  <a:gd name="T33" fmla="*/ 24 h 68"/>
                  <a:gd name="T34" fmla="*/ 50 w 65"/>
                  <a:gd name="T35" fmla="*/ 9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5" h="68">
                    <a:moveTo>
                      <a:pt x="50" y="9"/>
                    </a:moveTo>
                    <a:cubicBezTo>
                      <a:pt x="50" y="9"/>
                      <a:pt x="51" y="0"/>
                      <a:pt x="39" y="1"/>
                    </a:cubicBezTo>
                    <a:cubicBezTo>
                      <a:pt x="39" y="1"/>
                      <a:pt x="39" y="1"/>
                      <a:pt x="39" y="1"/>
                    </a:cubicBezTo>
                    <a:cubicBezTo>
                      <a:pt x="39" y="1"/>
                      <a:pt x="34" y="3"/>
                      <a:pt x="34" y="6"/>
                    </a:cubicBezTo>
                    <a:cubicBezTo>
                      <a:pt x="34" y="6"/>
                      <a:pt x="26" y="0"/>
                      <a:pt x="22" y="14"/>
                    </a:cubicBezTo>
                    <a:cubicBezTo>
                      <a:pt x="22" y="14"/>
                      <a:pt x="11" y="9"/>
                      <a:pt x="11" y="22"/>
                    </a:cubicBezTo>
                    <a:cubicBezTo>
                      <a:pt x="11" y="22"/>
                      <a:pt x="1" y="26"/>
                      <a:pt x="6" y="32"/>
                    </a:cubicBezTo>
                    <a:cubicBezTo>
                      <a:pt x="6" y="32"/>
                      <a:pt x="0" y="41"/>
                      <a:pt x="8" y="43"/>
                    </a:cubicBezTo>
                    <a:cubicBezTo>
                      <a:pt x="8" y="43"/>
                      <a:pt x="2" y="47"/>
                      <a:pt x="9" y="51"/>
                    </a:cubicBezTo>
                    <a:cubicBezTo>
                      <a:pt x="9" y="51"/>
                      <a:pt x="5" y="66"/>
                      <a:pt x="19" y="58"/>
                    </a:cubicBezTo>
                    <a:cubicBezTo>
                      <a:pt x="19" y="58"/>
                      <a:pt x="19" y="57"/>
                      <a:pt x="19" y="57"/>
                    </a:cubicBezTo>
                    <a:cubicBezTo>
                      <a:pt x="19" y="57"/>
                      <a:pt x="24" y="68"/>
                      <a:pt x="32" y="56"/>
                    </a:cubicBezTo>
                    <a:cubicBezTo>
                      <a:pt x="32" y="56"/>
                      <a:pt x="32" y="56"/>
                      <a:pt x="33" y="56"/>
                    </a:cubicBezTo>
                    <a:cubicBezTo>
                      <a:pt x="41" y="43"/>
                      <a:pt x="32" y="56"/>
                      <a:pt x="32" y="56"/>
                    </a:cubicBezTo>
                    <a:cubicBezTo>
                      <a:pt x="32" y="56"/>
                      <a:pt x="45" y="63"/>
                      <a:pt x="43" y="45"/>
                    </a:cubicBezTo>
                    <a:cubicBezTo>
                      <a:pt x="43" y="45"/>
                      <a:pt x="52" y="49"/>
                      <a:pt x="50" y="36"/>
                    </a:cubicBezTo>
                    <a:cubicBezTo>
                      <a:pt x="50" y="36"/>
                      <a:pt x="62" y="30"/>
                      <a:pt x="51" y="24"/>
                    </a:cubicBezTo>
                    <a:cubicBezTo>
                      <a:pt x="51" y="24"/>
                      <a:pt x="65" y="16"/>
                      <a:pt x="50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74" name="Freeform 6121"/>
              <p:cNvSpPr>
                <a:spLocks/>
              </p:cNvSpPr>
              <p:nvPr/>
            </p:nvSpPr>
            <p:spPr bwMode="auto">
              <a:xfrm>
                <a:off x="-1278" y="1858"/>
                <a:ext cx="95" cy="131"/>
              </a:xfrm>
              <a:custGeom>
                <a:avLst/>
                <a:gdLst>
                  <a:gd name="T0" fmla="*/ 49 w 59"/>
                  <a:gd name="T1" fmla="*/ 13 h 81"/>
                  <a:gd name="T2" fmla="*/ 41 w 59"/>
                  <a:gd name="T3" fmla="*/ 0 h 81"/>
                  <a:gd name="T4" fmla="*/ 32 w 59"/>
                  <a:gd name="T5" fmla="*/ 8 h 81"/>
                  <a:gd name="T6" fmla="*/ 20 w 59"/>
                  <a:gd name="T7" fmla="*/ 22 h 81"/>
                  <a:gd name="T8" fmla="*/ 12 w 59"/>
                  <a:gd name="T9" fmla="*/ 25 h 81"/>
                  <a:gd name="T10" fmla="*/ 12 w 59"/>
                  <a:gd name="T11" fmla="*/ 34 h 81"/>
                  <a:gd name="T12" fmla="*/ 6 w 59"/>
                  <a:gd name="T13" fmla="*/ 42 h 81"/>
                  <a:gd name="T14" fmla="*/ 8 w 59"/>
                  <a:gd name="T15" fmla="*/ 52 h 81"/>
                  <a:gd name="T16" fmla="*/ 3 w 59"/>
                  <a:gd name="T17" fmla="*/ 62 h 81"/>
                  <a:gd name="T18" fmla="*/ 25 w 59"/>
                  <a:gd name="T19" fmla="*/ 55 h 81"/>
                  <a:gd name="T20" fmla="*/ 34 w 59"/>
                  <a:gd name="T21" fmla="*/ 46 h 81"/>
                  <a:gd name="T22" fmla="*/ 34 w 59"/>
                  <a:gd name="T23" fmla="*/ 45 h 81"/>
                  <a:gd name="T24" fmla="*/ 44 w 59"/>
                  <a:gd name="T25" fmla="*/ 46 h 81"/>
                  <a:gd name="T26" fmla="*/ 57 w 59"/>
                  <a:gd name="T27" fmla="*/ 28 h 81"/>
                  <a:gd name="T28" fmla="*/ 49 w 59"/>
                  <a:gd name="T29" fmla="*/ 13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9" h="81">
                    <a:moveTo>
                      <a:pt x="49" y="13"/>
                    </a:moveTo>
                    <a:cubicBezTo>
                      <a:pt x="49" y="13"/>
                      <a:pt x="51" y="2"/>
                      <a:pt x="41" y="0"/>
                    </a:cubicBezTo>
                    <a:cubicBezTo>
                      <a:pt x="41" y="0"/>
                      <a:pt x="32" y="1"/>
                      <a:pt x="32" y="8"/>
                    </a:cubicBezTo>
                    <a:cubicBezTo>
                      <a:pt x="32" y="8"/>
                      <a:pt x="18" y="8"/>
                      <a:pt x="20" y="22"/>
                    </a:cubicBezTo>
                    <a:cubicBezTo>
                      <a:pt x="20" y="22"/>
                      <a:pt x="15" y="20"/>
                      <a:pt x="12" y="25"/>
                    </a:cubicBezTo>
                    <a:cubicBezTo>
                      <a:pt x="12" y="25"/>
                      <a:pt x="9" y="31"/>
                      <a:pt x="12" y="34"/>
                    </a:cubicBezTo>
                    <a:cubicBezTo>
                      <a:pt x="12" y="34"/>
                      <a:pt x="5" y="36"/>
                      <a:pt x="6" y="42"/>
                    </a:cubicBezTo>
                    <a:cubicBezTo>
                      <a:pt x="6" y="42"/>
                      <a:pt x="5" y="51"/>
                      <a:pt x="8" y="52"/>
                    </a:cubicBezTo>
                    <a:cubicBezTo>
                      <a:pt x="8" y="52"/>
                      <a:pt x="0" y="56"/>
                      <a:pt x="3" y="62"/>
                    </a:cubicBezTo>
                    <a:cubicBezTo>
                      <a:pt x="3" y="62"/>
                      <a:pt x="10" y="81"/>
                      <a:pt x="25" y="55"/>
                    </a:cubicBezTo>
                    <a:cubicBezTo>
                      <a:pt x="25" y="55"/>
                      <a:pt x="38" y="58"/>
                      <a:pt x="34" y="46"/>
                    </a:cubicBezTo>
                    <a:cubicBezTo>
                      <a:pt x="34" y="46"/>
                      <a:pt x="34" y="45"/>
                      <a:pt x="34" y="45"/>
                    </a:cubicBezTo>
                    <a:cubicBezTo>
                      <a:pt x="34" y="45"/>
                      <a:pt x="40" y="53"/>
                      <a:pt x="44" y="46"/>
                    </a:cubicBezTo>
                    <a:cubicBezTo>
                      <a:pt x="44" y="46"/>
                      <a:pt x="58" y="66"/>
                      <a:pt x="57" y="28"/>
                    </a:cubicBezTo>
                    <a:cubicBezTo>
                      <a:pt x="57" y="28"/>
                      <a:pt x="59" y="14"/>
                      <a:pt x="49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75" name="Freeform 6122"/>
              <p:cNvSpPr>
                <a:spLocks/>
              </p:cNvSpPr>
              <p:nvPr/>
            </p:nvSpPr>
            <p:spPr bwMode="auto">
              <a:xfrm>
                <a:off x="-1295" y="1874"/>
                <a:ext cx="149" cy="128"/>
              </a:xfrm>
              <a:custGeom>
                <a:avLst/>
                <a:gdLst>
                  <a:gd name="T0" fmla="*/ 75 w 93"/>
                  <a:gd name="T1" fmla="*/ 28 h 79"/>
                  <a:gd name="T2" fmla="*/ 65 w 93"/>
                  <a:gd name="T3" fmla="*/ 20 h 79"/>
                  <a:gd name="T4" fmla="*/ 47 w 93"/>
                  <a:gd name="T5" fmla="*/ 19 h 79"/>
                  <a:gd name="T6" fmla="*/ 41 w 93"/>
                  <a:gd name="T7" fmla="*/ 29 h 79"/>
                  <a:gd name="T8" fmla="*/ 28 w 93"/>
                  <a:gd name="T9" fmla="*/ 45 h 79"/>
                  <a:gd name="T10" fmla="*/ 22 w 93"/>
                  <a:gd name="T11" fmla="*/ 53 h 79"/>
                  <a:gd name="T12" fmla="*/ 8 w 93"/>
                  <a:gd name="T13" fmla="*/ 58 h 79"/>
                  <a:gd name="T14" fmla="*/ 4 w 93"/>
                  <a:gd name="T15" fmla="*/ 68 h 79"/>
                  <a:gd name="T16" fmla="*/ 21 w 93"/>
                  <a:gd name="T17" fmla="*/ 65 h 79"/>
                  <a:gd name="T18" fmla="*/ 35 w 93"/>
                  <a:gd name="T19" fmla="*/ 53 h 79"/>
                  <a:gd name="T20" fmla="*/ 35 w 93"/>
                  <a:gd name="T21" fmla="*/ 53 h 79"/>
                  <a:gd name="T22" fmla="*/ 36 w 93"/>
                  <a:gd name="T23" fmla="*/ 53 h 79"/>
                  <a:gd name="T24" fmla="*/ 46 w 93"/>
                  <a:gd name="T25" fmla="*/ 48 h 79"/>
                  <a:gd name="T26" fmla="*/ 61 w 93"/>
                  <a:gd name="T27" fmla="*/ 48 h 79"/>
                  <a:gd name="T28" fmla="*/ 75 w 93"/>
                  <a:gd name="T29" fmla="*/ 58 h 79"/>
                  <a:gd name="T30" fmla="*/ 81 w 93"/>
                  <a:gd name="T31" fmla="*/ 44 h 79"/>
                  <a:gd name="T32" fmla="*/ 75 w 93"/>
                  <a:gd name="T33" fmla="*/ 28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3" h="79">
                    <a:moveTo>
                      <a:pt x="75" y="28"/>
                    </a:moveTo>
                    <a:cubicBezTo>
                      <a:pt x="77" y="14"/>
                      <a:pt x="65" y="20"/>
                      <a:pt x="65" y="20"/>
                    </a:cubicBezTo>
                    <a:cubicBezTo>
                      <a:pt x="56" y="0"/>
                      <a:pt x="47" y="19"/>
                      <a:pt x="47" y="19"/>
                    </a:cubicBezTo>
                    <a:cubicBezTo>
                      <a:pt x="35" y="17"/>
                      <a:pt x="41" y="29"/>
                      <a:pt x="41" y="29"/>
                    </a:cubicBezTo>
                    <a:cubicBezTo>
                      <a:pt x="21" y="24"/>
                      <a:pt x="28" y="45"/>
                      <a:pt x="28" y="45"/>
                    </a:cubicBezTo>
                    <a:cubicBezTo>
                      <a:pt x="18" y="44"/>
                      <a:pt x="22" y="53"/>
                      <a:pt x="22" y="53"/>
                    </a:cubicBezTo>
                    <a:cubicBezTo>
                      <a:pt x="10" y="42"/>
                      <a:pt x="8" y="58"/>
                      <a:pt x="8" y="58"/>
                    </a:cubicBezTo>
                    <a:cubicBezTo>
                      <a:pt x="0" y="59"/>
                      <a:pt x="4" y="68"/>
                      <a:pt x="4" y="68"/>
                    </a:cubicBezTo>
                    <a:cubicBezTo>
                      <a:pt x="15" y="79"/>
                      <a:pt x="21" y="65"/>
                      <a:pt x="21" y="65"/>
                    </a:cubicBezTo>
                    <a:cubicBezTo>
                      <a:pt x="38" y="76"/>
                      <a:pt x="35" y="53"/>
                      <a:pt x="35" y="53"/>
                    </a:cubicBezTo>
                    <a:cubicBezTo>
                      <a:pt x="35" y="53"/>
                      <a:pt x="25" y="46"/>
                      <a:pt x="35" y="53"/>
                    </a:cubicBezTo>
                    <a:cubicBezTo>
                      <a:pt x="35" y="53"/>
                      <a:pt x="36" y="53"/>
                      <a:pt x="36" y="53"/>
                    </a:cubicBezTo>
                    <a:cubicBezTo>
                      <a:pt x="46" y="59"/>
                      <a:pt x="46" y="48"/>
                      <a:pt x="46" y="48"/>
                    </a:cubicBezTo>
                    <a:cubicBezTo>
                      <a:pt x="53" y="64"/>
                      <a:pt x="61" y="48"/>
                      <a:pt x="61" y="48"/>
                    </a:cubicBezTo>
                    <a:cubicBezTo>
                      <a:pt x="62" y="70"/>
                      <a:pt x="75" y="58"/>
                      <a:pt x="75" y="58"/>
                    </a:cubicBezTo>
                    <a:cubicBezTo>
                      <a:pt x="93" y="61"/>
                      <a:pt x="81" y="44"/>
                      <a:pt x="81" y="44"/>
                    </a:cubicBezTo>
                    <a:cubicBezTo>
                      <a:pt x="90" y="31"/>
                      <a:pt x="75" y="28"/>
                      <a:pt x="75" y="2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76" name="Freeform 6123"/>
              <p:cNvSpPr>
                <a:spLocks/>
              </p:cNvSpPr>
              <p:nvPr/>
            </p:nvSpPr>
            <p:spPr bwMode="auto">
              <a:xfrm>
                <a:off x="-1257" y="2189"/>
                <a:ext cx="63" cy="160"/>
              </a:xfrm>
              <a:custGeom>
                <a:avLst/>
                <a:gdLst>
                  <a:gd name="T0" fmla="*/ 30 w 39"/>
                  <a:gd name="T1" fmla="*/ 7 h 99"/>
                  <a:gd name="T2" fmla="*/ 14 w 39"/>
                  <a:gd name="T3" fmla="*/ 1 h 99"/>
                  <a:gd name="T4" fmla="*/ 0 w 39"/>
                  <a:gd name="T5" fmla="*/ 90 h 99"/>
                  <a:gd name="T6" fmla="*/ 39 w 39"/>
                  <a:gd name="T7" fmla="*/ 90 h 99"/>
                  <a:gd name="T8" fmla="*/ 30 w 39"/>
                  <a:gd name="T9" fmla="*/ 7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99">
                    <a:moveTo>
                      <a:pt x="30" y="7"/>
                    </a:moveTo>
                    <a:cubicBezTo>
                      <a:pt x="30" y="7"/>
                      <a:pt x="29" y="0"/>
                      <a:pt x="14" y="1"/>
                    </a:cubicBezTo>
                    <a:cubicBezTo>
                      <a:pt x="14" y="1"/>
                      <a:pt x="17" y="77"/>
                      <a:pt x="0" y="90"/>
                    </a:cubicBezTo>
                    <a:cubicBezTo>
                      <a:pt x="0" y="90"/>
                      <a:pt x="27" y="99"/>
                      <a:pt x="39" y="90"/>
                    </a:cubicBezTo>
                    <a:cubicBezTo>
                      <a:pt x="39" y="90"/>
                      <a:pt x="24" y="52"/>
                      <a:pt x="30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77" name="Freeform 6124"/>
              <p:cNvSpPr>
                <a:spLocks/>
              </p:cNvSpPr>
              <p:nvPr/>
            </p:nvSpPr>
            <p:spPr bwMode="auto">
              <a:xfrm>
                <a:off x="-1186" y="2183"/>
                <a:ext cx="63" cy="159"/>
              </a:xfrm>
              <a:custGeom>
                <a:avLst/>
                <a:gdLst>
                  <a:gd name="T0" fmla="*/ 30 w 39"/>
                  <a:gd name="T1" fmla="*/ 7 h 99"/>
                  <a:gd name="T2" fmla="*/ 14 w 39"/>
                  <a:gd name="T3" fmla="*/ 1 h 99"/>
                  <a:gd name="T4" fmla="*/ 0 w 39"/>
                  <a:gd name="T5" fmla="*/ 90 h 99"/>
                  <a:gd name="T6" fmla="*/ 39 w 39"/>
                  <a:gd name="T7" fmla="*/ 90 h 99"/>
                  <a:gd name="T8" fmla="*/ 30 w 39"/>
                  <a:gd name="T9" fmla="*/ 7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99">
                    <a:moveTo>
                      <a:pt x="30" y="7"/>
                    </a:moveTo>
                    <a:cubicBezTo>
                      <a:pt x="30" y="7"/>
                      <a:pt x="29" y="0"/>
                      <a:pt x="14" y="1"/>
                    </a:cubicBezTo>
                    <a:cubicBezTo>
                      <a:pt x="14" y="1"/>
                      <a:pt x="17" y="77"/>
                      <a:pt x="0" y="90"/>
                    </a:cubicBezTo>
                    <a:cubicBezTo>
                      <a:pt x="0" y="90"/>
                      <a:pt x="27" y="99"/>
                      <a:pt x="39" y="90"/>
                    </a:cubicBezTo>
                    <a:cubicBezTo>
                      <a:pt x="39" y="90"/>
                      <a:pt x="24" y="52"/>
                      <a:pt x="30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78" name="Freeform 6125"/>
              <p:cNvSpPr>
                <a:spLocks/>
              </p:cNvSpPr>
              <p:nvPr/>
            </p:nvSpPr>
            <p:spPr bwMode="auto">
              <a:xfrm>
                <a:off x="-1278" y="1935"/>
                <a:ext cx="101" cy="120"/>
              </a:xfrm>
              <a:custGeom>
                <a:avLst/>
                <a:gdLst>
                  <a:gd name="T0" fmla="*/ 46 w 63"/>
                  <a:gd name="T1" fmla="*/ 21 h 74"/>
                  <a:gd name="T2" fmla="*/ 35 w 63"/>
                  <a:gd name="T3" fmla="*/ 0 h 74"/>
                  <a:gd name="T4" fmla="*/ 24 w 63"/>
                  <a:gd name="T5" fmla="*/ 16 h 74"/>
                  <a:gd name="T6" fmla="*/ 19 w 63"/>
                  <a:gd name="T7" fmla="*/ 41 h 74"/>
                  <a:gd name="T8" fmla="*/ 61 w 63"/>
                  <a:gd name="T9" fmla="*/ 29 h 74"/>
                  <a:gd name="T10" fmla="*/ 46 w 63"/>
                  <a:gd name="T11" fmla="*/ 21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3" h="74">
                    <a:moveTo>
                      <a:pt x="46" y="21"/>
                    </a:moveTo>
                    <a:cubicBezTo>
                      <a:pt x="49" y="0"/>
                      <a:pt x="35" y="0"/>
                      <a:pt x="35" y="0"/>
                    </a:cubicBezTo>
                    <a:cubicBezTo>
                      <a:pt x="23" y="0"/>
                      <a:pt x="24" y="16"/>
                      <a:pt x="24" y="16"/>
                    </a:cubicBezTo>
                    <a:cubicBezTo>
                      <a:pt x="0" y="29"/>
                      <a:pt x="19" y="41"/>
                      <a:pt x="19" y="41"/>
                    </a:cubicBezTo>
                    <a:cubicBezTo>
                      <a:pt x="63" y="74"/>
                      <a:pt x="61" y="29"/>
                      <a:pt x="61" y="29"/>
                    </a:cubicBezTo>
                    <a:cubicBezTo>
                      <a:pt x="58" y="14"/>
                      <a:pt x="46" y="21"/>
                      <a:pt x="46" y="2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79" name="Freeform 6126"/>
              <p:cNvSpPr>
                <a:spLocks/>
              </p:cNvSpPr>
              <p:nvPr/>
            </p:nvSpPr>
            <p:spPr bwMode="auto">
              <a:xfrm>
                <a:off x="-1249" y="2010"/>
                <a:ext cx="2" cy="6"/>
              </a:xfrm>
              <a:custGeom>
                <a:avLst/>
                <a:gdLst>
                  <a:gd name="T0" fmla="*/ 0 w 1"/>
                  <a:gd name="T1" fmla="*/ 0 h 4"/>
                  <a:gd name="T2" fmla="*/ 1 w 1"/>
                  <a:gd name="T3" fmla="*/ 4 h 4"/>
                  <a:gd name="T4" fmla="*/ 0 w 1"/>
                  <a:gd name="T5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4">
                    <a:moveTo>
                      <a:pt x="0" y="0"/>
                    </a:moveTo>
                    <a:cubicBezTo>
                      <a:pt x="0" y="1"/>
                      <a:pt x="0" y="2"/>
                      <a:pt x="1" y="4"/>
                    </a:cubicBezTo>
                    <a:cubicBezTo>
                      <a:pt x="1" y="4"/>
                      <a:pt x="1" y="2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80" name="Freeform 6127"/>
              <p:cNvSpPr>
                <a:spLocks/>
              </p:cNvSpPr>
              <p:nvPr/>
            </p:nvSpPr>
            <p:spPr bwMode="auto">
              <a:xfrm>
                <a:off x="-1302" y="1982"/>
                <a:ext cx="162" cy="225"/>
              </a:xfrm>
              <a:custGeom>
                <a:avLst/>
                <a:gdLst>
                  <a:gd name="T0" fmla="*/ 82 w 101"/>
                  <a:gd name="T1" fmla="*/ 62 h 139"/>
                  <a:gd name="T2" fmla="*/ 81 w 101"/>
                  <a:gd name="T3" fmla="*/ 51 h 139"/>
                  <a:gd name="T4" fmla="*/ 73 w 101"/>
                  <a:gd name="T5" fmla="*/ 26 h 139"/>
                  <a:gd name="T6" fmla="*/ 69 w 101"/>
                  <a:gd name="T7" fmla="*/ 11 h 139"/>
                  <a:gd name="T8" fmla="*/ 54 w 101"/>
                  <a:gd name="T9" fmla="*/ 19 h 139"/>
                  <a:gd name="T10" fmla="*/ 42 w 101"/>
                  <a:gd name="T11" fmla="*/ 0 h 139"/>
                  <a:gd name="T12" fmla="*/ 33 w 101"/>
                  <a:gd name="T13" fmla="*/ 17 h 139"/>
                  <a:gd name="T14" fmla="*/ 34 w 101"/>
                  <a:gd name="T15" fmla="*/ 21 h 139"/>
                  <a:gd name="T16" fmla="*/ 33 w 101"/>
                  <a:gd name="T17" fmla="*/ 17 h 139"/>
                  <a:gd name="T18" fmla="*/ 26 w 101"/>
                  <a:gd name="T19" fmla="*/ 12 h 139"/>
                  <a:gd name="T20" fmla="*/ 22 w 101"/>
                  <a:gd name="T21" fmla="*/ 31 h 139"/>
                  <a:gd name="T22" fmla="*/ 15 w 101"/>
                  <a:gd name="T23" fmla="*/ 50 h 139"/>
                  <a:gd name="T24" fmla="*/ 11 w 101"/>
                  <a:gd name="T25" fmla="*/ 76 h 139"/>
                  <a:gd name="T26" fmla="*/ 17 w 101"/>
                  <a:gd name="T27" fmla="*/ 95 h 139"/>
                  <a:gd name="T28" fmla="*/ 14 w 101"/>
                  <a:gd name="T29" fmla="*/ 118 h 139"/>
                  <a:gd name="T30" fmla="*/ 46 w 101"/>
                  <a:gd name="T31" fmla="*/ 117 h 139"/>
                  <a:gd name="T32" fmla="*/ 70 w 101"/>
                  <a:gd name="T33" fmla="*/ 118 h 139"/>
                  <a:gd name="T34" fmla="*/ 88 w 101"/>
                  <a:gd name="T35" fmla="*/ 106 h 139"/>
                  <a:gd name="T36" fmla="*/ 85 w 101"/>
                  <a:gd name="T37" fmla="*/ 89 h 139"/>
                  <a:gd name="T38" fmla="*/ 82 w 101"/>
                  <a:gd name="T39" fmla="*/ 62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01" h="139">
                    <a:moveTo>
                      <a:pt x="82" y="62"/>
                    </a:moveTo>
                    <a:cubicBezTo>
                      <a:pt x="82" y="62"/>
                      <a:pt x="95" y="60"/>
                      <a:pt x="81" y="51"/>
                    </a:cubicBezTo>
                    <a:cubicBezTo>
                      <a:pt x="81" y="51"/>
                      <a:pt x="99" y="27"/>
                      <a:pt x="73" y="26"/>
                    </a:cubicBezTo>
                    <a:cubicBezTo>
                      <a:pt x="73" y="26"/>
                      <a:pt x="80" y="17"/>
                      <a:pt x="69" y="11"/>
                    </a:cubicBezTo>
                    <a:cubicBezTo>
                      <a:pt x="69" y="11"/>
                      <a:pt x="57" y="5"/>
                      <a:pt x="54" y="19"/>
                    </a:cubicBezTo>
                    <a:cubicBezTo>
                      <a:pt x="54" y="19"/>
                      <a:pt x="55" y="5"/>
                      <a:pt x="42" y="0"/>
                    </a:cubicBezTo>
                    <a:cubicBezTo>
                      <a:pt x="42" y="0"/>
                      <a:pt x="30" y="1"/>
                      <a:pt x="33" y="17"/>
                    </a:cubicBezTo>
                    <a:cubicBezTo>
                      <a:pt x="34" y="19"/>
                      <a:pt x="34" y="21"/>
                      <a:pt x="34" y="21"/>
                    </a:cubicBezTo>
                    <a:cubicBezTo>
                      <a:pt x="33" y="19"/>
                      <a:pt x="33" y="18"/>
                      <a:pt x="33" y="17"/>
                    </a:cubicBezTo>
                    <a:cubicBezTo>
                      <a:pt x="32" y="14"/>
                      <a:pt x="30" y="10"/>
                      <a:pt x="26" y="12"/>
                    </a:cubicBezTo>
                    <a:cubicBezTo>
                      <a:pt x="26" y="12"/>
                      <a:pt x="16" y="18"/>
                      <a:pt x="22" y="31"/>
                    </a:cubicBezTo>
                    <a:cubicBezTo>
                      <a:pt x="22" y="31"/>
                      <a:pt x="9" y="32"/>
                      <a:pt x="15" y="50"/>
                    </a:cubicBezTo>
                    <a:cubicBezTo>
                      <a:pt x="15" y="50"/>
                      <a:pt x="0" y="59"/>
                      <a:pt x="11" y="76"/>
                    </a:cubicBezTo>
                    <a:cubicBezTo>
                      <a:pt x="11" y="76"/>
                      <a:pt x="4" y="84"/>
                      <a:pt x="17" y="95"/>
                    </a:cubicBezTo>
                    <a:cubicBezTo>
                      <a:pt x="17" y="95"/>
                      <a:pt x="4" y="104"/>
                      <a:pt x="14" y="118"/>
                    </a:cubicBezTo>
                    <a:cubicBezTo>
                      <a:pt x="14" y="118"/>
                      <a:pt x="27" y="139"/>
                      <a:pt x="46" y="117"/>
                    </a:cubicBezTo>
                    <a:cubicBezTo>
                      <a:pt x="46" y="117"/>
                      <a:pt x="51" y="106"/>
                      <a:pt x="70" y="118"/>
                    </a:cubicBezTo>
                    <a:cubicBezTo>
                      <a:pt x="70" y="118"/>
                      <a:pt x="81" y="123"/>
                      <a:pt x="88" y="106"/>
                    </a:cubicBezTo>
                    <a:cubicBezTo>
                      <a:pt x="88" y="106"/>
                      <a:pt x="92" y="96"/>
                      <a:pt x="85" y="89"/>
                    </a:cubicBezTo>
                    <a:cubicBezTo>
                      <a:pt x="85" y="89"/>
                      <a:pt x="101" y="73"/>
                      <a:pt x="82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81" name="Freeform 6128"/>
              <p:cNvSpPr>
                <a:spLocks/>
              </p:cNvSpPr>
              <p:nvPr/>
            </p:nvSpPr>
            <p:spPr bwMode="auto">
              <a:xfrm>
                <a:off x="-1271" y="2047"/>
                <a:ext cx="107" cy="192"/>
              </a:xfrm>
              <a:custGeom>
                <a:avLst/>
                <a:gdLst>
                  <a:gd name="T0" fmla="*/ 50 w 67"/>
                  <a:gd name="T1" fmla="*/ 51 h 119"/>
                  <a:gd name="T2" fmla="*/ 50 w 67"/>
                  <a:gd name="T3" fmla="*/ 27 h 119"/>
                  <a:gd name="T4" fmla="*/ 43 w 67"/>
                  <a:gd name="T5" fmla="*/ 4 h 119"/>
                  <a:gd name="T6" fmla="*/ 27 w 67"/>
                  <a:gd name="T7" fmla="*/ 16 h 119"/>
                  <a:gd name="T8" fmla="*/ 10 w 67"/>
                  <a:gd name="T9" fmla="*/ 21 h 119"/>
                  <a:gd name="T10" fmla="*/ 12 w 67"/>
                  <a:gd name="T11" fmla="*/ 33 h 119"/>
                  <a:gd name="T12" fmla="*/ 10 w 67"/>
                  <a:gd name="T13" fmla="*/ 55 h 119"/>
                  <a:gd name="T14" fmla="*/ 0 w 67"/>
                  <a:gd name="T15" fmla="*/ 70 h 119"/>
                  <a:gd name="T16" fmla="*/ 9 w 67"/>
                  <a:gd name="T17" fmla="*/ 79 h 119"/>
                  <a:gd name="T18" fmla="*/ 21 w 67"/>
                  <a:gd name="T19" fmla="*/ 93 h 119"/>
                  <a:gd name="T20" fmla="*/ 47 w 67"/>
                  <a:gd name="T21" fmla="*/ 92 h 119"/>
                  <a:gd name="T22" fmla="*/ 51 w 67"/>
                  <a:gd name="T23" fmla="*/ 73 h 119"/>
                  <a:gd name="T24" fmla="*/ 50 w 67"/>
                  <a:gd name="T25" fmla="*/ 51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7" h="119">
                    <a:moveTo>
                      <a:pt x="50" y="51"/>
                    </a:moveTo>
                    <a:cubicBezTo>
                      <a:pt x="50" y="51"/>
                      <a:pt x="66" y="42"/>
                      <a:pt x="50" y="27"/>
                    </a:cubicBezTo>
                    <a:cubicBezTo>
                      <a:pt x="50" y="27"/>
                      <a:pt x="57" y="13"/>
                      <a:pt x="43" y="4"/>
                    </a:cubicBezTo>
                    <a:cubicBezTo>
                      <a:pt x="43" y="4"/>
                      <a:pt x="30" y="0"/>
                      <a:pt x="27" y="16"/>
                    </a:cubicBezTo>
                    <a:cubicBezTo>
                      <a:pt x="27" y="16"/>
                      <a:pt x="18" y="5"/>
                      <a:pt x="10" y="21"/>
                    </a:cubicBezTo>
                    <a:cubicBezTo>
                      <a:pt x="10" y="21"/>
                      <a:pt x="7" y="28"/>
                      <a:pt x="12" y="33"/>
                    </a:cubicBezTo>
                    <a:cubicBezTo>
                      <a:pt x="12" y="33"/>
                      <a:pt x="2" y="40"/>
                      <a:pt x="10" y="55"/>
                    </a:cubicBezTo>
                    <a:cubicBezTo>
                      <a:pt x="10" y="55"/>
                      <a:pt x="2" y="53"/>
                      <a:pt x="0" y="70"/>
                    </a:cubicBezTo>
                    <a:cubicBezTo>
                      <a:pt x="0" y="70"/>
                      <a:pt x="0" y="79"/>
                      <a:pt x="9" y="79"/>
                    </a:cubicBezTo>
                    <a:cubicBezTo>
                      <a:pt x="9" y="79"/>
                      <a:pt x="2" y="99"/>
                      <a:pt x="21" y="93"/>
                    </a:cubicBezTo>
                    <a:cubicBezTo>
                      <a:pt x="21" y="93"/>
                      <a:pt x="31" y="119"/>
                      <a:pt x="47" y="92"/>
                    </a:cubicBezTo>
                    <a:cubicBezTo>
                      <a:pt x="47" y="92"/>
                      <a:pt x="65" y="87"/>
                      <a:pt x="51" y="73"/>
                    </a:cubicBezTo>
                    <a:cubicBezTo>
                      <a:pt x="51" y="73"/>
                      <a:pt x="67" y="63"/>
                      <a:pt x="50" y="5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82" name="Freeform 6129"/>
              <p:cNvSpPr>
                <a:spLocks/>
              </p:cNvSpPr>
              <p:nvPr/>
            </p:nvSpPr>
            <p:spPr bwMode="auto">
              <a:xfrm>
                <a:off x="-976" y="2184"/>
                <a:ext cx="63" cy="160"/>
              </a:xfrm>
              <a:custGeom>
                <a:avLst/>
                <a:gdLst>
                  <a:gd name="T0" fmla="*/ 31 w 39"/>
                  <a:gd name="T1" fmla="*/ 7 h 99"/>
                  <a:gd name="T2" fmla="*/ 15 w 39"/>
                  <a:gd name="T3" fmla="*/ 0 h 99"/>
                  <a:gd name="T4" fmla="*/ 0 w 39"/>
                  <a:gd name="T5" fmla="*/ 90 h 99"/>
                  <a:gd name="T6" fmla="*/ 39 w 39"/>
                  <a:gd name="T7" fmla="*/ 90 h 99"/>
                  <a:gd name="T8" fmla="*/ 31 w 39"/>
                  <a:gd name="T9" fmla="*/ 7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99">
                    <a:moveTo>
                      <a:pt x="31" y="7"/>
                    </a:moveTo>
                    <a:cubicBezTo>
                      <a:pt x="31" y="7"/>
                      <a:pt x="29" y="0"/>
                      <a:pt x="15" y="0"/>
                    </a:cubicBezTo>
                    <a:cubicBezTo>
                      <a:pt x="15" y="0"/>
                      <a:pt x="18" y="77"/>
                      <a:pt x="0" y="90"/>
                    </a:cubicBezTo>
                    <a:cubicBezTo>
                      <a:pt x="0" y="90"/>
                      <a:pt x="28" y="99"/>
                      <a:pt x="39" y="90"/>
                    </a:cubicBezTo>
                    <a:cubicBezTo>
                      <a:pt x="39" y="90"/>
                      <a:pt x="25" y="52"/>
                      <a:pt x="31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83" name="Freeform 6130"/>
              <p:cNvSpPr>
                <a:spLocks/>
              </p:cNvSpPr>
              <p:nvPr/>
            </p:nvSpPr>
            <p:spPr bwMode="auto">
              <a:xfrm>
                <a:off x="-1027" y="2157"/>
                <a:ext cx="63" cy="160"/>
              </a:xfrm>
              <a:custGeom>
                <a:avLst/>
                <a:gdLst>
                  <a:gd name="T0" fmla="*/ 30 w 39"/>
                  <a:gd name="T1" fmla="*/ 7 h 99"/>
                  <a:gd name="T2" fmla="*/ 14 w 39"/>
                  <a:gd name="T3" fmla="*/ 0 h 99"/>
                  <a:gd name="T4" fmla="*/ 0 w 39"/>
                  <a:gd name="T5" fmla="*/ 90 h 99"/>
                  <a:gd name="T6" fmla="*/ 39 w 39"/>
                  <a:gd name="T7" fmla="*/ 90 h 99"/>
                  <a:gd name="T8" fmla="*/ 30 w 39"/>
                  <a:gd name="T9" fmla="*/ 7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99">
                    <a:moveTo>
                      <a:pt x="30" y="7"/>
                    </a:moveTo>
                    <a:cubicBezTo>
                      <a:pt x="30" y="7"/>
                      <a:pt x="29" y="0"/>
                      <a:pt x="14" y="0"/>
                    </a:cubicBezTo>
                    <a:cubicBezTo>
                      <a:pt x="14" y="0"/>
                      <a:pt x="17" y="77"/>
                      <a:pt x="0" y="90"/>
                    </a:cubicBezTo>
                    <a:cubicBezTo>
                      <a:pt x="0" y="90"/>
                      <a:pt x="27" y="99"/>
                      <a:pt x="39" y="90"/>
                    </a:cubicBezTo>
                    <a:cubicBezTo>
                      <a:pt x="39" y="90"/>
                      <a:pt x="24" y="52"/>
                      <a:pt x="30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84" name="Freeform 6131"/>
              <p:cNvSpPr>
                <a:spLocks/>
              </p:cNvSpPr>
              <p:nvPr/>
            </p:nvSpPr>
            <p:spPr bwMode="auto">
              <a:xfrm>
                <a:off x="-995" y="1935"/>
                <a:ext cx="101" cy="120"/>
              </a:xfrm>
              <a:custGeom>
                <a:avLst/>
                <a:gdLst>
                  <a:gd name="T0" fmla="*/ 46 w 63"/>
                  <a:gd name="T1" fmla="*/ 22 h 74"/>
                  <a:gd name="T2" fmla="*/ 35 w 63"/>
                  <a:gd name="T3" fmla="*/ 0 h 74"/>
                  <a:gd name="T4" fmla="*/ 24 w 63"/>
                  <a:gd name="T5" fmla="*/ 16 h 74"/>
                  <a:gd name="T6" fmla="*/ 19 w 63"/>
                  <a:gd name="T7" fmla="*/ 42 h 74"/>
                  <a:gd name="T8" fmla="*/ 61 w 63"/>
                  <a:gd name="T9" fmla="*/ 30 h 74"/>
                  <a:gd name="T10" fmla="*/ 46 w 63"/>
                  <a:gd name="T11" fmla="*/ 22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3" h="74">
                    <a:moveTo>
                      <a:pt x="46" y="22"/>
                    </a:moveTo>
                    <a:cubicBezTo>
                      <a:pt x="48" y="0"/>
                      <a:pt x="35" y="0"/>
                      <a:pt x="35" y="0"/>
                    </a:cubicBezTo>
                    <a:cubicBezTo>
                      <a:pt x="22" y="1"/>
                      <a:pt x="24" y="16"/>
                      <a:pt x="24" y="16"/>
                    </a:cubicBezTo>
                    <a:cubicBezTo>
                      <a:pt x="0" y="30"/>
                      <a:pt x="19" y="42"/>
                      <a:pt x="19" y="42"/>
                    </a:cubicBezTo>
                    <a:cubicBezTo>
                      <a:pt x="63" y="74"/>
                      <a:pt x="61" y="30"/>
                      <a:pt x="61" y="30"/>
                    </a:cubicBezTo>
                    <a:cubicBezTo>
                      <a:pt x="58" y="15"/>
                      <a:pt x="46" y="22"/>
                      <a:pt x="46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85" name="Freeform 6132"/>
              <p:cNvSpPr>
                <a:spLocks/>
              </p:cNvSpPr>
              <p:nvPr/>
            </p:nvSpPr>
            <p:spPr bwMode="auto">
              <a:xfrm>
                <a:off x="-1019" y="1984"/>
                <a:ext cx="162" cy="223"/>
              </a:xfrm>
              <a:custGeom>
                <a:avLst/>
                <a:gdLst>
                  <a:gd name="T0" fmla="*/ 82 w 101"/>
                  <a:gd name="T1" fmla="*/ 62 h 138"/>
                  <a:gd name="T2" fmla="*/ 80 w 101"/>
                  <a:gd name="T3" fmla="*/ 50 h 138"/>
                  <a:gd name="T4" fmla="*/ 72 w 101"/>
                  <a:gd name="T5" fmla="*/ 26 h 138"/>
                  <a:gd name="T6" fmla="*/ 68 w 101"/>
                  <a:gd name="T7" fmla="*/ 11 h 138"/>
                  <a:gd name="T8" fmla="*/ 54 w 101"/>
                  <a:gd name="T9" fmla="*/ 18 h 138"/>
                  <a:gd name="T10" fmla="*/ 42 w 101"/>
                  <a:gd name="T11" fmla="*/ 0 h 138"/>
                  <a:gd name="T12" fmla="*/ 33 w 101"/>
                  <a:gd name="T13" fmla="*/ 16 h 138"/>
                  <a:gd name="T14" fmla="*/ 34 w 101"/>
                  <a:gd name="T15" fmla="*/ 20 h 138"/>
                  <a:gd name="T16" fmla="*/ 33 w 101"/>
                  <a:gd name="T17" fmla="*/ 16 h 138"/>
                  <a:gd name="T18" fmla="*/ 25 w 101"/>
                  <a:gd name="T19" fmla="*/ 12 h 138"/>
                  <a:gd name="T20" fmla="*/ 22 w 101"/>
                  <a:gd name="T21" fmla="*/ 31 h 138"/>
                  <a:gd name="T22" fmla="*/ 15 w 101"/>
                  <a:gd name="T23" fmla="*/ 50 h 138"/>
                  <a:gd name="T24" fmla="*/ 11 w 101"/>
                  <a:gd name="T25" fmla="*/ 75 h 138"/>
                  <a:gd name="T26" fmla="*/ 17 w 101"/>
                  <a:gd name="T27" fmla="*/ 95 h 138"/>
                  <a:gd name="T28" fmla="*/ 13 w 101"/>
                  <a:gd name="T29" fmla="*/ 118 h 138"/>
                  <a:gd name="T30" fmla="*/ 46 w 101"/>
                  <a:gd name="T31" fmla="*/ 116 h 138"/>
                  <a:gd name="T32" fmla="*/ 70 w 101"/>
                  <a:gd name="T33" fmla="*/ 118 h 138"/>
                  <a:gd name="T34" fmla="*/ 88 w 101"/>
                  <a:gd name="T35" fmla="*/ 106 h 138"/>
                  <a:gd name="T36" fmla="*/ 84 w 101"/>
                  <a:gd name="T37" fmla="*/ 88 h 138"/>
                  <a:gd name="T38" fmla="*/ 82 w 101"/>
                  <a:gd name="T39" fmla="*/ 62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01" h="138">
                    <a:moveTo>
                      <a:pt x="82" y="62"/>
                    </a:moveTo>
                    <a:cubicBezTo>
                      <a:pt x="82" y="62"/>
                      <a:pt x="95" y="59"/>
                      <a:pt x="80" y="50"/>
                    </a:cubicBezTo>
                    <a:cubicBezTo>
                      <a:pt x="80" y="50"/>
                      <a:pt x="99" y="27"/>
                      <a:pt x="72" y="26"/>
                    </a:cubicBezTo>
                    <a:cubicBezTo>
                      <a:pt x="72" y="26"/>
                      <a:pt x="80" y="16"/>
                      <a:pt x="68" y="11"/>
                    </a:cubicBezTo>
                    <a:cubicBezTo>
                      <a:pt x="68" y="11"/>
                      <a:pt x="57" y="4"/>
                      <a:pt x="54" y="18"/>
                    </a:cubicBezTo>
                    <a:cubicBezTo>
                      <a:pt x="54" y="18"/>
                      <a:pt x="55" y="4"/>
                      <a:pt x="42" y="0"/>
                    </a:cubicBezTo>
                    <a:cubicBezTo>
                      <a:pt x="42" y="0"/>
                      <a:pt x="29" y="1"/>
                      <a:pt x="33" y="16"/>
                    </a:cubicBezTo>
                    <a:cubicBezTo>
                      <a:pt x="33" y="18"/>
                      <a:pt x="34" y="20"/>
                      <a:pt x="34" y="20"/>
                    </a:cubicBezTo>
                    <a:cubicBezTo>
                      <a:pt x="33" y="19"/>
                      <a:pt x="33" y="17"/>
                      <a:pt x="33" y="16"/>
                    </a:cubicBezTo>
                    <a:cubicBezTo>
                      <a:pt x="31" y="13"/>
                      <a:pt x="29" y="10"/>
                      <a:pt x="25" y="12"/>
                    </a:cubicBezTo>
                    <a:cubicBezTo>
                      <a:pt x="25" y="12"/>
                      <a:pt x="16" y="18"/>
                      <a:pt x="22" y="31"/>
                    </a:cubicBezTo>
                    <a:cubicBezTo>
                      <a:pt x="22" y="31"/>
                      <a:pt x="9" y="32"/>
                      <a:pt x="15" y="50"/>
                    </a:cubicBezTo>
                    <a:cubicBezTo>
                      <a:pt x="15" y="50"/>
                      <a:pt x="0" y="58"/>
                      <a:pt x="11" y="75"/>
                    </a:cubicBezTo>
                    <a:cubicBezTo>
                      <a:pt x="11" y="75"/>
                      <a:pt x="3" y="84"/>
                      <a:pt x="17" y="95"/>
                    </a:cubicBezTo>
                    <a:cubicBezTo>
                      <a:pt x="17" y="95"/>
                      <a:pt x="4" y="103"/>
                      <a:pt x="13" y="118"/>
                    </a:cubicBezTo>
                    <a:cubicBezTo>
                      <a:pt x="13" y="118"/>
                      <a:pt x="27" y="138"/>
                      <a:pt x="46" y="116"/>
                    </a:cubicBezTo>
                    <a:cubicBezTo>
                      <a:pt x="46" y="116"/>
                      <a:pt x="50" y="105"/>
                      <a:pt x="70" y="118"/>
                    </a:cubicBezTo>
                    <a:cubicBezTo>
                      <a:pt x="70" y="118"/>
                      <a:pt x="81" y="122"/>
                      <a:pt x="88" y="106"/>
                    </a:cubicBezTo>
                    <a:cubicBezTo>
                      <a:pt x="88" y="106"/>
                      <a:pt x="92" y="95"/>
                      <a:pt x="84" y="88"/>
                    </a:cubicBezTo>
                    <a:cubicBezTo>
                      <a:pt x="84" y="88"/>
                      <a:pt x="101" y="73"/>
                      <a:pt x="82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86" name="Freeform 6133"/>
              <p:cNvSpPr>
                <a:spLocks/>
              </p:cNvSpPr>
              <p:nvPr/>
            </p:nvSpPr>
            <p:spPr bwMode="auto">
              <a:xfrm>
                <a:off x="-966" y="2010"/>
                <a:ext cx="2" cy="6"/>
              </a:xfrm>
              <a:custGeom>
                <a:avLst/>
                <a:gdLst>
                  <a:gd name="T0" fmla="*/ 0 w 1"/>
                  <a:gd name="T1" fmla="*/ 0 h 4"/>
                  <a:gd name="T2" fmla="*/ 1 w 1"/>
                  <a:gd name="T3" fmla="*/ 4 h 4"/>
                  <a:gd name="T4" fmla="*/ 0 w 1"/>
                  <a:gd name="T5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4">
                    <a:moveTo>
                      <a:pt x="0" y="0"/>
                    </a:moveTo>
                    <a:cubicBezTo>
                      <a:pt x="0" y="1"/>
                      <a:pt x="0" y="3"/>
                      <a:pt x="1" y="4"/>
                    </a:cubicBezTo>
                    <a:cubicBezTo>
                      <a:pt x="1" y="4"/>
                      <a:pt x="0" y="2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87" name="Freeform 6134"/>
              <p:cNvSpPr>
                <a:spLocks/>
              </p:cNvSpPr>
              <p:nvPr/>
            </p:nvSpPr>
            <p:spPr bwMode="auto">
              <a:xfrm>
                <a:off x="-988" y="2047"/>
                <a:ext cx="107" cy="194"/>
              </a:xfrm>
              <a:custGeom>
                <a:avLst/>
                <a:gdLst>
                  <a:gd name="T0" fmla="*/ 50 w 67"/>
                  <a:gd name="T1" fmla="*/ 52 h 120"/>
                  <a:gd name="T2" fmla="*/ 50 w 67"/>
                  <a:gd name="T3" fmla="*/ 27 h 120"/>
                  <a:gd name="T4" fmla="*/ 43 w 67"/>
                  <a:gd name="T5" fmla="*/ 4 h 120"/>
                  <a:gd name="T6" fmla="*/ 27 w 67"/>
                  <a:gd name="T7" fmla="*/ 16 h 120"/>
                  <a:gd name="T8" fmla="*/ 9 w 67"/>
                  <a:gd name="T9" fmla="*/ 22 h 120"/>
                  <a:gd name="T10" fmla="*/ 12 w 67"/>
                  <a:gd name="T11" fmla="*/ 34 h 120"/>
                  <a:gd name="T12" fmla="*/ 10 w 67"/>
                  <a:gd name="T13" fmla="*/ 55 h 120"/>
                  <a:gd name="T14" fmla="*/ 0 w 67"/>
                  <a:gd name="T15" fmla="*/ 71 h 120"/>
                  <a:gd name="T16" fmla="*/ 8 w 67"/>
                  <a:gd name="T17" fmla="*/ 79 h 120"/>
                  <a:gd name="T18" fmla="*/ 21 w 67"/>
                  <a:gd name="T19" fmla="*/ 93 h 120"/>
                  <a:gd name="T20" fmla="*/ 46 w 67"/>
                  <a:gd name="T21" fmla="*/ 92 h 120"/>
                  <a:gd name="T22" fmla="*/ 51 w 67"/>
                  <a:gd name="T23" fmla="*/ 73 h 120"/>
                  <a:gd name="T24" fmla="*/ 50 w 67"/>
                  <a:gd name="T25" fmla="*/ 52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7" h="120">
                    <a:moveTo>
                      <a:pt x="50" y="52"/>
                    </a:moveTo>
                    <a:cubicBezTo>
                      <a:pt x="50" y="52"/>
                      <a:pt x="66" y="42"/>
                      <a:pt x="50" y="27"/>
                    </a:cubicBezTo>
                    <a:cubicBezTo>
                      <a:pt x="50" y="27"/>
                      <a:pt x="57" y="14"/>
                      <a:pt x="43" y="4"/>
                    </a:cubicBezTo>
                    <a:cubicBezTo>
                      <a:pt x="43" y="4"/>
                      <a:pt x="30" y="0"/>
                      <a:pt x="27" y="16"/>
                    </a:cubicBezTo>
                    <a:cubicBezTo>
                      <a:pt x="27" y="16"/>
                      <a:pt x="18" y="6"/>
                      <a:pt x="9" y="22"/>
                    </a:cubicBezTo>
                    <a:cubicBezTo>
                      <a:pt x="9" y="22"/>
                      <a:pt x="7" y="29"/>
                      <a:pt x="12" y="34"/>
                    </a:cubicBezTo>
                    <a:cubicBezTo>
                      <a:pt x="12" y="34"/>
                      <a:pt x="1" y="40"/>
                      <a:pt x="10" y="55"/>
                    </a:cubicBezTo>
                    <a:cubicBezTo>
                      <a:pt x="10" y="55"/>
                      <a:pt x="1" y="53"/>
                      <a:pt x="0" y="71"/>
                    </a:cubicBezTo>
                    <a:cubicBezTo>
                      <a:pt x="0" y="71"/>
                      <a:pt x="0" y="79"/>
                      <a:pt x="8" y="79"/>
                    </a:cubicBezTo>
                    <a:cubicBezTo>
                      <a:pt x="8" y="79"/>
                      <a:pt x="2" y="99"/>
                      <a:pt x="21" y="93"/>
                    </a:cubicBezTo>
                    <a:cubicBezTo>
                      <a:pt x="21" y="93"/>
                      <a:pt x="31" y="120"/>
                      <a:pt x="46" y="92"/>
                    </a:cubicBezTo>
                    <a:cubicBezTo>
                      <a:pt x="46" y="92"/>
                      <a:pt x="64" y="87"/>
                      <a:pt x="51" y="73"/>
                    </a:cubicBezTo>
                    <a:cubicBezTo>
                      <a:pt x="51" y="73"/>
                      <a:pt x="67" y="64"/>
                      <a:pt x="50" y="5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88" name="Freeform 6135"/>
              <p:cNvSpPr>
                <a:spLocks/>
              </p:cNvSpPr>
              <p:nvPr/>
            </p:nvSpPr>
            <p:spPr bwMode="auto">
              <a:xfrm>
                <a:off x="-35" y="1866"/>
                <a:ext cx="104" cy="157"/>
              </a:xfrm>
              <a:custGeom>
                <a:avLst/>
                <a:gdLst>
                  <a:gd name="T0" fmla="*/ 53 w 65"/>
                  <a:gd name="T1" fmla="*/ 38 h 97"/>
                  <a:gd name="T2" fmla="*/ 53 w 65"/>
                  <a:gd name="T3" fmla="*/ 8 h 97"/>
                  <a:gd name="T4" fmla="*/ 35 w 65"/>
                  <a:gd name="T5" fmla="*/ 17 h 97"/>
                  <a:gd name="T6" fmla="*/ 25 w 65"/>
                  <a:gd name="T7" fmla="*/ 29 h 97"/>
                  <a:gd name="T8" fmla="*/ 14 w 65"/>
                  <a:gd name="T9" fmla="*/ 46 h 97"/>
                  <a:gd name="T10" fmla="*/ 14 w 65"/>
                  <a:gd name="T11" fmla="*/ 64 h 97"/>
                  <a:gd name="T12" fmla="*/ 18 w 65"/>
                  <a:gd name="T13" fmla="*/ 84 h 97"/>
                  <a:gd name="T14" fmla="*/ 25 w 65"/>
                  <a:gd name="T15" fmla="*/ 97 h 97"/>
                  <a:gd name="T16" fmla="*/ 36 w 65"/>
                  <a:gd name="T17" fmla="*/ 81 h 97"/>
                  <a:gd name="T18" fmla="*/ 43 w 65"/>
                  <a:gd name="T19" fmla="*/ 64 h 97"/>
                  <a:gd name="T20" fmla="*/ 53 w 65"/>
                  <a:gd name="T21" fmla="*/ 38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5" h="97">
                    <a:moveTo>
                      <a:pt x="53" y="38"/>
                    </a:moveTo>
                    <a:cubicBezTo>
                      <a:pt x="53" y="38"/>
                      <a:pt x="61" y="14"/>
                      <a:pt x="53" y="8"/>
                    </a:cubicBezTo>
                    <a:cubicBezTo>
                      <a:pt x="53" y="8"/>
                      <a:pt x="37" y="0"/>
                      <a:pt x="35" y="17"/>
                    </a:cubicBezTo>
                    <a:cubicBezTo>
                      <a:pt x="35" y="17"/>
                      <a:pt x="24" y="17"/>
                      <a:pt x="25" y="29"/>
                    </a:cubicBezTo>
                    <a:cubicBezTo>
                      <a:pt x="25" y="29"/>
                      <a:pt x="7" y="24"/>
                      <a:pt x="14" y="46"/>
                    </a:cubicBezTo>
                    <a:cubicBezTo>
                      <a:pt x="14" y="46"/>
                      <a:pt x="0" y="54"/>
                      <a:pt x="14" y="64"/>
                    </a:cubicBezTo>
                    <a:cubicBezTo>
                      <a:pt x="14" y="64"/>
                      <a:pt x="2" y="78"/>
                      <a:pt x="18" y="84"/>
                    </a:cubicBezTo>
                    <a:cubicBezTo>
                      <a:pt x="18" y="84"/>
                      <a:pt x="15" y="96"/>
                      <a:pt x="25" y="97"/>
                    </a:cubicBezTo>
                    <a:cubicBezTo>
                      <a:pt x="25" y="97"/>
                      <a:pt x="39" y="96"/>
                      <a:pt x="36" y="81"/>
                    </a:cubicBezTo>
                    <a:cubicBezTo>
                      <a:pt x="36" y="81"/>
                      <a:pt x="53" y="75"/>
                      <a:pt x="43" y="64"/>
                    </a:cubicBezTo>
                    <a:cubicBezTo>
                      <a:pt x="43" y="64"/>
                      <a:pt x="65" y="48"/>
                      <a:pt x="53" y="3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89" name="Freeform 6136"/>
              <p:cNvSpPr>
                <a:spLocks/>
              </p:cNvSpPr>
              <p:nvPr/>
            </p:nvSpPr>
            <p:spPr bwMode="auto">
              <a:xfrm>
                <a:off x="69" y="2055"/>
                <a:ext cx="0" cy="2"/>
              </a:xfrm>
              <a:custGeom>
                <a:avLst/>
                <a:gdLst>
                  <a:gd name="T0" fmla="*/ 0 h 1"/>
                  <a:gd name="T1" fmla="*/ 1 h 1"/>
                  <a:gd name="T2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90" name="Freeform 6137"/>
              <p:cNvSpPr>
                <a:spLocks/>
              </p:cNvSpPr>
              <p:nvPr/>
            </p:nvSpPr>
            <p:spPr bwMode="auto">
              <a:xfrm>
                <a:off x="63" y="2047"/>
                <a:ext cx="0" cy="1"/>
              </a:xfrm>
              <a:custGeom>
                <a:avLst/>
                <a:gdLst>
                  <a:gd name="T0" fmla="*/ 0 h 1"/>
                  <a:gd name="T1" fmla="*/ 1 h 1"/>
                  <a:gd name="T2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1"/>
                      <a:pt x="0" y="1"/>
                    </a:cubicBezTo>
                    <a:cubicBezTo>
                      <a:pt x="0" y="1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91" name="Freeform 6138"/>
              <p:cNvSpPr>
                <a:spLocks/>
              </p:cNvSpPr>
              <p:nvPr/>
            </p:nvSpPr>
            <p:spPr bwMode="auto">
              <a:xfrm>
                <a:off x="45" y="2010"/>
                <a:ext cx="48" cy="132"/>
              </a:xfrm>
              <a:custGeom>
                <a:avLst/>
                <a:gdLst>
                  <a:gd name="T0" fmla="*/ 15 w 30"/>
                  <a:gd name="T1" fmla="*/ 28 h 82"/>
                  <a:gd name="T2" fmla="*/ 15 w 30"/>
                  <a:gd name="T3" fmla="*/ 29 h 82"/>
                  <a:gd name="T4" fmla="*/ 15 w 30"/>
                  <a:gd name="T5" fmla="*/ 28 h 82"/>
                  <a:gd name="T6" fmla="*/ 19 w 30"/>
                  <a:gd name="T7" fmla="*/ 3 h 82"/>
                  <a:gd name="T8" fmla="*/ 14 w 30"/>
                  <a:gd name="T9" fmla="*/ 0 h 82"/>
                  <a:gd name="T10" fmla="*/ 11 w 30"/>
                  <a:gd name="T11" fmla="*/ 23 h 82"/>
                  <a:gd name="T12" fmla="*/ 11 w 30"/>
                  <a:gd name="T13" fmla="*/ 24 h 82"/>
                  <a:gd name="T14" fmla="*/ 11 w 30"/>
                  <a:gd name="T15" fmla="*/ 23 h 82"/>
                  <a:gd name="T16" fmla="*/ 2 w 30"/>
                  <a:gd name="T17" fmla="*/ 8 h 82"/>
                  <a:gd name="T18" fmla="*/ 0 w 30"/>
                  <a:gd name="T19" fmla="*/ 15 h 82"/>
                  <a:gd name="T20" fmla="*/ 6 w 30"/>
                  <a:gd name="T21" fmla="*/ 49 h 82"/>
                  <a:gd name="T22" fmla="*/ 2 w 30"/>
                  <a:gd name="T23" fmla="*/ 82 h 82"/>
                  <a:gd name="T24" fmla="*/ 4 w 30"/>
                  <a:gd name="T25" fmla="*/ 82 h 82"/>
                  <a:gd name="T26" fmla="*/ 21 w 30"/>
                  <a:gd name="T27" fmla="*/ 82 h 82"/>
                  <a:gd name="T28" fmla="*/ 19 w 30"/>
                  <a:gd name="T29" fmla="*/ 38 h 82"/>
                  <a:gd name="T30" fmla="*/ 30 w 30"/>
                  <a:gd name="T31" fmla="*/ 12 h 82"/>
                  <a:gd name="T32" fmla="*/ 29 w 30"/>
                  <a:gd name="T33" fmla="*/ 4 h 82"/>
                  <a:gd name="T34" fmla="*/ 15 w 30"/>
                  <a:gd name="T35" fmla="*/ 28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0" h="82">
                    <a:moveTo>
                      <a:pt x="15" y="28"/>
                    </a:moveTo>
                    <a:cubicBezTo>
                      <a:pt x="15" y="29"/>
                      <a:pt x="15" y="29"/>
                      <a:pt x="15" y="29"/>
                    </a:cubicBezTo>
                    <a:cubicBezTo>
                      <a:pt x="15" y="29"/>
                      <a:pt x="15" y="28"/>
                      <a:pt x="15" y="28"/>
                    </a:cubicBezTo>
                    <a:cubicBezTo>
                      <a:pt x="16" y="23"/>
                      <a:pt x="17" y="7"/>
                      <a:pt x="19" y="3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4" y="0"/>
                      <a:pt x="11" y="20"/>
                      <a:pt x="11" y="23"/>
                    </a:cubicBezTo>
                    <a:cubicBezTo>
                      <a:pt x="11" y="23"/>
                      <a:pt x="11" y="24"/>
                      <a:pt x="11" y="24"/>
                    </a:cubicBezTo>
                    <a:cubicBezTo>
                      <a:pt x="11" y="24"/>
                      <a:pt x="11" y="23"/>
                      <a:pt x="11" y="23"/>
                    </a:cubicBezTo>
                    <a:cubicBezTo>
                      <a:pt x="10" y="21"/>
                      <a:pt x="8" y="13"/>
                      <a:pt x="2" y="8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0" y="15"/>
                      <a:pt x="8" y="23"/>
                      <a:pt x="6" y="49"/>
                    </a:cubicBezTo>
                    <a:cubicBezTo>
                      <a:pt x="6" y="49"/>
                      <a:pt x="4" y="78"/>
                      <a:pt x="2" y="82"/>
                    </a:cubicBezTo>
                    <a:cubicBezTo>
                      <a:pt x="4" y="82"/>
                      <a:pt x="4" y="82"/>
                      <a:pt x="4" y="82"/>
                    </a:cubicBezTo>
                    <a:cubicBezTo>
                      <a:pt x="21" y="82"/>
                      <a:pt x="21" y="82"/>
                      <a:pt x="21" y="82"/>
                    </a:cubicBezTo>
                    <a:cubicBezTo>
                      <a:pt x="21" y="82"/>
                      <a:pt x="16" y="51"/>
                      <a:pt x="19" y="38"/>
                    </a:cubicBezTo>
                    <a:cubicBezTo>
                      <a:pt x="22" y="25"/>
                      <a:pt x="26" y="13"/>
                      <a:pt x="30" y="12"/>
                    </a:cubicBezTo>
                    <a:cubicBezTo>
                      <a:pt x="29" y="4"/>
                      <a:pt x="29" y="4"/>
                      <a:pt x="29" y="4"/>
                    </a:cubicBezTo>
                    <a:cubicBezTo>
                      <a:pt x="29" y="4"/>
                      <a:pt x="16" y="18"/>
                      <a:pt x="15" y="2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92" name="Freeform 6139"/>
              <p:cNvSpPr>
                <a:spLocks/>
              </p:cNvSpPr>
              <p:nvPr/>
            </p:nvSpPr>
            <p:spPr bwMode="auto">
              <a:xfrm>
                <a:off x="-8" y="1931"/>
                <a:ext cx="53" cy="74"/>
              </a:xfrm>
              <a:custGeom>
                <a:avLst/>
                <a:gdLst>
                  <a:gd name="T0" fmla="*/ 22 w 33"/>
                  <a:gd name="T1" fmla="*/ 3 h 46"/>
                  <a:gd name="T2" fmla="*/ 11 w 33"/>
                  <a:gd name="T3" fmla="*/ 15 h 46"/>
                  <a:gd name="T4" fmla="*/ 10 w 33"/>
                  <a:gd name="T5" fmla="*/ 30 h 46"/>
                  <a:gd name="T6" fmla="*/ 20 w 33"/>
                  <a:gd name="T7" fmla="*/ 43 h 46"/>
                  <a:gd name="T8" fmla="*/ 22 w 33"/>
                  <a:gd name="T9" fmla="*/ 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46">
                    <a:moveTo>
                      <a:pt x="22" y="3"/>
                    </a:moveTo>
                    <a:cubicBezTo>
                      <a:pt x="22" y="3"/>
                      <a:pt x="5" y="0"/>
                      <a:pt x="11" y="15"/>
                    </a:cubicBezTo>
                    <a:cubicBezTo>
                      <a:pt x="11" y="15"/>
                      <a:pt x="0" y="21"/>
                      <a:pt x="10" y="30"/>
                    </a:cubicBezTo>
                    <a:cubicBezTo>
                      <a:pt x="10" y="30"/>
                      <a:pt x="4" y="46"/>
                      <a:pt x="20" y="43"/>
                    </a:cubicBezTo>
                    <a:cubicBezTo>
                      <a:pt x="20" y="43"/>
                      <a:pt x="33" y="5"/>
                      <a:pt x="22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93" name="Freeform 6140"/>
              <p:cNvSpPr>
                <a:spLocks/>
              </p:cNvSpPr>
              <p:nvPr/>
            </p:nvSpPr>
            <p:spPr bwMode="auto">
              <a:xfrm>
                <a:off x="48" y="1905"/>
                <a:ext cx="2" cy="1"/>
              </a:xfrm>
              <a:custGeom>
                <a:avLst/>
                <a:gdLst>
                  <a:gd name="T0" fmla="*/ 0 w 1"/>
                  <a:gd name="T1" fmla="*/ 0 h 1"/>
                  <a:gd name="T2" fmla="*/ 1 w 1"/>
                  <a:gd name="T3" fmla="*/ 1 h 1"/>
                  <a:gd name="T4" fmla="*/ 0 w 1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1"/>
                      <a:pt x="1" y="1"/>
                    </a:cubicBezTo>
                    <a:cubicBezTo>
                      <a:pt x="1" y="1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94" name="Freeform 6141"/>
              <p:cNvSpPr>
                <a:spLocks/>
              </p:cNvSpPr>
              <p:nvPr/>
            </p:nvSpPr>
            <p:spPr bwMode="auto">
              <a:xfrm>
                <a:off x="24" y="1856"/>
                <a:ext cx="85" cy="105"/>
              </a:xfrm>
              <a:custGeom>
                <a:avLst/>
                <a:gdLst>
                  <a:gd name="T0" fmla="*/ 47 w 53"/>
                  <a:gd name="T1" fmla="*/ 11 h 65"/>
                  <a:gd name="T2" fmla="*/ 40 w 53"/>
                  <a:gd name="T3" fmla="*/ 1 h 65"/>
                  <a:gd name="T4" fmla="*/ 27 w 53"/>
                  <a:gd name="T5" fmla="*/ 11 h 65"/>
                  <a:gd name="T6" fmla="*/ 12 w 53"/>
                  <a:gd name="T7" fmla="*/ 20 h 65"/>
                  <a:gd name="T8" fmla="*/ 15 w 53"/>
                  <a:gd name="T9" fmla="*/ 30 h 65"/>
                  <a:gd name="T10" fmla="*/ 16 w 53"/>
                  <a:gd name="T11" fmla="*/ 31 h 65"/>
                  <a:gd name="T12" fmla="*/ 15 w 53"/>
                  <a:gd name="T13" fmla="*/ 30 h 65"/>
                  <a:gd name="T14" fmla="*/ 6 w 53"/>
                  <a:gd name="T15" fmla="*/ 35 h 65"/>
                  <a:gd name="T16" fmla="*/ 7 w 53"/>
                  <a:gd name="T17" fmla="*/ 45 h 65"/>
                  <a:gd name="T18" fmla="*/ 2 w 53"/>
                  <a:gd name="T19" fmla="*/ 56 h 65"/>
                  <a:gd name="T20" fmla="*/ 13 w 53"/>
                  <a:gd name="T21" fmla="*/ 64 h 65"/>
                  <a:gd name="T22" fmla="*/ 27 w 53"/>
                  <a:gd name="T23" fmla="*/ 49 h 65"/>
                  <a:gd name="T24" fmla="*/ 35 w 53"/>
                  <a:gd name="T25" fmla="*/ 35 h 65"/>
                  <a:gd name="T26" fmla="*/ 42 w 53"/>
                  <a:gd name="T27" fmla="*/ 23 h 65"/>
                  <a:gd name="T28" fmla="*/ 47 w 53"/>
                  <a:gd name="T29" fmla="*/ 11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3" h="65">
                    <a:moveTo>
                      <a:pt x="47" y="11"/>
                    </a:moveTo>
                    <a:cubicBezTo>
                      <a:pt x="47" y="11"/>
                      <a:pt x="47" y="2"/>
                      <a:pt x="40" y="1"/>
                    </a:cubicBezTo>
                    <a:cubicBezTo>
                      <a:pt x="40" y="1"/>
                      <a:pt x="28" y="0"/>
                      <a:pt x="27" y="11"/>
                    </a:cubicBezTo>
                    <a:cubicBezTo>
                      <a:pt x="27" y="11"/>
                      <a:pt x="14" y="6"/>
                      <a:pt x="12" y="20"/>
                    </a:cubicBezTo>
                    <a:cubicBezTo>
                      <a:pt x="12" y="20"/>
                      <a:pt x="11" y="29"/>
                      <a:pt x="15" y="30"/>
                    </a:cubicBezTo>
                    <a:cubicBezTo>
                      <a:pt x="15" y="30"/>
                      <a:pt x="16" y="31"/>
                      <a:pt x="16" y="31"/>
                    </a:cubicBezTo>
                    <a:cubicBezTo>
                      <a:pt x="15" y="31"/>
                      <a:pt x="15" y="30"/>
                      <a:pt x="15" y="30"/>
                    </a:cubicBezTo>
                    <a:cubicBezTo>
                      <a:pt x="12" y="30"/>
                      <a:pt x="7" y="30"/>
                      <a:pt x="6" y="35"/>
                    </a:cubicBezTo>
                    <a:cubicBezTo>
                      <a:pt x="6" y="35"/>
                      <a:pt x="4" y="38"/>
                      <a:pt x="7" y="45"/>
                    </a:cubicBezTo>
                    <a:cubicBezTo>
                      <a:pt x="7" y="45"/>
                      <a:pt x="0" y="50"/>
                      <a:pt x="2" y="56"/>
                    </a:cubicBezTo>
                    <a:cubicBezTo>
                      <a:pt x="2" y="56"/>
                      <a:pt x="3" y="65"/>
                      <a:pt x="13" y="64"/>
                    </a:cubicBezTo>
                    <a:cubicBezTo>
                      <a:pt x="13" y="64"/>
                      <a:pt x="30" y="65"/>
                      <a:pt x="27" y="49"/>
                    </a:cubicBezTo>
                    <a:cubicBezTo>
                      <a:pt x="27" y="49"/>
                      <a:pt x="47" y="45"/>
                      <a:pt x="35" y="35"/>
                    </a:cubicBezTo>
                    <a:cubicBezTo>
                      <a:pt x="35" y="35"/>
                      <a:pt x="53" y="40"/>
                      <a:pt x="42" y="23"/>
                    </a:cubicBezTo>
                    <a:cubicBezTo>
                      <a:pt x="42" y="23"/>
                      <a:pt x="48" y="16"/>
                      <a:pt x="47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95" name="Freeform 6142"/>
              <p:cNvSpPr>
                <a:spLocks/>
              </p:cNvSpPr>
              <p:nvPr/>
            </p:nvSpPr>
            <p:spPr bwMode="auto">
              <a:xfrm>
                <a:off x="55" y="1868"/>
                <a:ext cx="104" cy="101"/>
              </a:xfrm>
              <a:custGeom>
                <a:avLst/>
                <a:gdLst>
                  <a:gd name="T0" fmla="*/ 41 w 65"/>
                  <a:gd name="T1" fmla="*/ 11 h 63"/>
                  <a:gd name="T2" fmla="*/ 32 w 65"/>
                  <a:gd name="T3" fmla="*/ 1 h 63"/>
                  <a:gd name="T4" fmla="*/ 23 w 65"/>
                  <a:gd name="T5" fmla="*/ 12 h 63"/>
                  <a:gd name="T6" fmla="*/ 14 w 65"/>
                  <a:gd name="T7" fmla="*/ 20 h 63"/>
                  <a:gd name="T8" fmla="*/ 14 w 65"/>
                  <a:gd name="T9" fmla="*/ 33 h 63"/>
                  <a:gd name="T10" fmla="*/ 20 w 65"/>
                  <a:gd name="T11" fmla="*/ 49 h 63"/>
                  <a:gd name="T12" fmla="*/ 34 w 65"/>
                  <a:gd name="T13" fmla="*/ 52 h 63"/>
                  <a:gd name="T14" fmla="*/ 46 w 65"/>
                  <a:gd name="T15" fmla="*/ 42 h 63"/>
                  <a:gd name="T16" fmla="*/ 52 w 65"/>
                  <a:gd name="T17" fmla="*/ 22 h 63"/>
                  <a:gd name="T18" fmla="*/ 41 w 65"/>
                  <a:gd name="T19" fmla="*/ 11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5" h="63">
                    <a:moveTo>
                      <a:pt x="41" y="11"/>
                    </a:moveTo>
                    <a:cubicBezTo>
                      <a:pt x="41" y="11"/>
                      <a:pt x="40" y="2"/>
                      <a:pt x="32" y="1"/>
                    </a:cubicBezTo>
                    <a:cubicBezTo>
                      <a:pt x="32" y="1"/>
                      <a:pt x="25" y="0"/>
                      <a:pt x="23" y="12"/>
                    </a:cubicBezTo>
                    <a:cubicBezTo>
                      <a:pt x="23" y="12"/>
                      <a:pt x="13" y="9"/>
                      <a:pt x="14" y="20"/>
                    </a:cubicBezTo>
                    <a:cubicBezTo>
                      <a:pt x="14" y="20"/>
                      <a:pt x="0" y="25"/>
                      <a:pt x="14" y="33"/>
                    </a:cubicBezTo>
                    <a:cubicBezTo>
                      <a:pt x="14" y="33"/>
                      <a:pt x="11" y="50"/>
                      <a:pt x="20" y="49"/>
                    </a:cubicBezTo>
                    <a:cubicBezTo>
                      <a:pt x="20" y="49"/>
                      <a:pt x="25" y="63"/>
                      <a:pt x="34" y="52"/>
                    </a:cubicBezTo>
                    <a:cubicBezTo>
                      <a:pt x="34" y="52"/>
                      <a:pt x="50" y="58"/>
                      <a:pt x="46" y="42"/>
                    </a:cubicBezTo>
                    <a:cubicBezTo>
                      <a:pt x="46" y="42"/>
                      <a:pt x="65" y="34"/>
                      <a:pt x="52" y="22"/>
                    </a:cubicBezTo>
                    <a:cubicBezTo>
                      <a:pt x="52" y="22"/>
                      <a:pt x="55" y="11"/>
                      <a:pt x="41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96" name="Freeform 6143"/>
              <p:cNvSpPr>
                <a:spLocks/>
              </p:cNvSpPr>
              <p:nvPr/>
            </p:nvSpPr>
            <p:spPr bwMode="auto">
              <a:xfrm>
                <a:off x="90" y="1903"/>
                <a:ext cx="97" cy="97"/>
              </a:xfrm>
              <a:custGeom>
                <a:avLst/>
                <a:gdLst>
                  <a:gd name="T0" fmla="*/ 47 w 60"/>
                  <a:gd name="T1" fmla="*/ 23 h 60"/>
                  <a:gd name="T2" fmla="*/ 42 w 60"/>
                  <a:gd name="T3" fmla="*/ 12 h 60"/>
                  <a:gd name="T4" fmla="*/ 33 w 60"/>
                  <a:gd name="T5" fmla="*/ 0 h 60"/>
                  <a:gd name="T6" fmla="*/ 25 w 60"/>
                  <a:gd name="T7" fmla="*/ 13 h 60"/>
                  <a:gd name="T8" fmla="*/ 13 w 60"/>
                  <a:gd name="T9" fmla="*/ 15 h 60"/>
                  <a:gd name="T10" fmla="*/ 14 w 60"/>
                  <a:gd name="T11" fmla="*/ 26 h 60"/>
                  <a:gd name="T12" fmla="*/ 5 w 60"/>
                  <a:gd name="T13" fmla="*/ 40 h 60"/>
                  <a:gd name="T14" fmla="*/ 26 w 60"/>
                  <a:gd name="T15" fmla="*/ 46 h 60"/>
                  <a:gd name="T16" fmla="*/ 37 w 60"/>
                  <a:gd name="T17" fmla="*/ 47 h 60"/>
                  <a:gd name="T18" fmla="*/ 48 w 60"/>
                  <a:gd name="T19" fmla="*/ 41 h 60"/>
                  <a:gd name="T20" fmla="*/ 50 w 60"/>
                  <a:gd name="T21" fmla="*/ 41 h 60"/>
                  <a:gd name="T22" fmla="*/ 47 w 60"/>
                  <a:gd name="T23" fmla="*/ 23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0" h="60">
                    <a:moveTo>
                      <a:pt x="47" y="23"/>
                    </a:moveTo>
                    <a:cubicBezTo>
                      <a:pt x="47" y="23"/>
                      <a:pt x="54" y="13"/>
                      <a:pt x="42" y="12"/>
                    </a:cubicBezTo>
                    <a:cubicBezTo>
                      <a:pt x="42" y="12"/>
                      <a:pt x="41" y="0"/>
                      <a:pt x="33" y="0"/>
                    </a:cubicBezTo>
                    <a:cubicBezTo>
                      <a:pt x="33" y="0"/>
                      <a:pt x="21" y="0"/>
                      <a:pt x="25" y="13"/>
                    </a:cubicBezTo>
                    <a:cubicBezTo>
                      <a:pt x="25" y="13"/>
                      <a:pt x="16" y="7"/>
                      <a:pt x="13" y="15"/>
                    </a:cubicBezTo>
                    <a:cubicBezTo>
                      <a:pt x="13" y="15"/>
                      <a:pt x="9" y="24"/>
                      <a:pt x="14" y="26"/>
                    </a:cubicBezTo>
                    <a:cubicBezTo>
                      <a:pt x="14" y="26"/>
                      <a:pt x="0" y="27"/>
                      <a:pt x="5" y="40"/>
                    </a:cubicBezTo>
                    <a:cubicBezTo>
                      <a:pt x="5" y="40"/>
                      <a:pt x="13" y="60"/>
                      <a:pt x="26" y="46"/>
                    </a:cubicBezTo>
                    <a:cubicBezTo>
                      <a:pt x="26" y="46"/>
                      <a:pt x="35" y="55"/>
                      <a:pt x="37" y="47"/>
                    </a:cubicBezTo>
                    <a:cubicBezTo>
                      <a:pt x="37" y="47"/>
                      <a:pt x="49" y="56"/>
                      <a:pt x="48" y="41"/>
                    </a:cubicBezTo>
                    <a:cubicBezTo>
                      <a:pt x="48" y="41"/>
                      <a:pt x="49" y="42"/>
                      <a:pt x="50" y="41"/>
                    </a:cubicBezTo>
                    <a:cubicBezTo>
                      <a:pt x="50" y="41"/>
                      <a:pt x="60" y="29"/>
                      <a:pt x="47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97" name="Freeform 6144"/>
              <p:cNvSpPr>
                <a:spLocks/>
              </p:cNvSpPr>
              <p:nvPr/>
            </p:nvSpPr>
            <p:spPr bwMode="auto">
              <a:xfrm>
                <a:off x="138" y="2034"/>
                <a:ext cx="5" cy="10"/>
              </a:xfrm>
              <a:custGeom>
                <a:avLst/>
                <a:gdLst>
                  <a:gd name="T0" fmla="*/ 3 w 3"/>
                  <a:gd name="T1" fmla="*/ 0 h 6"/>
                  <a:gd name="T2" fmla="*/ 0 w 3"/>
                  <a:gd name="T3" fmla="*/ 6 h 6"/>
                  <a:gd name="T4" fmla="*/ 0 w 3"/>
                  <a:gd name="T5" fmla="*/ 6 h 6"/>
                  <a:gd name="T6" fmla="*/ 3 w 3"/>
                  <a:gd name="T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6">
                    <a:moveTo>
                      <a:pt x="3" y="0"/>
                    </a:moveTo>
                    <a:cubicBezTo>
                      <a:pt x="3" y="1"/>
                      <a:pt x="0" y="5"/>
                      <a:pt x="0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2" y="2"/>
                      <a:pt x="3" y="1"/>
                      <a:pt x="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98" name="Freeform 6145"/>
              <p:cNvSpPr>
                <a:spLocks/>
              </p:cNvSpPr>
              <p:nvPr/>
            </p:nvSpPr>
            <p:spPr bwMode="auto">
              <a:xfrm>
                <a:off x="84" y="1953"/>
                <a:ext cx="106" cy="110"/>
              </a:xfrm>
              <a:custGeom>
                <a:avLst/>
                <a:gdLst>
                  <a:gd name="T0" fmla="*/ 51 w 66"/>
                  <a:gd name="T1" fmla="*/ 10 h 68"/>
                  <a:gd name="T2" fmla="*/ 40 w 66"/>
                  <a:gd name="T3" fmla="*/ 1 h 68"/>
                  <a:gd name="T4" fmla="*/ 40 w 66"/>
                  <a:gd name="T5" fmla="*/ 1 h 68"/>
                  <a:gd name="T6" fmla="*/ 35 w 66"/>
                  <a:gd name="T7" fmla="*/ 6 h 68"/>
                  <a:gd name="T8" fmla="*/ 23 w 66"/>
                  <a:gd name="T9" fmla="*/ 14 h 68"/>
                  <a:gd name="T10" fmla="*/ 12 w 66"/>
                  <a:gd name="T11" fmla="*/ 22 h 68"/>
                  <a:gd name="T12" fmla="*/ 7 w 66"/>
                  <a:gd name="T13" fmla="*/ 32 h 68"/>
                  <a:gd name="T14" fmla="*/ 9 w 66"/>
                  <a:gd name="T15" fmla="*/ 43 h 68"/>
                  <a:gd name="T16" fmla="*/ 10 w 66"/>
                  <a:gd name="T17" fmla="*/ 51 h 68"/>
                  <a:gd name="T18" fmla="*/ 20 w 66"/>
                  <a:gd name="T19" fmla="*/ 58 h 68"/>
                  <a:gd name="T20" fmla="*/ 20 w 66"/>
                  <a:gd name="T21" fmla="*/ 58 h 68"/>
                  <a:gd name="T22" fmla="*/ 33 w 66"/>
                  <a:gd name="T23" fmla="*/ 57 h 68"/>
                  <a:gd name="T24" fmla="*/ 34 w 66"/>
                  <a:gd name="T25" fmla="*/ 56 h 68"/>
                  <a:gd name="T26" fmla="*/ 37 w 66"/>
                  <a:gd name="T27" fmla="*/ 50 h 68"/>
                  <a:gd name="T28" fmla="*/ 37 w 66"/>
                  <a:gd name="T29" fmla="*/ 50 h 68"/>
                  <a:gd name="T30" fmla="*/ 34 w 66"/>
                  <a:gd name="T31" fmla="*/ 56 h 68"/>
                  <a:gd name="T32" fmla="*/ 34 w 66"/>
                  <a:gd name="T33" fmla="*/ 56 h 68"/>
                  <a:gd name="T34" fmla="*/ 33 w 66"/>
                  <a:gd name="T35" fmla="*/ 56 h 68"/>
                  <a:gd name="T36" fmla="*/ 44 w 66"/>
                  <a:gd name="T37" fmla="*/ 45 h 68"/>
                  <a:gd name="T38" fmla="*/ 51 w 66"/>
                  <a:gd name="T39" fmla="*/ 36 h 68"/>
                  <a:gd name="T40" fmla="*/ 52 w 66"/>
                  <a:gd name="T41" fmla="*/ 24 h 68"/>
                  <a:gd name="T42" fmla="*/ 51 w 66"/>
                  <a:gd name="T43" fmla="*/ 10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66" h="68">
                    <a:moveTo>
                      <a:pt x="51" y="10"/>
                    </a:moveTo>
                    <a:cubicBezTo>
                      <a:pt x="51" y="10"/>
                      <a:pt x="52" y="0"/>
                      <a:pt x="40" y="1"/>
                    </a:cubicBezTo>
                    <a:cubicBezTo>
                      <a:pt x="40" y="1"/>
                      <a:pt x="40" y="1"/>
                      <a:pt x="40" y="1"/>
                    </a:cubicBezTo>
                    <a:cubicBezTo>
                      <a:pt x="40" y="1"/>
                      <a:pt x="35" y="3"/>
                      <a:pt x="35" y="6"/>
                    </a:cubicBezTo>
                    <a:cubicBezTo>
                      <a:pt x="35" y="6"/>
                      <a:pt x="27" y="1"/>
                      <a:pt x="23" y="14"/>
                    </a:cubicBezTo>
                    <a:cubicBezTo>
                      <a:pt x="23" y="14"/>
                      <a:pt x="12" y="10"/>
                      <a:pt x="12" y="22"/>
                    </a:cubicBezTo>
                    <a:cubicBezTo>
                      <a:pt x="12" y="22"/>
                      <a:pt x="2" y="26"/>
                      <a:pt x="7" y="32"/>
                    </a:cubicBezTo>
                    <a:cubicBezTo>
                      <a:pt x="7" y="32"/>
                      <a:pt x="0" y="41"/>
                      <a:pt x="9" y="43"/>
                    </a:cubicBezTo>
                    <a:cubicBezTo>
                      <a:pt x="9" y="43"/>
                      <a:pt x="3" y="47"/>
                      <a:pt x="10" y="51"/>
                    </a:cubicBezTo>
                    <a:cubicBezTo>
                      <a:pt x="10" y="51"/>
                      <a:pt x="6" y="66"/>
                      <a:pt x="20" y="58"/>
                    </a:cubicBezTo>
                    <a:cubicBezTo>
                      <a:pt x="20" y="58"/>
                      <a:pt x="20" y="58"/>
                      <a:pt x="20" y="58"/>
                    </a:cubicBezTo>
                    <a:cubicBezTo>
                      <a:pt x="20" y="58"/>
                      <a:pt x="25" y="68"/>
                      <a:pt x="33" y="57"/>
                    </a:cubicBezTo>
                    <a:cubicBezTo>
                      <a:pt x="33" y="56"/>
                      <a:pt x="33" y="56"/>
                      <a:pt x="34" y="56"/>
                    </a:cubicBezTo>
                    <a:cubicBezTo>
                      <a:pt x="34" y="55"/>
                      <a:pt x="37" y="51"/>
                      <a:pt x="37" y="50"/>
                    </a:cubicBezTo>
                    <a:cubicBezTo>
                      <a:pt x="37" y="50"/>
                      <a:pt x="37" y="50"/>
                      <a:pt x="37" y="50"/>
                    </a:cubicBezTo>
                    <a:cubicBezTo>
                      <a:pt x="37" y="51"/>
                      <a:pt x="36" y="52"/>
                      <a:pt x="34" y="56"/>
                    </a:cubicBezTo>
                    <a:cubicBezTo>
                      <a:pt x="34" y="56"/>
                      <a:pt x="34" y="56"/>
                      <a:pt x="34" y="56"/>
                    </a:cubicBezTo>
                    <a:cubicBezTo>
                      <a:pt x="33" y="56"/>
                      <a:pt x="33" y="56"/>
                      <a:pt x="33" y="56"/>
                    </a:cubicBezTo>
                    <a:cubicBezTo>
                      <a:pt x="33" y="56"/>
                      <a:pt x="46" y="63"/>
                      <a:pt x="44" y="45"/>
                    </a:cubicBezTo>
                    <a:cubicBezTo>
                      <a:pt x="44" y="45"/>
                      <a:pt x="53" y="50"/>
                      <a:pt x="51" y="36"/>
                    </a:cubicBezTo>
                    <a:cubicBezTo>
                      <a:pt x="51" y="36"/>
                      <a:pt x="63" y="31"/>
                      <a:pt x="52" y="24"/>
                    </a:cubicBezTo>
                    <a:cubicBezTo>
                      <a:pt x="52" y="24"/>
                      <a:pt x="66" y="17"/>
                      <a:pt x="51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99" name="Freeform 6146"/>
              <p:cNvSpPr>
                <a:spLocks/>
              </p:cNvSpPr>
              <p:nvPr/>
            </p:nvSpPr>
            <p:spPr bwMode="auto">
              <a:xfrm>
                <a:off x="8" y="1919"/>
                <a:ext cx="95" cy="133"/>
              </a:xfrm>
              <a:custGeom>
                <a:avLst/>
                <a:gdLst>
                  <a:gd name="T0" fmla="*/ 49 w 59"/>
                  <a:gd name="T1" fmla="*/ 14 h 82"/>
                  <a:gd name="T2" fmla="*/ 41 w 59"/>
                  <a:gd name="T3" fmla="*/ 0 h 82"/>
                  <a:gd name="T4" fmla="*/ 32 w 59"/>
                  <a:gd name="T5" fmla="*/ 9 h 82"/>
                  <a:gd name="T6" fmla="*/ 20 w 59"/>
                  <a:gd name="T7" fmla="*/ 22 h 82"/>
                  <a:gd name="T8" fmla="*/ 12 w 59"/>
                  <a:gd name="T9" fmla="*/ 25 h 82"/>
                  <a:gd name="T10" fmla="*/ 12 w 59"/>
                  <a:gd name="T11" fmla="*/ 34 h 82"/>
                  <a:gd name="T12" fmla="*/ 6 w 59"/>
                  <a:gd name="T13" fmla="*/ 43 h 82"/>
                  <a:gd name="T14" fmla="*/ 8 w 59"/>
                  <a:gd name="T15" fmla="*/ 52 h 82"/>
                  <a:gd name="T16" fmla="*/ 3 w 59"/>
                  <a:gd name="T17" fmla="*/ 62 h 82"/>
                  <a:gd name="T18" fmla="*/ 25 w 59"/>
                  <a:gd name="T19" fmla="*/ 55 h 82"/>
                  <a:gd name="T20" fmla="*/ 34 w 59"/>
                  <a:gd name="T21" fmla="*/ 46 h 82"/>
                  <a:gd name="T22" fmla="*/ 34 w 59"/>
                  <a:gd name="T23" fmla="*/ 46 h 82"/>
                  <a:gd name="T24" fmla="*/ 44 w 59"/>
                  <a:gd name="T25" fmla="*/ 47 h 82"/>
                  <a:gd name="T26" fmla="*/ 57 w 59"/>
                  <a:gd name="T27" fmla="*/ 28 h 82"/>
                  <a:gd name="T28" fmla="*/ 49 w 59"/>
                  <a:gd name="T29" fmla="*/ 14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9" h="82">
                    <a:moveTo>
                      <a:pt x="49" y="14"/>
                    </a:moveTo>
                    <a:cubicBezTo>
                      <a:pt x="49" y="14"/>
                      <a:pt x="51" y="2"/>
                      <a:pt x="41" y="0"/>
                    </a:cubicBezTo>
                    <a:cubicBezTo>
                      <a:pt x="41" y="0"/>
                      <a:pt x="32" y="1"/>
                      <a:pt x="32" y="9"/>
                    </a:cubicBezTo>
                    <a:cubicBezTo>
                      <a:pt x="32" y="9"/>
                      <a:pt x="18" y="8"/>
                      <a:pt x="20" y="22"/>
                    </a:cubicBezTo>
                    <a:cubicBezTo>
                      <a:pt x="20" y="22"/>
                      <a:pt x="15" y="21"/>
                      <a:pt x="12" y="25"/>
                    </a:cubicBezTo>
                    <a:cubicBezTo>
                      <a:pt x="12" y="25"/>
                      <a:pt x="9" y="31"/>
                      <a:pt x="12" y="34"/>
                    </a:cubicBezTo>
                    <a:cubicBezTo>
                      <a:pt x="12" y="34"/>
                      <a:pt x="5" y="36"/>
                      <a:pt x="6" y="43"/>
                    </a:cubicBezTo>
                    <a:cubicBezTo>
                      <a:pt x="6" y="43"/>
                      <a:pt x="5" y="51"/>
                      <a:pt x="8" y="52"/>
                    </a:cubicBezTo>
                    <a:cubicBezTo>
                      <a:pt x="8" y="52"/>
                      <a:pt x="0" y="56"/>
                      <a:pt x="3" y="62"/>
                    </a:cubicBezTo>
                    <a:cubicBezTo>
                      <a:pt x="3" y="62"/>
                      <a:pt x="10" y="82"/>
                      <a:pt x="25" y="55"/>
                    </a:cubicBezTo>
                    <a:cubicBezTo>
                      <a:pt x="25" y="55"/>
                      <a:pt x="38" y="58"/>
                      <a:pt x="34" y="46"/>
                    </a:cubicBezTo>
                    <a:cubicBezTo>
                      <a:pt x="34" y="46"/>
                      <a:pt x="34" y="46"/>
                      <a:pt x="34" y="46"/>
                    </a:cubicBezTo>
                    <a:cubicBezTo>
                      <a:pt x="34" y="46"/>
                      <a:pt x="40" y="54"/>
                      <a:pt x="44" y="47"/>
                    </a:cubicBezTo>
                    <a:cubicBezTo>
                      <a:pt x="44" y="47"/>
                      <a:pt x="58" y="66"/>
                      <a:pt x="57" y="28"/>
                    </a:cubicBezTo>
                    <a:cubicBezTo>
                      <a:pt x="57" y="28"/>
                      <a:pt x="59" y="15"/>
                      <a:pt x="49" y="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000" name="Freeform 6147"/>
              <p:cNvSpPr>
                <a:spLocks/>
              </p:cNvSpPr>
              <p:nvPr/>
            </p:nvSpPr>
            <p:spPr bwMode="auto">
              <a:xfrm>
                <a:off x="-9" y="1937"/>
                <a:ext cx="149" cy="126"/>
              </a:xfrm>
              <a:custGeom>
                <a:avLst/>
                <a:gdLst>
                  <a:gd name="T0" fmla="*/ 75 w 93"/>
                  <a:gd name="T1" fmla="*/ 28 h 78"/>
                  <a:gd name="T2" fmla="*/ 64 w 93"/>
                  <a:gd name="T3" fmla="*/ 20 h 78"/>
                  <a:gd name="T4" fmla="*/ 47 w 93"/>
                  <a:gd name="T5" fmla="*/ 18 h 78"/>
                  <a:gd name="T6" fmla="*/ 41 w 93"/>
                  <a:gd name="T7" fmla="*/ 29 h 78"/>
                  <a:gd name="T8" fmla="*/ 28 w 93"/>
                  <a:gd name="T9" fmla="*/ 44 h 78"/>
                  <a:gd name="T10" fmla="*/ 22 w 93"/>
                  <a:gd name="T11" fmla="*/ 53 h 78"/>
                  <a:gd name="T12" fmla="*/ 8 w 93"/>
                  <a:gd name="T13" fmla="*/ 57 h 78"/>
                  <a:gd name="T14" fmla="*/ 4 w 93"/>
                  <a:gd name="T15" fmla="*/ 68 h 78"/>
                  <a:gd name="T16" fmla="*/ 21 w 93"/>
                  <a:gd name="T17" fmla="*/ 65 h 78"/>
                  <a:gd name="T18" fmla="*/ 35 w 93"/>
                  <a:gd name="T19" fmla="*/ 52 h 78"/>
                  <a:gd name="T20" fmla="*/ 35 w 93"/>
                  <a:gd name="T21" fmla="*/ 52 h 78"/>
                  <a:gd name="T22" fmla="*/ 36 w 93"/>
                  <a:gd name="T23" fmla="*/ 53 h 78"/>
                  <a:gd name="T24" fmla="*/ 46 w 93"/>
                  <a:gd name="T25" fmla="*/ 47 h 78"/>
                  <a:gd name="T26" fmla="*/ 61 w 93"/>
                  <a:gd name="T27" fmla="*/ 47 h 78"/>
                  <a:gd name="T28" fmla="*/ 75 w 93"/>
                  <a:gd name="T29" fmla="*/ 57 h 78"/>
                  <a:gd name="T30" fmla="*/ 81 w 93"/>
                  <a:gd name="T31" fmla="*/ 44 h 78"/>
                  <a:gd name="T32" fmla="*/ 75 w 93"/>
                  <a:gd name="T33" fmla="*/ 2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3" h="78">
                    <a:moveTo>
                      <a:pt x="75" y="28"/>
                    </a:moveTo>
                    <a:cubicBezTo>
                      <a:pt x="77" y="13"/>
                      <a:pt x="64" y="20"/>
                      <a:pt x="64" y="20"/>
                    </a:cubicBezTo>
                    <a:cubicBezTo>
                      <a:pt x="56" y="0"/>
                      <a:pt x="47" y="18"/>
                      <a:pt x="47" y="18"/>
                    </a:cubicBezTo>
                    <a:cubicBezTo>
                      <a:pt x="35" y="17"/>
                      <a:pt x="41" y="29"/>
                      <a:pt x="41" y="29"/>
                    </a:cubicBezTo>
                    <a:cubicBezTo>
                      <a:pt x="20" y="23"/>
                      <a:pt x="28" y="44"/>
                      <a:pt x="28" y="44"/>
                    </a:cubicBezTo>
                    <a:cubicBezTo>
                      <a:pt x="18" y="44"/>
                      <a:pt x="22" y="53"/>
                      <a:pt x="22" y="53"/>
                    </a:cubicBezTo>
                    <a:cubicBezTo>
                      <a:pt x="10" y="41"/>
                      <a:pt x="8" y="57"/>
                      <a:pt x="8" y="57"/>
                    </a:cubicBezTo>
                    <a:cubicBezTo>
                      <a:pt x="0" y="58"/>
                      <a:pt x="4" y="68"/>
                      <a:pt x="4" y="68"/>
                    </a:cubicBezTo>
                    <a:cubicBezTo>
                      <a:pt x="15" y="78"/>
                      <a:pt x="21" y="65"/>
                      <a:pt x="21" y="65"/>
                    </a:cubicBezTo>
                    <a:cubicBezTo>
                      <a:pt x="37" y="76"/>
                      <a:pt x="35" y="52"/>
                      <a:pt x="35" y="52"/>
                    </a:cubicBezTo>
                    <a:cubicBezTo>
                      <a:pt x="35" y="52"/>
                      <a:pt x="24" y="45"/>
                      <a:pt x="35" y="52"/>
                    </a:cubicBezTo>
                    <a:cubicBezTo>
                      <a:pt x="35" y="52"/>
                      <a:pt x="35" y="52"/>
                      <a:pt x="36" y="53"/>
                    </a:cubicBezTo>
                    <a:cubicBezTo>
                      <a:pt x="46" y="59"/>
                      <a:pt x="46" y="47"/>
                      <a:pt x="46" y="47"/>
                    </a:cubicBezTo>
                    <a:cubicBezTo>
                      <a:pt x="53" y="64"/>
                      <a:pt x="61" y="47"/>
                      <a:pt x="61" y="47"/>
                    </a:cubicBezTo>
                    <a:cubicBezTo>
                      <a:pt x="61" y="70"/>
                      <a:pt x="75" y="57"/>
                      <a:pt x="75" y="57"/>
                    </a:cubicBezTo>
                    <a:cubicBezTo>
                      <a:pt x="93" y="61"/>
                      <a:pt x="81" y="44"/>
                      <a:pt x="81" y="44"/>
                    </a:cubicBezTo>
                    <a:cubicBezTo>
                      <a:pt x="90" y="31"/>
                      <a:pt x="75" y="28"/>
                      <a:pt x="75" y="2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001" name="Freeform 6148"/>
              <p:cNvSpPr>
                <a:spLocks/>
              </p:cNvSpPr>
              <p:nvPr/>
            </p:nvSpPr>
            <p:spPr bwMode="auto">
              <a:xfrm>
                <a:off x="47" y="1979"/>
                <a:ext cx="124" cy="189"/>
              </a:xfrm>
              <a:custGeom>
                <a:avLst/>
                <a:gdLst>
                  <a:gd name="T0" fmla="*/ 61 w 77"/>
                  <a:gd name="T1" fmla="*/ 55 h 117"/>
                  <a:gd name="T2" fmla="*/ 47 w 77"/>
                  <a:gd name="T3" fmla="*/ 36 h 117"/>
                  <a:gd name="T4" fmla="*/ 35 w 77"/>
                  <a:gd name="T5" fmla="*/ 22 h 117"/>
                  <a:gd name="T6" fmla="*/ 14 w 77"/>
                  <a:gd name="T7" fmla="*/ 11 h 117"/>
                  <a:gd name="T8" fmla="*/ 14 w 77"/>
                  <a:gd name="T9" fmla="*/ 47 h 117"/>
                  <a:gd name="T10" fmla="*/ 26 w 77"/>
                  <a:gd name="T11" fmla="*/ 77 h 117"/>
                  <a:gd name="T12" fmla="*/ 34 w 77"/>
                  <a:gd name="T13" fmla="*/ 98 h 117"/>
                  <a:gd name="T14" fmla="*/ 47 w 77"/>
                  <a:gd name="T15" fmla="*/ 117 h 117"/>
                  <a:gd name="T16" fmla="*/ 56 w 77"/>
                  <a:gd name="T17" fmla="*/ 101 h 117"/>
                  <a:gd name="T18" fmla="*/ 61 w 77"/>
                  <a:gd name="T19" fmla="*/ 77 h 117"/>
                  <a:gd name="T20" fmla="*/ 61 w 77"/>
                  <a:gd name="T21" fmla="*/ 55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7" h="117">
                    <a:moveTo>
                      <a:pt x="61" y="55"/>
                    </a:moveTo>
                    <a:cubicBezTo>
                      <a:pt x="69" y="29"/>
                      <a:pt x="47" y="36"/>
                      <a:pt x="47" y="36"/>
                    </a:cubicBezTo>
                    <a:cubicBezTo>
                      <a:pt x="49" y="21"/>
                      <a:pt x="35" y="22"/>
                      <a:pt x="35" y="22"/>
                    </a:cubicBezTo>
                    <a:cubicBezTo>
                      <a:pt x="33" y="0"/>
                      <a:pt x="14" y="11"/>
                      <a:pt x="14" y="11"/>
                    </a:cubicBezTo>
                    <a:cubicBezTo>
                      <a:pt x="5" y="17"/>
                      <a:pt x="14" y="47"/>
                      <a:pt x="14" y="47"/>
                    </a:cubicBezTo>
                    <a:cubicBezTo>
                      <a:pt x="0" y="59"/>
                      <a:pt x="26" y="77"/>
                      <a:pt x="26" y="77"/>
                    </a:cubicBezTo>
                    <a:cubicBezTo>
                      <a:pt x="14" y="90"/>
                      <a:pt x="34" y="98"/>
                      <a:pt x="34" y="98"/>
                    </a:cubicBezTo>
                    <a:cubicBezTo>
                      <a:pt x="31" y="116"/>
                      <a:pt x="47" y="117"/>
                      <a:pt x="47" y="117"/>
                    </a:cubicBezTo>
                    <a:cubicBezTo>
                      <a:pt x="60" y="116"/>
                      <a:pt x="56" y="101"/>
                      <a:pt x="56" y="101"/>
                    </a:cubicBezTo>
                    <a:cubicBezTo>
                      <a:pt x="75" y="94"/>
                      <a:pt x="61" y="77"/>
                      <a:pt x="61" y="77"/>
                    </a:cubicBezTo>
                    <a:cubicBezTo>
                      <a:pt x="77" y="66"/>
                      <a:pt x="61" y="55"/>
                      <a:pt x="61" y="5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002" name="Freeform 6149"/>
              <p:cNvSpPr>
                <a:spLocks/>
              </p:cNvSpPr>
              <p:nvPr/>
            </p:nvSpPr>
            <p:spPr bwMode="auto">
              <a:xfrm>
                <a:off x="45" y="2207"/>
                <a:ext cx="0" cy="1"/>
              </a:xfrm>
              <a:custGeom>
                <a:avLst/>
                <a:gdLst>
                  <a:gd name="T0" fmla="*/ 0 h 1"/>
                  <a:gd name="T1" fmla="*/ 1 h 1"/>
                  <a:gd name="T2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003" name="Freeform 6150"/>
              <p:cNvSpPr>
                <a:spLocks/>
              </p:cNvSpPr>
              <p:nvPr/>
            </p:nvSpPr>
            <p:spPr bwMode="auto">
              <a:xfrm>
                <a:off x="53" y="2197"/>
                <a:ext cx="0" cy="2"/>
              </a:xfrm>
              <a:custGeom>
                <a:avLst/>
                <a:gdLst>
                  <a:gd name="T0" fmla="*/ 0 h 1"/>
                  <a:gd name="T1" fmla="*/ 1 h 1"/>
                  <a:gd name="T2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1"/>
                      <a:pt x="0" y="1"/>
                    </a:cubicBezTo>
                    <a:cubicBezTo>
                      <a:pt x="0" y="1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004" name="Freeform 6151"/>
              <p:cNvSpPr>
                <a:spLocks/>
              </p:cNvSpPr>
              <p:nvPr/>
            </p:nvSpPr>
            <p:spPr bwMode="auto">
              <a:xfrm>
                <a:off x="16" y="2153"/>
                <a:ext cx="60" cy="157"/>
              </a:xfrm>
              <a:custGeom>
                <a:avLst/>
                <a:gdLst>
                  <a:gd name="T0" fmla="*/ 34 w 37"/>
                  <a:gd name="T1" fmla="*/ 9 h 97"/>
                  <a:gd name="T2" fmla="*/ 23 w 37"/>
                  <a:gd name="T3" fmla="*/ 27 h 97"/>
                  <a:gd name="T4" fmla="*/ 23 w 37"/>
                  <a:gd name="T5" fmla="*/ 28 h 97"/>
                  <a:gd name="T6" fmla="*/ 23 w 37"/>
                  <a:gd name="T7" fmla="*/ 27 h 97"/>
                  <a:gd name="T8" fmla="*/ 20 w 37"/>
                  <a:gd name="T9" fmla="*/ 0 h 97"/>
                  <a:gd name="T10" fmla="*/ 14 w 37"/>
                  <a:gd name="T11" fmla="*/ 3 h 97"/>
                  <a:gd name="T12" fmla="*/ 18 w 37"/>
                  <a:gd name="T13" fmla="*/ 33 h 97"/>
                  <a:gd name="T14" fmla="*/ 18 w 37"/>
                  <a:gd name="T15" fmla="*/ 34 h 97"/>
                  <a:gd name="T16" fmla="*/ 18 w 37"/>
                  <a:gd name="T17" fmla="*/ 33 h 97"/>
                  <a:gd name="T18" fmla="*/ 1 w 37"/>
                  <a:gd name="T19" fmla="*/ 4 h 97"/>
                  <a:gd name="T20" fmla="*/ 0 w 37"/>
                  <a:gd name="T21" fmla="*/ 14 h 97"/>
                  <a:gd name="T22" fmla="*/ 14 w 37"/>
                  <a:gd name="T23" fmla="*/ 45 h 97"/>
                  <a:gd name="T24" fmla="*/ 12 w 37"/>
                  <a:gd name="T25" fmla="*/ 97 h 97"/>
                  <a:gd name="T26" fmla="*/ 31 w 37"/>
                  <a:gd name="T27" fmla="*/ 97 h 97"/>
                  <a:gd name="T28" fmla="*/ 34 w 37"/>
                  <a:gd name="T29" fmla="*/ 97 h 97"/>
                  <a:gd name="T30" fmla="*/ 30 w 37"/>
                  <a:gd name="T31" fmla="*/ 58 h 97"/>
                  <a:gd name="T32" fmla="*/ 37 w 37"/>
                  <a:gd name="T33" fmla="*/ 18 h 97"/>
                  <a:gd name="T34" fmla="*/ 34 w 37"/>
                  <a:gd name="T35" fmla="*/ 9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7" h="97">
                    <a:moveTo>
                      <a:pt x="34" y="9"/>
                    </a:moveTo>
                    <a:cubicBezTo>
                      <a:pt x="27" y="15"/>
                      <a:pt x="24" y="24"/>
                      <a:pt x="23" y="27"/>
                    </a:cubicBezTo>
                    <a:cubicBezTo>
                      <a:pt x="23" y="27"/>
                      <a:pt x="23" y="28"/>
                      <a:pt x="23" y="28"/>
                    </a:cubicBezTo>
                    <a:cubicBezTo>
                      <a:pt x="23" y="28"/>
                      <a:pt x="23" y="27"/>
                      <a:pt x="23" y="27"/>
                    </a:cubicBezTo>
                    <a:cubicBezTo>
                      <a:pt x="24" y="23"/>
                      <a:pt x="20" y="0"/>
                      <a:pt x="20" y="0"/>
                    </a:cubicBezTo>
                    <a:cubicBezTo>
                      <a:pt x="14" y="3"/>
                      <a:pt x="14" y="3"/>
                      <a:pt x="14" y="3"/>
                    </a:cubicBezTo>
                    <a:cubicBezTo>
                      <a:pt x="17" y="8"/>
                      <a:pt x="18" y="27"/>
                      <a:pt x="18" y="33"/>
                    </a:cubicBezTo>
                    <a:cubicBezTo>
                      <a:pt x="18" y="33"/>
                      <a:pt x="18" y="34"/>
                      <a:pt x="18" y="34"/>
                    </a:cubicBezTo>
                    <a:cubicBezTo>
                      <a:pt x="18" y="34"/>
                      <a:pt x="18" y="34"/>
                      <a:pt x="18" y="33"/>
                    </a:cubicBezTo>
                    <a:cubicBezTo>
                      <a:pt x="17" y="20"/>
                      <a:pt x="1" y="4"/>
                      <a:pt x="1" y="4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5" y="15"/>
                      <a:pt x="10" y="29"/>
                      <a:pt x="14" y="45"/>
                    </a:cubicBezTo>
                    <a:cubicBezTo>
                      <a:pt x="17" y="61"/>
                      <a:pt x="12" y="97"/>
                      <a:pt x="12" y="97"/>
                    </a:cubicBezTo>
                    <a:cubicBezTo>
                      <a:pt x="31" y="97"/>
                      <a:pt x="31" y="97"/>
                      <a:pt x="31" y="97"/>
                    </a:cubicBezTo>
                    <a:cubicBezTo>
                      <a:pt x="34" y="97"/>
                      <a:pt x="34" y="97"/>
                      <a:pt x="34" y="97"/>
                    </a:cubicBezTo>
                    <a:cubicBezTo>
                      <a:pt x="32" y="92"/>
                      <a:pt x="30" y="58"/>
                      <a:pt x="30" y="58"/>
                    </a:cubicBezTo>
                    <a:cubicBezTo>
                      <a:pt x="27" y="27"/>
                      <a:pt x="37" y="18"/>
                      <a:pt x="37" y="18"/>
                    </a:cubicBezTo>
                    <a:lnTo>
                      <a:pt x="34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005" name="Freeform 6152"/>
              <p:cNvSpPr>
                <a:spLocks/>
              </p:cNvSpPr>
              <p:nvPr/>
            </p:nvSpPr>
            <p:spPr bwMode="auto">
              <a:xfrm>
                <a:off x="76" y="2058"/>
                <a:ext cx="62" cy="89"/>
              </a:xfrm>
              <a:custGeom>
                <a:avLst/>
                <a:gdLst>
                  <a:gd name="T0" fmla="*/ 26 w 39"/>
                  <a:gd name="T1" fmla="*/ 18 h 55"/>
                  <a:gd name="T2" fmla="*/ 13 w 39"/>
                  <a:gd name="T3" fmla="*/ 3 h 55"/>
                  <a:gd name="T4" fmla="*/ 16 w 39"/>
                  <a:gd name="T5" fmla="*/ 51 h 55"/>
                  <a:gd name="T6" fmla="*/ 28 w 39"/>
                  <a:gd name="T7" fmla="*/ 35 h 55"/>
                  <a:gd name="T8" fmla="*/ 26 w 39"/>
                  <a:gd name="T9" fmla="*/ 18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55">
                    <a:moveTo>
                      <a:pt x="26" y="18"/>
                    </a:moveTo>
                    <a:cubicBezTo>
                      <a:pt x="33" y="0"/>
                      <a:pt x="13" y="3"/>
                      <a:pt x="13" y="3"/>
                    </a:cubicBezTo>
                    <a:cubicBezTo>
                      <a:pt x="0" y="6"/>
                      <a:pt x="16" y="51"/>
                      <a:pt x="16" y="51"/>
                    </a:cubicBezTo>
                    <a:cubicBezTo>
                      <a:pt x="35" y="55"/>
                      <a:pt x="28" y="35"/>
                      <a:pt x="28" y="35"/>
                    </a:cubicBezTo>
                    <a:cubicBezTo>
                      <a:pt x="39" y="25"/>
                      <a:pt x="26" y="18"/>
                      <a:pt x="26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006" name="Freeform 6153"/>
              <p:cNvSpPr>
                <a:spLocks/>
              </p:cNvSpPr>
              <p:nvPr/>
            </p:nvSpPr>
            <p:spPr bwMode="auto">
              <a:xfrm>
                <a:off x="69" y="2027"/>
                <a:ext cx="3" cy="0"/>
              </a:xfrm>
              <a:custGeom>
                <a:avLst/>
                <a:gdLst>
                  <a:gd name="T0" fmla="*/ 2 w 2"/>
                  <a:gd name="T1" fmla="*/ 0 w 2"/>
                  <a:gd name="T2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cubicBezTo>
                      <a:pt x="1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007" name="Freeform 6154"/>
              <p:cNvSpPr>
                <a:spLocks/>
              </p:cNvSpPr>
              <p:nvPr/>
            </p:nvSpPr>
            <p:spPr bwMode="auto">
              <a:xfrm>
                <a:off x="-1" y="1968"/>
                <a:ext cx="101" cy="126"/>
              </a:xfrm>
              <a:custGeom>
                <a:avLst/>
                <a:gdLst>
                  <a:gd name="T0" fmla="*/ 54 w 63"/>
                  <a:gd name="T1" fmla="*/ 55 h 78"/>
                  <a:gd name="T2" fmla="*/ 56 w 63"/>
                  <a:gd name="T3" fmla="*/ 43 h 78"/>
                  <a:gd name="T4" fmla="*/ 46 w 63"/>
                  <a:gd name="T5" fmla="*/ 37 h 78"/>
                  <a:gd name="T6" fmla="*/ 44 w 63"/>
                  <a:gd name="T7" fmla="*/ 37 h 78"/>
                  <a:gd name="T8" fmla="*/ 46 w 63"/>
                  <a:gd name="T9" fmla="*/ 37 h 78"/>
                  <a:gd name="T10" fmla="*/ 49 w 63"/>
                  <a:gd name="T11" fmla="*/ 24 h 78"/>
                  <a:gd name="T12" fmla="*/ 30 w 63"/>
                  <a:gd name="T13" fmla="*/ 14 h 78"/>
                  <a:gd name="T14" fmla="*/ 15 w 63"/>
                  <a:gd name="T15" fmla="*/ 2 h 78"/>
                  <a:gd name="T16" fmla="*/ 7 w 63"/>
                  <a:gd name="T17" fmla="*/ 14 h 78"/>
                  <a:gd name="T18" fmla="*/ 13 w 63"/>
                  <a:gd name="T19" fmla="*/ 29 h 78"/>
                  <a:gd name="T20" fmla="*/ 21 w 63"/>
                  <a:gd name="T21" fmla="*/ 43 h 78"/>
                  <a:gd name="T22" fmla="*/ 31 w 63"/>
                  <a:gd name="T23" fmla="*/ 59 h 78"/>
                  <a:gd name="T24" fmla="*/ 47 w 63"/>
                  <a:gd name="T25" fmla="*/ 77 h 78"/>
                  <a:gd name="T26" fmla="*/ 61 w 63"/>
                  <a:gd name="T27" fmla="*/ 68 h 78"/>
                  <a:gd name="T28" fmla="*/ 54 w 63"/>
                  <a:gd name="T29" fmla="*/ 55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63" h="78">
                    <a:moveTo>
                      <a:pt x="54" y="55"/>
                    </a:moveTo>
                    <a:cubicBezTo>
                      <a:pt x="59" y="46"/>
                      <a:pt x="56" y="43"/>
                      <a:pt x="56" y="43"/>
                    </a:cubicBezTo>
                    <a:cubicBezTo>
                      <a:pt x="55" y="36"/>
                      <a:pt x="49" y="36"/>
                      <a:pt x="46" y="37"/>
                    </a:cubicBezTo>
                    <a:cubicBezTo>
                      <a:pt x="45" y="37"/>
                      <a:pt x="45" y="37"/>
                      <a:pt x="44" y="37"/>
                    </a:cubicBezTo>
                    <a:cubicBezTo>
                      <a:pt x="44" y="37"/>
                      <a:pt x="45" y="37"/>
                      <a:pt x="46" y="37"/>
                    </a:cubicBezTo>
                    <a:cubicBezTo>
                      <a:pt x="50" y="35"/>
                      <a:pt x="49" y="24"/>
                      <a:pt x="49" y="24"/>
                    </a:cubicBezTo>
                    <a:cubicBezTo>
                      <a:pt x="47" y="7"/>
                      <a:pt x="30" y="14"/>
                      <a:pt x="30" y="14"/>
                    </a:cubicBezTo>
                    <a:cubicBezTo>
                      <a:pt x="30" y="0"/>
                      <a:pt x="15" y="2"/>
                      <a:pt x="15" y="2"/>
                    </a:cubicBezTo>
                    <a:cubicBezTo>
                      <a:pt x="7" y="3"/>
                      <a:pt x="7" y="14"/>
                      <a:pt x="7" y="14"/>
                    </a:cubicBezTo>
                    <a:cubicBezTo>
                      <a:pt x="6" y="20"/>
                      <a:pt x="13" y="29"/>
                      <a:pt x="13" y="29"/>
                    </a:cubicBezTo>
                    <a:cubicBezTo>
                      <a:pt x="0" y="49"/>
                      <a:pt x="21" y="43"/>
                      <a:pt x="21" y="43"/>
                    </a:cubicBezTo>
                    <a:cubicBezTo>
                      <a:pt x="7" y="54"/>
                      <a:pt x="31" y="59"/>
                      <a:pt x="31" y="59"/>
                    </a:cubicBezTo>
                    <a:cubicBezTo>
                      <a:pt x="27" y="78"/>
                      <a:pt x="47" y="77"/>
                      <a:pt x="47" y="77"/>
                    </a:cubicBezTo>
                    <a:cubicBezTo>
                      <a:pt x="60" y="78"/>
                      <a:pt x="61" y="68"/>
                      <a:pt x="61" y="68"/>
                    </a:cubicBezTo>
                    <a:cubicBezTo>
                      <a:pt x="63" y="60"/>
                      <a:pt x="54" y="55"/>
                      <a:pt x="54" y="5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008" name="Freeform 6155"/>
              <p:cNvSpPr>
                <a:spLocks/>
              </p:cNvSpPr>
              <p:nvPr/>
            </p:nvSpPr>
            <p:spPr bwMode="auto">
              <a:xfrm>
                <a:off x="-61" y="1982"/>
                <a:ext cx="124" cy="121"/>
              </a:xfrm>
              <a:custGeom>
                <a:avLst/>
                <a:gdLst>
                  <a:gd name="T0" fmla="*/ 60 w 77"/>
                  <a:gd name="T1" fmla="*/ 24 h 75"/>
                  <a:gd name="T2" fmla="*/ 50 w 77"/>
                  <a:gd name="T3" fmla="*/ 14 h 75"/>
                  <a:gd name="T4" fmla="*/ 39 w 77"/>
                  <a:gd name="T5" fmla="*/ 1 h 75"/>
                  <a:gd name="T6" fmla="*/ 29 w 77"/>
                  <a:gd name="T7" fmla="*/ 13 h 75"/>
                  <a:gd name="T8" fmla="*/ 15 w 77"/>
                  <a:gd name="T9" fmla="*/ 27 h 75"/>
                  <a:gd name="T10" fmla="*/ 22 w 77"/>
                  <a:gd name="T11" fmla="*/ 51 h 75"/>
                  <a:gd name="T12" fmla="*/ 36 w 77"/>
                  <a:gd name="T13" fmla="*/ 62 h 75"/>
                  <a:gd name="T14" fmla="*/ 54 w 77"/>
                  <a:gd name="T15" fmla="*/ 58 h 75"/>
                  <a:gd name="T16" fmla="*/ 61 w 77"/>
                  <a:gd name="T17" fmla="*/ 39 h 75"/>
                  <a:gd name="T18" fmla="*/ 60 w 77"/>
                  <a:gd name="T19" fmla="*/ 24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7" h="75">
                    <a:moveTo>
                      <a:pt x="60" y="24"/>
                    </a:moveTo>
                    <a:cubicBezTo>
                      <a:pt x="62" y="11"/>
                      <a:pt x="50" y="14"/>
                      <a:pt x="50" y="14"/>
                    </a:cubicBezTo>
                    <a:cubicBezTo>
                      <a:pt x="48" y="0"/>
                      <a:pt x="39" y="1"/>
                      <a:pt x="39" y="1"/>
                    </a:cubicBezTo>
                    <a:cubicBezTo>
                      <a:pt x="29" y="2"/>
                      <a:pt x="29" y="13"/>
                      <a:pt x="29" y="13"/>
                    </a:cubicBezTo>
                    <a:cubicBezTo>
                      <a:pt x="12" y="13"/>
                      <a:pt x="15" y="27"/>
                      <a:pt x="15" y="27"/>
                    </a:cubicBezTo>
                    <a:cubicBezTo>
                      <a:pt x="0" y="41"/>
                      <a:pt x="22" y="51"/>
                      <a:pt x="22" y="51"/>
                    </a:cubicBezTo>
                    <a:cubicBezTo>
                      <a:pt x="18" y="69"/>
                      <a:pt x="36" y="62"/>
                      <a:pt x="36" y="62"/>
                    </a:cubicBezTo>
                    <a:cubicBezTo>
                      <a:pt x="48" y="75"/>
                      <a:pt x="54" y="58"/>
                      <a:pt x="54" y="58"/>
                    </a:cubicBezTo>
                    <a:cubicBezTo>
                      <a:pt x="64" y="60"/>
                      <a:pt x="61" y="39"/>
                      <a:pt x="61" y="39"/>
                    </a:cubicBezTo>
                    <a:cubicBezTo>
                      <a:pt x="77" y="30"/>
                      <a:pt x="60" y="24"/>
                      <a:pt x="60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009" name="Freeform 6156"/>
              <p:cNvSpPr>
                <a:spLocks/>
              </p:cNvSpPr>
              <p:nvPr/>
            </p:nvSpPr>
            <p:spPr bwMode="auto">
              <a:xfrm>
                <a:off x="-95" y="2024"/>
                <a:ext cx="116" cy="117"/>
              </a:xfrm>
              <a:custGeom>
                <a:avLst/>
                <a:gdLst>
                  <a:gd name="T0" fmla="*/ 55 w 72"/>
                  <a:gd name="T1" fmla="*/ 31 h 72"/>
                  <a:gd name="T2" fmla="*/ 57 w 72"/>
                  <a:gd name="T3" fmla="*/ 19 h 72"/>
                  <a:gd name="T4" fmla="*/ 42 w 72"/>
                  <a:gd name="T5" fmla="*/ 16 h 72"/>
                  <a:gd name="T6" fmla="*/ 32 w 72"/>
                  <a:gd name="T7" fmla="*/ 1 h 72"/>
                  <a:gd name="T8" fmla="*/ 22 w 72"/>
                  <a:gd name="T9" fmla="*/ 14 h 72"/>
                  <a:gd name="T10" fmla="*/ 15 w 72"/>
                  <a:gd name="T11" fmla="*/ 28 h 72"/>
                  <a:gd name="T12" fmla="*/ 13 w 72"/>
                  <a:gd name="T13" fmla="*/ 50 h 72"/>
                  <a:gd name="T14" fmla="*/ 15 w 72"/>
                  <a:gd name="T15" fmla="*/ 50 h 72"/>
                  <a:gd name="T16" fmla="*/ 28 w 72"/>
                  <a:gd name="T17" fmla="*/ 56 h 72"/>
                  <a:gd name="T18" fmla="*/ 41 w 72"/>
                  <a:gd name="T19" fmla="*/ 56 h 72"/>
                  <a:gd name="T20" fmla="*/ 66 w 72"/>
                  <a:gd name="T21" fmla="*/ 48 h 72"/>
                  <a:gd name="T22" fmla="*/ 55 w 72"/>
                  <a:gd name="T23" fmla="*/ 31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2" h="72">
                    <a:moveTo>
                      <a:pt x="55" y="31"/>
                    </a:moveTo>
                    <a:cubicBezTo>
                      <a:pt x="62" y="29"/>
                      <a:pt x="57" y="19"/>
                      <a:pt x="57" y="19"/>
                    </a:cubicBezTo>
                    <a:cubicBezTo>
                      <a:pt x="53" y="9"/>
                      <a:pt x="42" y="16"/>
                      <a:pt x="42" y="16"/>
                    </a:cubicBezTo>
                    <a:cubicBezTo>
                      <a:pt x="47" y="0"/>
                      <a:pt x="32" y="1"/>
                      <a:pt x="32" y="1"/>
                    </a:cubicBezTo>
                    <a:cubicBezTo>
                      <a:pt x="23" y="0"/>
                      <a:pt x="22" y="14"/>
                      <a:pt x="22" y="14"/>
                    </a:cubicBezTo>
                    <a:cubicBezTo>
                      <a:pt x="7" y="16"/>
                      <a:pt x="15" y="28"/>
                      <a:pt x="15" y="28"/>
                    </a:cubicBezTo>
                    <a:cubicBezTo>
                      <a:pt x="0" y="35"/>
                      <a:pt x="13" y="50"/>
                      <a:pt x="13" y="50"/>
                    </a:cubicBezTo>
                    <a:cubicBezTo>
                      <a:pt x="13" y="50"/>
                      <a:pt x="15" y="50"/>
                      <a:pt x="15" y="50"/>
                    </a:cubicBezTo>
                    <a:cubicBezTo>
                      <a:pt x="13" y="67"/>
                      <a:pt x="28" y="56"/>
                      <a:pt x="28" y="56"/>
                    </a:cubicBezTo>
                    <a:cubicBezTo>
                      <a:pt x="30" y="66"/>
                      <a:pt x="41" y="56"/>
                      <a:pt x="41" y="56"/>
                    </a:cubicBezTo>
                    <a:cubicBezTo>
                      <a:pt x="57" y="72"/>
                      <a:pt x="66" y="48"/>
                      <a:pt x="66" y="48"/>
                    </a:cubicBezTo>
                    <a:cubicBezTo>
                      <a:pt x="72" y="33"/>
                      <a:pt x="55" y="31"/>
                      <a:pt x="55" y="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010" name="Freeform 6157"/>
              <p:cNvSpPr>
                <a:spLocks/>
              </p:cNvSpPr>
              <p:nvPr/>
            </p:nvSpPr>
            <p:spPr bwMode="auto">
              <a:xfrm>
                <a:off x="-98" y="2086"/>
                <a:ext cx="125" cy="130"/>
              </a:xfrm>
              <a:custGeom>
                <a:avLst/>
                <a:gdLst>
                  <a:gd name="T0" fmla="*/ 64 w 78"/>
                  <a:gd name="T1" fmla="*/ 26 h 81"/>
                  <a:gd name="T2" fmla="*/ 51 w 78"/>
                  <a:gd name="T3" fmla="*/ 16 h 81"/>
                  <a:gd name="T4" fmla="*/ 37 w 78"/>
                  <a:gd name="T5" fmla="*/ 7 h 81"/>
                  <a:gd name="T6" fmla="*/ 31 w 78"/>
                  <a:gd name="T7" fmla="*/ 1 h 81"/>
                  <a:gd name="T8" fmla="*/ 30 w 78"/>
                  <a:gd name="T9" fmla="*/ 1 h 81"/>
                  <a:gd name="T10" fmla="*/ 18 w 78"/>
                  <a:gd name="T11" fmla="*/ 11 h 81"/>
                  <a:gd name="T12" fmla="*/ 17 w 78"/>
                  <a:gd name="T13" fmla="*/ 29 h 81"/>
                  <a:gd name="T14" fmla="*/ 18 w 78"/>
                  <a:gd name="T15" fmla="*/ 43 h 81"/>
                  <a:gd name="T16" fmla="*/ 26 w 78"/>
                  <a:gd name="T17" fmla="*/ 53 h 81"/>
                  <a:gd name="T18" fmla="*/ 39 w 78"/>
                  <a:gd name="T19" fmla="*/ 67 h 81"/>
                  <a:gd name="T20" fmla="*/ 39 w 78"/>
                  <a:gd name="T21" fmla="*/ 66 h 81"/>
                  <a:gd name="T22" fmla="*/ 39 w 78"/>
                  <a:gd name="T23" fmla="*/ 66 h 81"/>
                  <a:gd name="T24" fmla="*/ 39 w 78"/>
                  <a:gd name="T25" fmla="*/ 66 h 81"/>
                  <a:gd name="T26" fmla="*/ 39 w 78"/>
                  <a:gd name="T27" fmla="*/ 67 h 81"/>
                  <a:gd name="T28" fmla="*/ 54 w 78"/>
                  <a:gd name="T29" fmla="*/ 69 h 81"/>
                  <a:gd name="T30" fmla="*/ 55 w 78"/>
                  <a:gd name="T31" fmla="*/ 69 h 81"/>
                  <a:gd name="T32" fmla="*/ 67 w 78"/>
                  <a:gd name="T33" fmla="*/ 61 h 81"/>
                  <a:gd name="T34" fmla="*/ 68 w 78"/>
                  <a:gd name="T35" fmla="*/ 51 h 81"/>
                  <a:gd name="T36" fmla="*/ 70 w 78"/>
                  <a:gd name="T37" fmla="*/ 38 h 81"/>
                  <a:gd name="T38" fmla="*/ 64 w 78"/>
                  <a:gd name="T39" fmla="*/ 26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78" h="81">
                    <a:moveTo>
                      <a:pt x="64" y="26"/>
                    </a:moveTo>
                    <a:cubicBezTo>
                      <a:pt x="65" y="11"/>
                      <a:pt x="51" y="16"/>
                      <a:pt x="51" y="16"/>
                    </a:cubicBezTo>
                    <a:cubicBezTo>
                      <a:pt x="47" y="0"/>
                      <a:pt x="37" y="7"/>
                      <a:pt x="37" y="7"/>
                    </a:cubicBezTo>
                    <a:cubicBezTo>
                      <a:pt x="37" y="3"/>
                      <a:pt x="31" y="1"/>
                      <a:pt x="31" y="1"/>
                    </a:cubicBezTo>
                    <a:cubicBezTo>
                      <a:pt x="31" y="1"/>
                      <a:pt x="31" y="1"/>
                      <a:pt x="30" y="1"/>
                    </a:cubicBezTo>
                    <a:cubicBezTo>
                      <a:pt x="17" y="0"/>
                      <a:pt x="18" y="11"/>
                      <a:pt x="18" y="11"/>
                    </a:cubicBezTo>
                    <a:cubicBezTo>
                      <a:pt x="0" y="20"/>
                      <a:pt x="17" y="29"/>
                      <a:pt x="17" y="29"/>
                    </a:cubicBezTo>
                    <a:cubicBezTo>
                      <a:pt x="3" y="36"/>
                      <a:pt x="18" y="43"/>
                      <a:pt x="18" y="43"/>
                    </a:cubicBezTo>
                    <a:cubicBezTo>
                      <a:pt x="15" y="59"/>
                      <a:pt x="26" y="53"/>
                      <a:pt x="26" y="53"/>
                    </a:cubicBezTo>
                    <a:cubicBezTo>
                      <a:pt x="24" y="75"/>
                      <a:pt x="39" y="67"/>
                      <a:pt x="39" y="67"/>
                    </a:cubicBezTo>
                    <a:cubicBezTo>
                      <a:pt x="39" y="67"/>
                      <a:pt x="39" y="67"/>
                      <a:pt x="39" y="66"/>
                    </a:cubicBezTo>
                    <a:cubicBezTo>
                      <a:pt x="39" y="66"/>
                      <a:pt x="39" y="66"/>
                      <a:pt x="39" y="66"/>
                    </a:cubicBezTo>
                    <a:cubicBezTo>
                      <a:pt x="29" y="52"/>
                      <a:pt x="37" y="64"/>
                      <a:pt x="39" y="66"/>
                    </a:cubicBezTo>
                    <a:cubicBezTo>
                      <a:pt x="39" y="67"/>
                      <a:pt x="39" y="67"/>
                      <a:pt x="39" y="67"/>
                    </a:cubicBezTo>
                    <a:cubicBezTo>
                      <a:pt x="49" y="81"/>
                      <a:pt x="54" y="69"/>
                      <a:pt x="54" y="69"/>
                    </a:cubicBezTo>
                    <a:cubicBezTo>
                      <a:pt x="55" y="69"/>
                      <a:pt x="55" y="69"/>
                      <a:pt x="55" y="69"/>
                    </a:cubicBezTo>
                    <a:cubicBezTo>
                      <a:pt x="72" y="79"/>
                      <a:pt x="67" y="61"/>
                      <a:pt x="67" y="61"/>
                    </a:cubicBezTo>
                    <a:cubicBezTo>
                      <a:pt x="75" y="56"/>
                      <a:pt x="68" y="51"/>
                      <a:pt x="68" y="51"/>
                    </a:cubicBezTo>
                    <a:cubicBezTo>
                      <a:pt x="78" y="49"/>
                      <a:pt x="70" y="38"/>
                      <a:pt x="70" y="38"/>
                    </a:cubicBezTo>
                    <a:cubicBezTo>
                      <a:pt x="76" y="30"/>
                      <a:pt x="64" y="26"/>
                      <a:pt x="64" y="2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011" name="Freeform 6158"/>
              <p:cNvSpPr>
                <a:spLocks/>
              </p:cNvSpPr>
              <p:nvPr/>
            </p:nvSpPr>
            <p:spPr bwMode="auto">
              <a:xfrm>
                <a:off x="-51" y="2170"/>
                <a:ext cx="16" cy="22"/>
              </a:xfrm>
              <a:custGeom>
                <a:avLst/>
                <a:gdLst>
                  <a:gd name="T0" fmla="*/ 10 w 10"/>
                  <a:gd name="T1" fmla="*/ 14 h 14"/>
                  <a:gd name="T2" fmla="*/ 10 w 10"/>
                  <a:gd name="T3" fmla="*/ 14 h 14"/>
                  <a:gd name="T4" fmla="*/ 10 w 10"/>
                  <a:gd name="T5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14">
                    <a:moveTo>
                      <a:pt x="10" y="14"/>
                    </a:moveTo>
                    <a:cubicBezTo>
                      <a:pt x="10" y="14"/>
                      <a:pt x="10" y="14"/>
                      <a:pt x="10" y="14"/>
                    </a:cubicBezTo>
                    <a:cubicBezTo>
                      <a:pt x="8" y="12"/>
                      <a:pt x="0" y="0"/>
                      <a:pt x="10" y="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012" name="Freeform 6159"/>
              <p:cNvSpPr>
                <a:spLocks/>
              </p:cNvSpPr>
              <p:nvPr/>
            </p:nvSpPr>
            <p:spPr bwMode="auto">
              <a:xfrm>
                <a:off x="7" y="2045"/>
                <a:ext cx="112" cy="157"/>
              </a:xfrm>
              <a:custGeom>
                <a:avLst/>
                <a:gdLst>
                  <a:gd name="T0" fmla="*/ 60 w 70"/>
                  <a:gd name="T1" fmla="*/ 62 h 97"/>
                  <a:gd name="T2" fmla="*/ 63 w 70"/>
                  <a:gd name="T3" fmla="*/ 50 h 97"/>
                  <a:gd name="T4" fmla="*/ 56 w 70"/>
                  <a:gd name="T5" fmla="*/ 40 h 97"/>
                  <a:gd name="T6" fmla="*/ 56 w 70"/>
                  <a:gd name="T7" fmla="*/ 29 h 97"/>
                  <a:gd name="T8" fmla="*/ 46 w 70"/>
                  <a:gd name="T9" fmla="*/ 26 h 97"/>
                  <a:gd name="T10" fmla="*/ 32 w 70"/>
                  <a:gd name="T11" fmla="*/ 10 h 97"/>
                  <a:gd name="T12" fmla="*/ 21 w 70"/>
                  <a:gd name="T13" fmla="*/ 0 h 97"/>
                  <a:gd name="T14" fmla="*/ 11 w 70"/>
                  <a:gd name="T15" fmla="*/ 16 h 97"/>
                  <a:gd name="T16" fmla="*/ 1 w 70"/>
                  <a:gd name="T17" fmla="*/ 33 h 97"/>
                  <a:gd name="T18" fmla="*/ 17 w 70"/>
                  <a:gd name="T19" fmla="*/ 55 h 97"/>
                  <a:gd name="T20" fmla="*/ 30 w 70"/>
                  <a:gd name="T21" fmla="*/ 54 h 97"/>
                  <a:gd name="T22" fmla="*/ 30 w 70"/>
                  <a:gd name="T23" fmla="*/ 55 h 97"/>
                  <a:gd name="T24" fmla="*/ 41 w 70"/>
                  <a:gd name="T25" fmla="*/ 66 h 97"/>
                  <a:gd name="T26" fmla="*/ 67 w 70"/>
                  <a:gd name="T27" fmla="*/ 74 h 97"/>
                  <a:gd name="T28" fmla="*/ 60 w 70"/>
                  <a:gd name="T29" fmla="*/ 62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70" h="97">
                    <a:moveTo>
                      <a:pt x="60" y="62"/>
                    </a:moveTo>
                    <a:cubicBezTo>
                      <a:pt x="64" y="60"/>
                      <a:pt x="63" y="50"/>
                      <a:pt x="63" y="50"/>
                    </a:cubicBezTo>
                    <a:cubicBezTo>
                      <a:pt x="64" y="43"/>
                      <a:pt x="56" y="40"/>
                      <a:pt x="56" y="40"/>
                    </a:cubicBezTo>
                    <a:cubicBezTo>
                      <a:pt x="59" y="37"/>
                      <a:pt x="56" y="29"/>
                      <a:pt x="56" y="29"/>
                    </a:cubicBezTo>
                    <a:cubicBezTo>
                      <a:pt x="52" y="24"/>
                      <a:pt x="46" y="26"/>
                      <a:pt x="46" y="26"/>
                    </a:cubicBezTo>
                    <a:cubicBezTo>
                      <a:pt x="48" y="9"/>
                      <a:pt x="32" y="10"/>
                      <a:pt x="32" y="10"/>
                    </a:cubicBezTo>
                    <a:cubicBezTo>
                      <a:pt x="32" y="1"/>
                      <a:pt x="21" y="0"/>
                      <a:pt x="21" y="0"/>
                    </a:cubicBezTo>
                    <a:cubicBezTo>
                      <a:pt x="9" y="2"/>
                      <a:pt x="11" y="16"/>
                      <a:pt x="11" y="16"/>
                    </a:cubicBezTo>
                    <a:cubicBezTo>
                      <a:pt x="0" y="17"/>
                      <a:pt x="1" y="33"/>
                      <a:pt x="1" y="33"/>
                    </a:cubicBezTo>
                    <a:cubicBezTo>
                      <a:pt x="0" y="78"/>
                      <a:pt x="17" y="55"/>
                      <a:pt x="17" y="55"/>
                    </a:cubicBezTo>
                    <a:cubicBezTo>
                      <a:pt x="22" y="63"/>
                      <a:pt x="30" y="54"/>
                      <a:pt x="30" y="54"/>
                    </a:cubicBezTo>
                    <a:cubicBezTo>
                      <a:pt x="30" y="54"/>
                      <a:pt x="30" y="54"/>
                      <a:pt x="30" y="55"/>
                    </a:cubicBezTo>
                    <a:cubicBezTo>
                      <a:pt x="24" y="69"/>
                      <a:pt x="41" y="66"/>
                      <a:pt x="41" y="66"/>
                    </a:cubicBezTo>
                    <a:cubicBezTo>
                      <a:pt x="58" y="97"/>
                      <a:pt x="67" y="74"/>
                      <a:pt x="67" y="74"/>
                    </a:cubicBezTo>
                    <a:cubicBezTo>
                      <a:pt x="70" y="67"/>
                      <a:pt x="60" y="62"/>
                      <a:pt x="60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013" name="Freeform 6160"/>
              <p:cNvSpPr>
                <a:spLocks/>
              </p:cNvSpPr>
              <p:nvPr/>
            </p:nvSpPr>
            <p:spPr bwMode="auto">
              <a:xfrm>
                <a:off x="-38" y="2065"/>
                <a:ext cx="178" cy="151"/>
              </a:xfrm>
              <a:custGeom>
                <a:avLst/>
                <a:gdLst>
                  <a:gd name="T0" fmla="*/ 102 w 111"/>
                  <a:gd name="T1" fmla="*/ 69 h 94"/>
                  <a:gd name="T2" fmla="*/ 85 w 111"/>
                  <a:gd name="T3" fmla="*/ 64 h 94"/>
                  <a:gd name="T4" fmla="*/ 78 w 111"/>
                  <a:gd name="T5" fmla="*/ 53 h 94"/>
                  <a:gd name="T6" fmla="*/ 62 w 111"/>
                  <a:gd name="T7" fmla="*/ 35 h 94"/>
                  <a:gd name="T8" fmla="*/ 55 w 111"/>
                  <a:gd name="T9" fmla="*/ 22 h 94"/>
                  <a:gd name="T10" fmla="*/ 34 w 111"/>
                  <a:gd name="T11" fmla="*/ 24 h 94"/>
                  <a:gd name="T12" fmla="*/ 22 w 111"/>
                  <a:gd name="T13" fmla="*/ 34 h 94"/>
                  <a:gd name="T14" fmla="*/ 14 w 111"/>
                  <a:gd name="T15" fmla="*/ 53 h 94"/>
                  <a:gd name="T16" fmla="*/ 22 w 111"/>
                  <a:gd name="T17" fmla="*/ 69 h 94"/>
                  <a:gd name="T18" fmla="*/ 38 w 111"/>
                  <a:gd name="T19" fmla="*/ 57 h 94"/>
                  <a:gd name="T20" fmla="*/ 56 w 111"/>
                  <a:gd name="T21" fmla="*/ 57 h 94"/>
                  <a:gd name="T22" fmla="*/ 68 w 111"/>
                  <a:gd name="T23" fmla="*/ 63 h 94"/>
                  <a:gd name="T24" fmla="*/ 69 w 111"/>
                  <a:gd name="T25" fmla="*/ 63 h 94"/>
                  <a:gd name="T26" fmla="*/ 69 w 111"/>
                  <a:gd name="T27" fmla="*/ 63 h 94"/>
                  <a:gd name="T28" fmla="*/ 86 w 111"/>
                  <a:gd name="T29" fmla="*/ 78 h 94"/>
                  <a:gd name="T30" fmla="*/ 106 w 111"/>
                  <a:gd name="T31" fmla="*/ 82 h 94"/>
                  <a:gd name="T32" fmla="*/ 102 w 111"/>
                  <a:gd name="T33" fmla="*/ 69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1" h="94">
                    <a:moveTo>
                      <a:pt x="102" y="69"/>
                    </a:moveTo>
                    <a:cubicBezTo>
                      <a:pt x="102" y="69"/>
                      <a:pt x="100" y="49"/>
                      <a:pt x="85" y="64"/>
                    </a:cubicBezTo>
                    <a:cubicBezTo>
                      <a:pt x="85" y="64"/>
                      <a:pt x="90" y="53"/>
                      <a:pt x="78" y="53"/>
                    </a:cubicBezTo>
                    <a:cubicBezTo>
                      <a:pt x="78" y="53"/>
                      <a:pt x="87" y="28"/>
                      <a:pt x="62" y="35"/>
                    </a:cubicBezTo>
                    <a:cubicBezTo>
                      <a:pt x="62" y="35"/>
                      <a:pt x="70" y="20"/>
                      <a:pt x="55" y="22"/>
                    </a:cubicBezTo>
                    <a:cubicBezTo>
                      <a:pt x="55" y="22"/>
                      <a:pt x="44" y="0"/>
                      <a:pt x="34" y="24"/>
                    </a:cubicBezTo>
                    <a:cubicBezTo>
                      <a:pt x="34" y="24"/>
                      <a:pt x="19" y="16"/>
                      <a:pt x="22" y="34"/>
                    </a:cubicBezTo>
                    <a:cubicBezTo>
                      <a:pt x="22" y="34"/>
                      <a:pt x="3" y="37"/>
                      <a:pt x="14" y="53"/>
                    </a:cubicBezTo>
                    <a:cubicBezTo>
                      <a:pt x="14" y="53"/>
                      <a:pt x="0" y="73"/>
                      <a:pt x="22" y="69"/>
                    </a:cubicBezTo>
                    <a:cubicBezTo>
                      <a:pt x="22" y="69"/>
                      <a:pt x="38" y="84"/>
                      <a:pt x="38" y="57"/>
                    </a:cubicBezTo>
                    <a:cubicBezTo>
                      <a:pt x="38" y="57"/>
                      <a:pt x="48" y="77"/>
                      <a:pt x="56" y="57"/>
                    </a:cubicBezTo>
                    <a:cubicBezTo>
                      <a:pt x="56" y="57"/>
                      <a:pt x="56" y="71"/>
                      <a:pt x="68" y="63"/>
                    </a:cubicBezTo>
                    <a:cubicBezTo>
                      <a:pt x="69" y="63"/>
                      <a:pt x="69" y="63"/>
                      <a:pt x="69" y="63"/>
                    </a:cubicBezTo>
                    <a:cubicBezTo>
                      <a:pt x="82" y="55"/>
                      <a:pt x="69" y="63"/>
                      <a:pt x="69" y="63"/>
                    </a:cubicBezTo>
                    <a:cubicBezTo>
                      <a:pt x="69" y="63"/>
                      <a:pt x="66" y="91"/>
                      <a:pt x="86" y="78"/>
                    </a:cubicBezTo>
                    <a:cubicBezTo>
                      <a:pt x="86" y="78"/>
                      <a:pt x="93" y="94"/>
                      <a:pt x="106" y="82"/>
                    </a:cubicBezTo>
                    <a:cubicBezTo>
                      <a:pt x="106" y="82"/>
                      <a:pt x="111" y="70"/>
                      <a:pt x="102" y="6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014" name="Freeform 6161"/>
              <p:cNvSpPr>
                <a:spLocks/>
              </p:cNvSpPr>
              <p:nvPr/>
            </p:nvSpPr>
            <p:spPr bwMode="auto">
              <a:xfrm>
                <a:off x="-297" y="2042"/>
                <a:ext cx="104" cy="158"/>
              </a:xfrm>
              <a:custGeom>
                <a:avLst/>
                <a:gdLst>
                  <a:gd name="T0" fmla="*/ 52 w 65"/>
                  <a:gd name="T1" fmla="*/ 39 h 98"/>
                  <a:gd name="T2" fmla="*/ 52 w 65"/>
                  <a:gd name="T3" fmla="*/ 9 h 98"/>
                  <a:gd name="T4" fmla="*/ 35 w 65"/>
                  <a:gd name="T5" fmla="*/ 18 h 98"/>
                  <a:gd name="T6" fmla="*/ 25 w 65"/>
                  <a:gd name="T7" fmla="*/ 30 h 98"/>
                  <a:gd name="T8" fmla="*/ 13 w 65"/>
                  <a:gd name="T9" fmla="*/ 46 h 98"/>
                  <a:gd name="T10" fmla="*/ 13 w 65"/>
                  <a:gd name="T11" fmla="*/ 65 h 98"/>
                  <a:gd name="T12" fmla="*/ 18 w 65"/>
                  <a:gd name="T13" fmla="*/ 85 h 98"/>
                  <a:gd name="T14" fmla="*/ 25 w 65"/>
                  <a:gd name="T15" fmla="*/ 98 h 98"/>
                  <a:gd name="T16" fmla="*/ 36 w 65"/>
                  <a:gd name="T17" fmla="*/ 82 h 98"/>
                  <a:gd name="T18" fmla="*/ 43 w 65"/>
                  <a:gd name="T19" fmla="*/ 65 h 98"/>
                  <a:gd name="T20" fmla="*/ 52 w 65"/>
                  <a:gd name="T21" fmla="*/ 39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5" h="98">
                    <a:moveTo>
                      <a:pt x="52" y="39"/>
                    </a:moveTo>
                    <a:cubicBezTo>
                      <a:pt x="52" y="39"/>
                      <a:pt x="60" y="14"/>
                      <a:pt x="52" y="9"/>
                    </a:cubicBezTo>
                    <a:cubicBezTo>
                      <a:pt x="52" y="9"/>
                      <a:pt x="37" y="0"/>
                      <a:pt x="35" y="18"/>
                    </a:cubicBezTo>
                    <a:cubicBezTo>
                      <a:pt x="35" y="18"/>
                      <a:pt x="23" y="18"/>
                      <a:pt x="25" y="30"/>
                    </a:cubicBezTo>
                    <a:cubicBezTo>
                      <a:pt x="25" y="30"/>
                      <a:pt x="6" y="25"/>
                      <a:pt x="13" y="46"/>
                    </a:cubicBezTo>
                    <a:cubicBezTo>
                      <a:pt x="13" y="46"/>
                      <a:pt x="0" y="55"/>
                      <a:pt x="13" y="65"/>
                    </a:cubicBezTo>
                    <a:cubicBezTo>
                      <a:pt x="13" y="65"/>
                      <a:pt x="1" y="78"/>
                      <a:pt x="18" y="85"/>
                    </a:cubicBezTo>
                    <a:cubicBezTo>
                      <a:pt x="18" y="85"/>
                      <a:pt x="14" y="97"/>
                      <a:pt x="25" y="98"/>
                    </a:cubicBezTo>
                    <a:cubicBezTo>
                      <a:pt x="25" y="98"/>
                      <a:pt x="38" y="97"/>
                      <a:pt x="36" y="82"/>
                    </a:cubicBezTo>
                    <a:cubicBezTo>
                      <a:pt x="36" y="82"/>
                      <a:pt x="52" y="76"/>
                      <a:pt x="43" y="65"/>
                    </a:cubicBezTo>
                    <a:cubicBezTo>
                      <a:pt x="43" y="65"/>
                      <a:pt x="65" y="49"/>
                      <a:pt x="52" y="3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015" name="Freeform 6162"/>
              <p:cNvSpPr>
                <a:spLocks/>
              </p:cNvSpPr>
              <p:nvPr/>
            </p:nvSpPr>
            <p:spPr bwMode="auto">
              <a:xfrm>
                <a:off x="-199" y="2225"/>
                <a:ext cx="0" cy="1"/>
              </a:xfrm>
              <a:custGeom>
                <a:avLst/>
                <a:gdLst>
                  <a:gd name="T0" fmla="*/ 0 h 1"/>
                  <a:gd name="T1" fmla="*/ 1 h 1"/>
                  <a:gd name="T2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1"/>
                    </a:cubicBezTo>
                    <a:cubicBezTo>
                      <a:pt x="0" y="1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016" name="Freeform 6163"/>
              <p:cNvSpPr>
                <a:spLocks/>
              </p:cNvSpPr>
              <p:nvPr/>
            </p:nvSpPr>
            <p:spPr bwMode="auto">
              <a:xfrm>
                <a:off x="-193" y="2233"/>
                <a:ext cx="0" cy="1"/>
              </a:xfrm>
              <a:custGeom>
                <a:avLst/>
                <a:gdLst>
                  <a:gd name="T0" fmla="*/ 0 h 1"/>
                  <a:gd name="T1" fmla="*/ 1 h 1"/>
                  <a:gd name="T2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1"/>
                      <a:pt x="0" y="1"/>
                    </a:cubicBezTo>
                    <a:cubicBezTo>
                      <a:pt x="0" y="1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017" name="Freeform 6164"/>
              <p:cNvSpPr>
                <a:spLocks/>
              </p:cNvSpPr>
              <p:nvPr/>
            </p:nvSpPr>
            <p:spPr bwMode="auto">
              <a:xfrm>
                <a:off x="-218" y="2187"/>
                <a:ext cx="49" cy="133"/>
              </a:xfrm>
              <a:custGeom>
                <a:avLst/>
                <a:gdLst>
                  <a:gd name="T0" fmla="*/ 16 w 31"/>
                  <a:gd name="T1" fmla="*/ 28 h 82"/>
                  <a:gd name="T2" fmla="*/ 16 w 31"/>
                  <a:gd name="T3" fmla="*/ 29 h 82"/>
                  <a:gd name="T4" fmla="*/ 16 w 31"/>
                  <a:gd name="T5" fmla="*/ 28 h 82"/>
                  <a:gd name="T6" fmla="*/ 19 w 31"/>
                  <a:gd name="T7" fmla="*/ 3 h 82"/>
                  <a:gd name="T8" fmla="*/ 14 w 31"/>
                  <a:gd name="T9" fmla="*/ 0 h 82"/>
                  <a:gd name="T10" fmla="*/ 12 w 31"/>
                  <a:gd name="T11" fmla="*/ 23 h 82"/>
                  <a:gd name="T12" fmla="*/ 12 w 31"/>
                  <a:gd name="T13" fmla="*/ 24 h 82"/>
                  <a:gd name="T14" fmla="*/ 12 w 31"/>
                  <a:gd name="T15" fmla="*/ 23 h 82"/>
                  <a:gd name="T16" fmla="*/ 3 w 31"/>
                  <a:gd name="T17" fmla="*/ 8 h 82"/>
                  <a:gd name="T18" fmla="*/ 0 w 31"/>
                  <a:gd name="T19" fmla="*/ 15 h 82"/>
                  <a:gd name="T20" fmla="*/ 6 w 31"/>
                  <a:gd name="T21" fmla="*/ 48 h 82"/>
                  <a:gd name="T22" fmla="*/ 3 w 31"/>
                  <a:gd name="T23" fmla="*/ 82 h 82"/>
                  <a:gd name="T24" fmla="*/ 5 w 31"/>
                  <a:gd name="T25" fmla="*/ 82 h 82"/>
                  <a:gd name="T26" fmla="*/ 21 w 31"/>
                  <a:gd name="T27" fmla="*/ 82 h 82"/>
                  <a:gd name="T28" fmla="*/ 20 w 31"/>
                  <a:gd name="T29" fmla="*/ 38 h 82"/>
                  <a:gd name="T30" fmla="*/ 31 w 31"/>
                  <a:gd name="T31" fmla="*/ 12 h 82"/>
                  <a:gd name="T32" fmla="*/ 30 w 31"/>
                  <a:gd name="T33" fmla="*/ 4 h 82"/>
                  <a:gd name="T34" fmla="*/ 16 w 31"/>
                  <a:gd name="T35" fmla="*/ 28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1" h="82">
                    <a:moveTo>
                      <a:pt x="16" y="28"/>
                    </a:moveTo>
                    <a:cubicBezTo>
                      <a:pt x="16" y="28"/>
                      <a:pt x="16" y="29"/>
                      <a:pt x="16" y="29"/>
                    </a:cubicBezTo>
                    <a:cubicBezTo>
                      <a:pt x="16" y="29"/>
                      <a:pt x="16" y="28"/>
                      <a:pt x="16" y="28"/>
                    </a:cubicBezTo>
                    <a:cubicBezTo>
                      <a:pt x="16" y="23"/>
                      <a:pt x="17" y="7"/>
                      <a:pt x="19" y="3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4" y="0"/>
                      <a:pt x="11" y="20"/>
                      <a:pt x="12" y="23"/>
                    </a:cubicBezTo>
                    <a:cubicBezTo>
                      <a:pt x="12" y="23"/>
                      <a:pt x="12" y="24"/>
                      <a:pt x="12" y="2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1"/>
                      <a:pt x="9" y="13"/>
                      <a:pt x="3" y="8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0" y="15"/>
                      <a:pt x="8" y="23"/>
                      <a:pt x="6" y="48"/>
                    </a:cubicBezTo>
                    <a:cubicBezTo>
                      <a:pt x="6" y="48"/>
                      <a:pt x="5" y="78"/>
                      <a:pt x="3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21" y="82"/>
                      <a:pt x="21" y="82"/>
                      <a:pt x="21" y="82"/>
                    </a:cubicBezTo>
                    <a:cubicBezTo>
                      <a:pt x="21" y="82"/>
                      <a:pt x="17" y="51"/>
                      <a:pt x="20" y="38"/>
                    </a:cubicBezTo>
                    <a:cubicBezTo>
                      <a:pt x="23" y="25"/>
                      <a:pt x="27" y="13"/>
                      <a:pt x="31" y="12"/>
                    </a:cubicBezTo>
                    <a:cubicBezTo>
                      <a:pt x="30" y="4"/>
                      <a:pt x="30" y="4"/>
                      <a:pt x="30" y="4"/>
                    </a:cubicBezTo>
                    <a:cubicBezTo>
                      <a:pt x="30" y="4"/>
                      <a:pt x="17" y="17"/>
                      <a:pt x="16" y="2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018" name="Freeform 6165"/>
              <p:cNvSpPr>
                <a:spLocks/>
              </p:cNvSpPr>
              <p:nvPr/>
            </p:nvSpPr>
            <p:spPr bwMode="auto">
              <a:xfrm>
                <a:off x="-135" y="2210"/>
                <a:ext cx="2" cy="3"/>
              </a:xfrm>
              <a:custGeom>
                <a:avLst/>
                <a:gdLst>
                  <a:gd name="T0" fmla="*/ 1 w 1"/>
                  <a:gd name="T1" fmla="*/ 0 h 2"/>
                  <a:gd name="T2" fmla="*/ 0 w 1"/>
                  <a:gd name="T3" fmla="*/ 2 h 2"/>
                  <a:gd name="T4" fmla="*/ 1 w 1"/>
                  <a:gd name="T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2">
                    <a:moveTo>
                      <a:pt x="1" y="0"/>
                    </a:moveTo>
                    <a:cubicBezTo>
                      <a:pt x="0" y="1"/>
                      <a:pt x="0" y="1"/>
                      <a:pt x="0" y="2"/>
                    </a:cubicBezTo>
                    <a:cubicBezTo>
                      <a:pt x="0" y="2"/>
                      <a:pt x="0" y="1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019" name="Freeform 6166"/>
              <p:cNvSpPr>
                <a:spLocks/>
              </p:cNvSpPr>
              <p:nvPr/>
            </p:nvSpPr>
            <p:spPr bwMode="auto">
              <a:xfrm>
                <a:off x="-159" y="2166"/>
                <a:ext cx="50" cy="133"/>
              </a:xfrm>
              <a:custGeom>
                <a:avLst/>
                <a:gdLst>
                  <a:gd name="T0" fmla="*/ 16 w 31"/>
                  <a:gd name="T1" fmla="*/ 27 h 82"/>
                  <a:gd name="T2" fmla="*/ 15 w 31"/>
                  <a:gd name="T3" fmla="*/ 29 h 82"/>
                  <a:gd name="T4" fmla="*/ 16 w 31"/>
                  <a:gd name="T5" fmla="*/ 27 h 82"/>
                  <a:gd name="T6" fmla="*/ 19 w 31"/>
                  <a:gd name="T7" fmla="*/ 3 h 82"/>
                  <a:gd name="T8" fmla="*/ 14 w 31"/>
                  <a:gd name="T9" fmla="*/ 0 h 82"/>
                  <a:gd name="T10" fmla="*/ 11 w 31"/>
                  <a:gd name="T11" fmla="*/ 23 h 82"/>
                  <a:gd name="T12" fmla="*/ 11 w 31"/>
                  <a:gd name="T13" fmla="*/ 23 h 82"/>
                  <a:gd name="T14" fmla="*/ 11 w 31"/>
                  <a:gd name="T15" fmla="*/ 23 h 82"/>
                  <a:gd name="T16" fmla="*/ 2 w 31"/>
                  <a:gd name="T17" fmla="*/ 8 h 82"/>
                  <a:gd name="T18" fmla="*/ 0 w 31"/>
                  <a:gd name="T19" fmla="*/ 15 h 82"/>
                  <a:gd name="T20" fmla="*/ 6 w 31"/>
                  <a:gd name="T21" fmla="*/ 48 h 82"/>
                  <a:gd name="T22" fmla="*/ 3 w 31"/>
                  <a:gd name="T23" fmla="*/ 82 h 82"/>
                  <a:gd name="T24" fmla="*/ 4 w 31"/>
                  <a:gd name="T25" fmla="*/ 82 h 82"/>
                  <a:gd name="T26" fmla="*/ 21 w 31"/>
                  <a:gd name="T27" fmla="*/ 82 h 82"/>
                  <a:gd name="T28" fmla="*/ 19 w 31"/>
                  <a:gd name="T29" fmla="*/ 38 h 82"/>
                  <a:gd name="T30" fmla="*/ 31 w 31"/>
                  <a:gd name="T31" fmla="*/ 12 h 82"/>
                  <a:gd name="T32" fmla="*/ 29 w 31"/>
                  <a:gd name="T33" fmla="*/ 4 h 82"/>
                  <a:gd name="T34" fmla="*/ 16 w 31"/>
                  <a:gd name="T35" fmla="*/ 27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1" h="82">
                    <a:moveTo>
                      <a:pt x="16" y="27"/>
                    </a:moveTo>
                    <a:cubicBezTo>
                      <a:pt x="15" y="28"/>
                      <a:pt x="15" y="29"/>
                      <a:pt x="15" y="29"/>
                    </a:cubicBezTo>
                    <a:cubicBezTo>
                      <a:pt x="15" y="28"/>
                      <a:pt x="15" y="28"/>
                      <a:pt x="16" y="27"/>
                    </a:cubicBezTo>
                    <a:cubicBezTo>
                      <a:pt x="16" y="23"/>
                      <a:pt x="17" y="7"/>
                      <a:pt x="19" y="3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4" y="0"/>
                      <a:pt x="11" y="19"/>
                      <a:pt x="11" y="23"/>
                    </a:cubicBezTo>
                    <a:cubicBezTo>
                      <a:pt x="11" y="23"/>
                      <a:pt x="11" y="23"/>
                      <a:pt x="11" y="23"/>
                    </a:cubicBezTo>
                    <a:cubicBezTo>
                      <a:pt x="11" y="23"/>
                      <a:pt x="11" y="23"/>
                      <a:pt x="11" y="23"/>
                    </a:cubicBezTo>
                    <a:cubicBezTo>
                      <a:pt x="10" y="21"/>
                      <a:pt x="8" y="12"/>
                      <a:pt x="2" y="8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0" y="15"/>
                      <a:pt x="8" y="23"/>
                      <a:pt x="6" y="48"/>
                    </a:cubicBezTo>
                    <a:cubicBezTo>
                      <a:pt x="6" y="48"/>
                      <a:pt x="4" y="77"/>
                      <a:pt x="3" y="82"/>
                    </a:cubicBezTo>
                    <a:cubicBezTo>
                      <a:pt x="4" y="82"/>
                      <a:pt x="4" y="82"/>
                      <a:pt x="4" y="82"/>
                    </a:cubicBezTo>
                    <a:cubicBezTo>
                      <a:pt x="21" y="82"/>
                      <a:pt x="21" y="82"/>
                      <a:pt x="21" y="82"/>
                    </a:cubicBezTo>
                    <a:cubicBezTo>
                      <a:pt x="21" y="82"/>
                      <a:pt x="16" y="51"/>
                      <a:pt x="19" y="38"/>
                    </a:cubicBezTo>
                    <a:cubicBezTo>
                      <a:pt x="22" y="25"/>
                      <a:pt x="26" y="13"/>
                      <a:pt x="31" y="12"/>
                    </a:cubicBezTo>
                    <a:cubicBezTo>
                      <a:pt x="29" y="4"/>
                      <a:pt x="29" y="4"/>
                      <a:pt x="29" y="4"/>
                    </a:cubicBezTo>
                    <a:cubicBezTo>
                      <a:pt x="29" y="4"/>
                      <a:pt x="16" y="17"/>
                      <a:pt x="16" y="2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020" name="Freeform 6167"/>
              <p:cNvSpPr>
                <a:spLocks/>
              </p:cNvSpPr>
              <p:nvPr/>
            </p:nvSpPr>
            <p:spPr bwMode="auto">
              <a:xfrm>
                <a:off x="-141" y="2204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021" name="Freeform 6168"/>
              <p:cNvSpPr>
                <a:spLocks/>
              </p:cNvSpPr>
              <p:nvPr/>
            </p:nvSpPr>
            <p:spPr bwMode="auto">
              <a:xfrm>
                <a:off x="-270" y="2108"/>
                <a:ext cx="52" cy="75"/>
              </a:xfrm>
              <a:custGeom>
                <a:avLst/>
                <a:gdLst>
                  <a:gd name="T0" fmla="*/ 21 w 32"/>
                  <a:gd name="T1" fmla="*/ 3 h 46"/>
                  <a:gd name="T2" fmla="*/ 11 w 32"/>
                  <a:gd name="T3" fmla="*/ 15 h 46"/>
                  <a:gd name="T4" fmla="*/ 9 w 32"/>
                  <a:gd name="T5" fmla="*/ 30 h 46"/>
                  <a:gd name="T6" fmla="*/ 19 w 32"/>
                  <a:gd name="T7" fmla="*/ 43 h 46"/>
                  <a:gd name="T8" fmla="*/ 21 w 32"/>
                  <a:gd name="T9" fmla="*/ 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46">
                    <a:moveTo>
                      <a:pt x="21" y="3"/>
                    </a:moveTo>
                    <a:cubicBezTo>
                      <a:pt x="21" y="3"/>
                      <a:pt x="4" y="0"/>
                      <a:pt x="11" y="15"/>
                    </a:cubicBezTo>
                    <a:cubicBezTo>
                      <a:pt x="11" y="15"/>
                      <a:pt x="0" y="21"/>
                      <a:pt x="9" y="30"/>
                    </a:cubicBezTo>
                    <a:cubicBezTo>
                      <a:pt x="9" y="30"/>
                      <a:pt x="3" y="46"/>
                      <a:pt x="19" y="43"/>
                    </a:cubicBezTo>
                    <a:cubicBezTo>
                      <a:pt x="19" y="43"/>
                      <a:pt x="32" y="5"/>
                      <a:pt x="21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022" name="Freeform 6169"/>
              <p:cNvSpPr>
                <a:spLocks/>
              </p:cNvSpPr>
              <p:nvPr/>
            </p:nvSpPr>
            <p:spPr bwMode="auto">
              <a:xfrm>
                <a:off x="-215" y="2082"/>
                <a:ext cx="3" cy="0"/>
              </a:xfrm>
              <a:custGeom>
                <a:avLst/>
                <a:gdLst>
                  <a:gd name="T0" fmla="*/ 0 w 2"/>
                  <a:gd name="T1" fmla="*/ 2 w 2"/>
                  <a:gd name="T2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cubicBezTo>
                      <a:pt x="1" y="0"/>
                      <a:pt x="1" y="0"/>
                      <a:pt x="2" y="0"/>
                    </a:cubicBezTo>
                    <a:cubicBezTo>
                      <a:pt x="2" y="0"/>
                      <a:pt x="1" y="0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023" name="Freeform 6170"/>
              <p:cNvSpPr>
                <a:spLocks/>
              </p:cNvSpPr>
              <p:nvPr/>
            </p:nvSpPr>
            <p:spPr bwMode="auto">
              <a:xfrm>
                <a:off x="-239" y="2034"/>
                <a:ext cx="85" cy="105"/>
              </a:xfrm>
              <a:custGeom>
                <a:avLst/>
                <a:gdLst>
                  <a:gd name="T0" fmla="*/ 48 w 53"/>
                  <a:gd name="T1" fmla="*/ 11 h 65"/>
                  <a:gd name="T2" fmla="*/ 41 w 53"/>
                  <a:gd name="T3" fmla="*/ 1 h 65"/>
                  <a:gd name="T4" fmla="*/ 28 w 53"/>
                  <a:gd name="T5" fmla="*/ 11 h 65"/>
                  <a:gd name="T6" fmla="*/ 12 w 53"/>
                  <a:gd name="T7" fmla="*/ 20 h 65"/>
                  <a:gd name="T8" fmla="*/ 15 w 53"/>
                  <a:gd name="T9" fmla="*/ 30 h 65"/>
                  <a:gd name="T10" fmla="*/ 17 w 53"/>
                  <a:gd name="T11" fmla="*/ 30 h 65"/>
                  <a:gd name="T12" fmla="*/ 15 w 53"/>
                  <a:gd name="T13" fmla="*/ 30 h 65"/>
                  <a:gd name="T14" fmla="*/ 6 w 53"/>
                  <a:gd name="T15" fmla="*/ 35 h 65"/>
                  <a:gd name="T16" fmla="*/ 8 w 53"/>
                  <a:gd name="T17" fmla="*/ 45 h 65"/>
                  <a:gd name="T18" fmla="*/ 3 w 53"/>
                  <a:gd name="T19" fmla="*/ 56 h 65"/>
                  <a:gd name="T20" fmla="*/ 14 w 53"/>
                  <a:gd name="T21" fmla="*/ 64 h 65"/>
                  <a:gd name="T22" fmla="*/ 27 w 53"/>
                  <a:gd name="T23" fmla="*/ 49 h 65"/>
                  <a:gd name="T24" fmla="*/ 36 w 53"/>
                  <a:gd name="T25" fmla="*/ 35 h 65"/>
                  <a:gd name="T26" fmla="*/ 43 w 53"/>
                  <a:gd name="T27" fmla="*/ 23 h 65"/>
                  <a:gd name="T28" fmla="*/ 48 w 53"/>
                  <a:gd name="T29" fmla="*/ 11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3" h="65">
                    <a:moveTo>
                      <a:pt x="48" y="11"/>
                    </a:moveTo>
                    <a:cubicBezTo>
                      <a:pt x="48" y="11"/>
                      <a:pt x="48" y="2"/>
                      <a:pt x="41" y="1"/>
                    </a:cubicBezTo>
                    <a:cubicBezTo>
                      <a:pt x="41" y="1"/>
                      <a:pt x="28" y="0"/>
                      <a:pt x="28" y="11"/>
                    </a:cubicBezTo>
                    <a:cubicBezTo>
                      <a:pt x="28" y="11"/>
                      <a:pt x="14" y="5"/>
                      <a:pt x="12" y="20"/>
                    </a:cubicBezTo>
                    <a:cubicBezTo>
                      <a:pt x="12" y="20"/>
                      <a:pt x="11" y="28"/>
                      <a:pt x="15" y="30"/>
                    </a:cubicBezTo>
                    <a:cubicBezTo>
                      <a:pt x="16" y="30"/>
                      <a:pt x="17" y="30"/>
                      <a:pt x="17" y="30"/>
                    </a:cubicBezTo>
                    <a:cubicBezTo>
                      <a:pt x="16" y="30"/>
                      <a:pt x="16" y="30"/>
                      <a:pt x="15" y="30"/>
                    </a:cubicBezTo>
                    <a:cubicBezTo>
                      <a:pt x="13" y="30"/>
                      <a:pt x="7" y="30"/>
                      <a:pt x="6" y="35"/>
                    </a:cubicBezTo>
                    <a:cubicBezTo>
                      <a:pt x="6" y="35"/>
                      <a:pt x="4" y="38"/>
                      <a:pt x="8" y="45"/>
                    </a:cubicBezTo>
                    <a:cubicBezTo>
                      <a:pt x="8" y="45"/>
                      <a:pt x="0" y="50"/>
                      <a:pt x="3" y="56"/>
                    </a:cubicBezTo>
                    <a:cubicBezTo>
                      <a:pt x="3" y="56"/>
                      <a:pt x="3" y="64"/>
                      <a:pt x="14" y="64"/>
                    </a:cubicBezTo>
                    <a:cubicBezTo>
                      <a:pt x="14" y="64"/>
                      <a:pt x="31" y="65"/>
                      <a:pt x="27" y="49"/>
                    </a:cubicBezTo>
                    <a:cubicBezTo>
                      <a:pt x="27" y="49"/>
                      <a:pt x="48" y="45"/>
                      <a:pt x="36" y="35"/>
                    </a:cubicBezTo>
                    <a:cubicBezTo>
                      <a:pt x="36" y="35"/>
                      <a:pt x="53" y="40"/>
                      <a:pt x="43" y="23"/>
                    </a:cubicBezTo>
                    <a:cubicBezTo>
                      <a:pt x="43" y="23"/>
                      <a:pt x="49" y="16"/>
                      <a:pt x="48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024" name="Freeform 6171"/>
              <p:cNvSpPr>
                <a:spLocks/>
              </p:cNvSpPr>
              <p:nvPr/>
            </p:nvSpPr>
            <p:spPr bwMode="auto">
              <a:xfrm>
                <a:off x="-207" y="2045"/>
                <a:ext cx="104" cy="102"/>
              </a:xfrm>
              <a:custGeom>
                <a:avLst/>
                <a:gdLst>
                  <a:gd name="T0" fmla="*/ 40 w 65"/>
                  <a:gd name="T1" fmla="*/ 11 h 63"/>
                  <a:gd name="T2" fmla="*/ 32 w 65"/>
                  <a:gd name="T3" fmla="*/ 1 h 63"/>
                  <a:gd name="T4" fmla="*/ 23 w 65"/>
                  <a:gd name="T5" fmla="*/ 12 h 63"/>
                  <a:gd name="T6" fmla="*/ 14 w 65"/>
                  <a:gd name="T7" fmla="*/ 20 h 63"/>
                  <a:gd name="T8" fmla="*/ 14 w 65"/>
                  <a:gd name="T9" fmla="*/ 33 h 63"/>
                  <a:gd name="T10" fmla="*/ 19 w 65"/>
                  <a:gd name="T11" fmla="*/ 49 h 63"/>
                  <a:gd name="T12" fmla="*/ 34 w 65"/>
                  <a:gd name="T13" fmla="*/ 52 h 63"/>
                  <a:gd name="T14" fmla="*/ 46 w 65"/>
                  <a:gd name="T15" fmla="*/ 42 h 63"/>
                  <a:gd name="T16" fmla="*/ 52 w 65"/>
                  <a:gd name="T17" fmla="*/ 22 h 63"/>
                  <a:gd name="T18" fmla="*/ 40 w 65"/>
                  <a:gd name="T19" fmla="*/ 11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5" h="63">
                    <a:moveTo>
                      <a:pt x="40" y="11"/>
                    </a:moveTo>
                    <a:cubicBezTo>
                      <a:pt x="40" y="11"/>
                      <a:pt x="40" y="1"/>
                      <a:pt x="32" y="1"/>
                    </a:cubicBezTo>
                    <a:cubicBezTo>
                      <a:pt x="32" y="1"/>
                      <a:pt x="24" y="0"/>
                      <a:pt x="23" y="12"/>
                    </a:cubicBezTo>
                    <a:cubicBezTo>
                      <a:pt x="23" y="12"/>
                      <a:pt x="13" y="9"/>
                      <a:pt x="14" y="20"/>
                    </a:cubicBezTo>
                    <a:cubicBezTo>
                      <a:pt x="14" y="20"/>
                      <a:pt x="0" y="25"/>
                      <a:pt x="14" y="33"/>
                    </a:cubicBezTo>
                    <a:cubicBezTo>
                      <a:pt x="14" y="33"/>
                      <a:pt x="10" y="50"/>
                      <a:pt x="19" y="49"/>
                    </a:cubicBezTo>
                    <a:cubicBezTo>
                      <a:pt x="19" y="49"/>
                      <a:pt x="24" y="63"/>
                      <a:pt x="34" y="52"/>
                    </a:cubicBezTo>
                    <a:cubicBezTo>
                      <a:pt x="34" y="52"/>
                      <a:pt x="49" y="58"/>
                      <a:pt x="46" y="42"/>
                    </a:cubicBezTo>
                    <a:cubicBezTo>
                      <a:pt x="46" y="42"/>
                      <a:pt x="65" y="34"/>
                      <a:pt x="52" y="22"/>
                    </a:cubicBezTo>
                    <a:cubicBezTo>
                      <a:pt x="52" y="22"/>
                      <a:pt x="55" y="10"/>
                      <a:pt x="40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025" name="Freeform 6172"/>
              <p:cNvSpPr>
                <a:spLocks/>
              </p:cNvSpPr>
              <p:nvPr/>
            </p:nvSpPr>
            <p:spPr bwMode="auto">
              <a:xfrm>
                <a:off x="-172" y="2081"/>
                <a:ext cx="97" cy="97"/>
              </a:xfrm>
              <a:custGeom>
                <a:avLst/>
                <a:gdLst>
                  <a:gd name="T0" fmla="*/ 47 w 60"/>
                  <a:gd name="T1" fmla="*/ 23 h 60"/>
                  <a:gd name="T2" fmla="*/ 41 w 60"/>
                  <a:gd name="T3" fmla="*/ 11 h 60"/>
                  <a:gd name="T4" fmla="*/ 33 w 60"/>
                  <a:gd name="T5" fmla="*/ 0 h 60"/>
                  <a:gd name="T6" fmla="*/ 25 w 60"/>
                  <a:gd name="T7" fmla="*/ 13 h 60"/>
                  <a:gd name="T8" fmla="*/ 12 w 60"/>
                  <a:gd name="T9" fmla="*/ 15 h 60"/>
                  <a:gd name="T10" fmla="*/ 14 w 60"/>
                  <a:gd name="T11" fmla="*/ 26 h 60"/>
                  <a:gd name="T12" fmla="*/ 5 w 60"/>
                  <a:gd name="T13" fmla="*/ 39 h 60"/>
                  <a:gd name="T14" fmla="*/ 26 w 60"/>
                  <a:gd name="T15" fmla="*/ 46 h 60"/>
                  <a:gd name="T16" fmla="*/ 36 w 60"/>
                  <a:gd name="T17" fmla="*/ 47 h 60"/>
                  <a:gd name="T18" fmla="*/ 47 w 60"/>
                  <a:gd name="T19" fmla="*/ 41 h 60"/>
                  <a:gd name="T20" fmla="*/ 49 w 60"/>
                  <a:gd name="T21" fmla="*/ 41 h 60"/>
                  <a:gd name="T22" fmla="*/ 47 w 60"/>
                  <a:gd name="T23" fmla="*/ 23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0" h="60">
                    <a:moveTo>
                      <a:pt x="47" y="23"/>
                    </a:moveTo>
                    <a:cubicBezTo>
                      <a:pt x="47" y="23"/>
                      <a:pt x="54" y="13"/>
                      <a:pt x="41" y="11"/>
                    </a:cubicBezTo>
                    <a:cubicBezTo>
                      <a:pt x="41" y="11"/>
                      <a:pt x="40" y="0"/>
                      <a:pt x="33" y="0"/>
                    </a:cubicBezTo>
                    <a:cubicBezTo>
                      <a:pt x="33" y="0"/>
                      <a:pt x="21" y="0"/>
                      <a:pt x="25" y="13"/>
                    </a:cubicBezTo>
                    <a:cubicBezTo>
                      <a:pt x="25" y="13"/>
                      <a:pt x="15" y="7"/>
                      <a:pt x="12" y="15"/>
                    </a:cubicBezTo>
                    <a:cubicBezTo>
                      <a:pt x="12" y="15"/>
                      <a:pt x="8" y="24"/>
                      <a:pt x="14" y="26"/>
                    </a:cubicBezTo>
                    <a:cubicBezTo>
                      <a:pt x="14" y="26"/>
                      <a:pt x="0" y="27"/>
                      <a:pt x="5" y="39"/>
                    </a:cubicBezTo>
                    <a:cubicBezTo>
                      <a:pt x="5" y="39"/>
                      <a:pt x="13" y="60"/>
                      <a:pt x="26" y="46"/>
                    </a:cubicBezTo>
                    <a:cubicBezTo>
                      <a:pt x="26" y="46"/>
                      <a:pt x="35" y="54"/>
                      <a:pt x="36" y="47"/>
                    </a:cubicBezTo>
                    <a:cubicBezTo>
                      <a:pt x="36" y="47"/>
                      <a:pt x="49" y="55"/>
                      <a:pt x="47" y="41"/>
                    </a:cubicBezTo>
                    <a:cubicBezTo>
                      <a:pt x="47" y="41"/>
                      <a:pt x="49" y="42"/>
                      <a:pt x="49" y="41"/>
                    </a:cubicBezTo>
                    <a:cubicBezTo>
                      <a:pt x="49" y="41"/>
                      <a:pt x="60" y="29"/>
                      <a:pt x="47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026" name="Freeform 6173"/>
              <p:cNvSpPr>
                <a:spLocks/>
              </p:cNvSpPr>
              <p:nvPr/>
            </p:nvSpPr>
            <p:spPr bwMode="auto">
              <a:xfrm>
                <a:off x="-178" y="2131"/>
                <a:ext cx="104" cy="110"/>
              </a:xfrm>
              <a:custGeom>
                <a:avLst/>
                <a:gdLst>
                  <a:gd name="T0" fmla="*/ 51 w 65"/>
                  <a:gd name="T1" fmla="*/ 10 h 68"/>
                  <a:gd name="T2" fmla="*/ 40 w 65"/>
                  <a:gd name="T3" fmla="*/ 1 h 68"/>
                  <a:gd name="T4" fmla="*/ 40 w 65"/>
                  <a:gd name="T5" fmla="*/ 1 h 68"/>
                  <a:gd name="T6" fmla="*/ 35 w 65"/>
                  <a:gd name="T7" fmla="*/ 6 h 68"/>
                  <a:gd name="T8" fmla="*/ 23 w 65"/>
                  <a:gd name="T9" fmla="*/ 14 h 68"/>
                  <a:gd name="T10" fmla="*/ 12 w 65"/>
                  <a:gd name="T11" fmla="*/ 22 h 68"/>
                  <a:gd name="T12" fmla="*/ 7 w 65"/>
                  <a:gd name="T13" fmla="*/ 32 h 68"/>
                  <a:gd name="T14" fmla="*/ 8 w 65"/>
                  <a:gd name="T15" fmla="*/ 43 h 68"/>
                  <a:gd name="T16" fmla="*/ 9 w 65"/>
                  <a:gd name="T17" fmla="*/ 51 h 68"/>
                  <a:gd name="T18" fmla="*/ 20 w 65"/>
                  <a:gd name="T19" fmla="*/ 58 h 68"/>
                  <a:gd name="T20" fmla="*/ 20 w 65"/>
                  <a:gd name="T21" fmla="*/ 58 h 68"/>
                  <a:gd name="T22" fmla="*/ 33 w 65"/>
                  <a:gd name="T23" fmla="*/ 57 h 68"/>
                  <a:gd name="T24" fmla="*/ 33 w 65"/>
                  <a:gd name="T25" fmla="*/ 56 h 68"/>
                  <a:gd name="T26" fmla="*/ 33 w 65"/>
                  <a:gd name="T27" fmla="*/ 56 h 68"/>
                  <a:gd name="T28" fmla="*/ 44 w 65"/>
                  <a:gd name="T29" fmla="*/ 45 h 68"/>
                  <a:gd name="T30" fmla="*/ 50 w 65"/>
                  <a:gd name="T31" fmla="*/ 36 h 68"/>
                  <a:gd name="T32" fmla="*/ 52 w 65"/>
                  <a:gd name="T33" fmla="*/ 24 h 68"/>
                  <a:gd name="T34" fmla="*/ 51 w 65"/>
                  <a:gd name="T35" fmla="*/ 10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5" h="68">
                    <a:moveTo>
                      <a:pt x="51" y="10"/>
                    </a:moveTo>
                    <a:cubicBezTo>
                      <a:pt x="51" y="10"/>
                      <a:pt x="51" y="0"/>
                      <a:pt x="40" y="1"/>
                    </a:cubicBezTo>
                    <a:cubicBezTo>
                      <a:pt x="40" y="1"/>
                      <a:pt x="40" y="1"/>
                      <a:pt x="40" y="1"/>
                    </a:cubicBezTo>
                    <a:cubicBezTo>
                      <a:pt x="40" y="1"/>
                      <a:pt x="35" y="3"/>
                      <a:pt x="35" y="6"/>
                    </a:cubicBezTo>
                    <a:cubicBezTo>
                      <a:pt x="35" y="6"/>
                      <a:pt x="26" y="0"/>
                      <a:pt x="23" y="14"/>
                    </a:cubicBezTo>
                    <a:cubicBezTo>
                      <a:pt x="23" y="14"/>
                      <a:pt x="11" y="9"/>
                      <a:pt x="12" y="22"/>
                    </a:cubicBezTo>
                    <a:cubicBezTo>
                      <a:pt x="12" y="22"/>
                      <a:pt x="2" y="26"/>
                      <a:pt x="7" y="32"/>
                    </a:cubicBezTo>
                    <a:cubicBezTo>
                      <a:pt x="7" y="32"/>
                      <a:pt x="0" y="41"/>
                      <a:pt x="8" y="43"/>
                    </a:cubicBezTo>
                    <a:cubicBezTo>
                      <a:pt x="8" y="43"/>
                      <a:pt x="3" y="47"/>
                      <a:pt x="9" y="51"/>
                    </a:cubicBezTo>
                    <a:cubicBezTo>
                      <a:pt x="9" y="51"/>
                      <a:pt x="6" y="66"/>
                      <a:pt x="20" y="58"/>
                    </a:cubicBezTo>
                    <a:cubicBezTo>
                      <a:pt x="20" y="58"/>
                      <a:pt x="20" y="58"/>
                      <a:pt x="20" y="58"/>
                    </a:cubicBezTo>
                    <a:cubicBezTo>
                      <a:pt x="20" y="58"/>
                      <a:pt x="25" y="68"/>
                      <a:pt x="33" y="57"/>
                    </a:cubicBezTo>
                    <a:cubicBezTo>
                      <a:pt x="33" y="56"/>
                      <a:pt x="33" y="56"/>
                      <a:pt x="33" y="56"/>
                    </a:cubicBezTo>
                    <a:cubicBezTo>
                      <a:pt x="42" y="43"/>
                      <a:pt x="33" y="56"/>
                      <a:pt x="33" y="56"/>
                    </a:cubicBezTo>
                    <a:cubicBezTo>
                      <a:pt x="33" y="56"/>
                      <a:pt x="46" y="63"/>
                      <a:pt x="44" y="45"/>
                    </a:cubicBezTo>
                    <a:cubicBezTo>
                      <a:pt x="44" y="45"/>
                      <a:pt x="53" y="50"/>
                      <a:pt x="50" y="36"/>
                    </a:cubicBezTo>
                    <a:cubicBezTo>
                      <a:pt x="50" y="36"/>
                      <a:pt x="63" y="30"/>
                      <a:pt x="52" y="24"/>
                    </a:cubicBezTo>
                    <a:cubicBezTo>
                      <a:pt x="52" y="24"/>
                      <a:pt x="65" y="17"/>
                      <a:pt x="51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027" name="Freeform 6174"/>
              <p:cNvSpPr>
                <a:spLocks/>
              </p:cNvSpPr>
              <p:nvPr/>
            </p:nvSpPr>
            <p:spPr bwMode="auto">
              <a:xfrm>
                <a:off x="-255" y="2097"/>
                <a:ext cx="94" cy="132"/>
              </a:xfrm>
              <a:custGeom>
                <a:avLst/>
                <a:gdLst>
                  <a:gd name="T0" fmla="*/ 50 w 59"/>
                  <a:gd name="T1" fmla="*/ 13 h 82"/>
                  <a:gd name="T2" fmla="*/ 42 w 59"/>
                  <a:gd name="T3" fmla="*/ 0 h 82"/>
                  <a:gd name="T4" fmla="*/ 33 w 59"/>
                  <a:gd name="T5" fmla="*/ 9 h 82"/>
                  <a:gd name="T6" fmla="*/ 20 w 59"/>
                  <a:gd name="T7" fmla="*/ 22 h 82"/>
                  <a:gd name="T8" fmla="*/ 13 w 59"/>
                  <a:gd name="T9" fmla="*/ 25 h 82"/>
                  <a:gd name="T10" fmla="*/ 13 w 59"/>
                  <a:gd name="T11" fmla="*/ 34 h 82"/>
                  <a:gd name="T12" fmla="*/ 6 w 59"/>
                  <a:gd name="T13" fmla="*/ 42 h 82"/>
                  <a:gd name="T14" fmla="*/ 9 w 59"/>
                  <a:gd name="T15" fmla="*/ 52 h 82"/>
                  <a:gd name="T16" fmla="*/ 3 w 59"/>
                  <a:gd name="T17" fmla="*/ 62 h 82"/>
                  <a:gd name="T18" fmla="*/ 25 w 59"/>
                  <a:gd name="T19" fmla="*/ 55 h 82"/>
                  <a:gd name="T20" fmla="*/ 34 w 59"/>
                  <a:gd name="T21" fmla="*/ 46 h 82"/>
                  <a:gd name="T22" fmla="*/ 34 w 59"/>
                  <a:gd name="T23" fmla="*/ 46 h 82"/>
                  <a:gd name="T24" fmla="*/ 45 w 59"/>
                  <a:gd name="T25" fmla="*/ 47 h 82"/>
                  <a:gd name="T26" fmla="*/ 58 w 59"/>
                  <a:gd name="T27" fmla="*/ 28 h 82"/>
                  <a:gd name="T28" fmla="*/ 50 w 59"/>
                  <a:gd name="T29" fmla="*/ 13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9" h="82">
                    <a:moveTo>
                      <a:pt x="50" y="13"/>
                    </a:moveTo>
                    <a:cubicBezTo>
                      <a:pt x="50" y="13"/>
                      <a:pt x="52" y="2"/>
                      <a:pt x="42" y="0"/>
                    </a:cubicBezTo>
                    <a:cubicBezTo>
                      <a:pt x="42" y="0"/>
                      <a:pt x="33" y="1"/>
                      <a:pt x="33" y="9"/>
                    </a:cubicBezTo>
                    <a:cubicBezTo>
                      <a:pt x="33" y="9"/>
                      <a:pt x="19" y="8"/>
                      <a:pt x="20" y="22"/>
                    </a:cubicBezTo>
                    <a:cubicBezTo>
                      <a:pt x="20" y="22"/>
                      <a:pt x="16" y="20"/>
                      <a:pt x="13" y="25"/>
                    </a:cubicBezTo>
                    <a:cubicBezTo>
                      <a:pt x="13" y="25"/>
                      <a:pt x="10" y="31"/>
                      <a:pt x="13" y="34"/>
                    </a:cubicBezTo>
                    <a:cubicBezTo>
                      <a:pt x="13" y="34"/>
                      <a:pt x="6" y="36"/>
                      <a:pt x="6" y="42"/>
                    </a:cubicBezTo>
                    <a:cubicBezTo>
                      <a:pt x="6" y="42"/>
                      <a:pt x="6" y="51"/>
                      <a:pt x="9" y="52"/>
                    </a:cubicBezTo>
                    <a:cubicBezTo>
                      <a:pt x="9" y="52"/>
                      <a:pt x="0" y="56"/>
                      <a:pt x="3" y="62"/>
                    </a:cubicBezTo>
                    <a:cubicBezTo>
                      <a:pt x="3" y="62"/>
                      <a:pt x="11" y="82"/>
                      <a:pt x="25" y="55"/>
                    </a:cubicBezTo>
                    <a:cubicBezTo>
                      <a:pt x="25" y="55"/>
                      <a:pt x="39" y="58"/>
                      <a:pt x="34" y="46"/>
                    </a:cubicBezTo>
                    <a:cubicBezTo>
                      <a:pt x="34" y="46"/>
                      <a:pt x="34" y="46"/>
                      <a:pt x="34" y="46"/>
                    </a:cubicBezTo>
                    <a:cubicBezTo>
                      <a:pt x="34" y="46"/>
                      <a:pt x="41" y="53"/>
                      <a:pt x="45" y="47"/>
                    </a:cubicBezTo>
                    <a:cubicBezTo>
                      <a:pt x="45" y="47"/>
                      <a:pt x="59" y="66"/>
                      <a:pt x="58" y="28"/>
                    </a:cubicBezTo>
                    <a:cubicBezTo>
                      <a:pt x="58" y="28"/>
                      <a:pt x="59" y="14"/>
                      <a:pt x="50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028" name="Freeform 6175"/>
              <p:cNvSpPr>
                <a:spLocks/>
              </p:cNvSpPr>
              <p:nvPr/>
            </p:nvSpPr>
            <p:spPr bwMode="auto">
              <a:xfrm>
                <a:off x="-272" y="2115"/>
                <a:ext cx="148" cy="126"/>
              </a:xfrm>
              <a:custGeom>
                <a:avLst/>
                <a:gdLst>
                  <a:gd name="T0" fmla="*/ 74 w 92"/>
                  <a:gd name="T1" fmla="*/ 28 h 78"/>
                  <a:gd name="T2" fmla="*/ 64 w 92"/>
                  <a:gd name="T3" fmla="*/ 19 h 78"/>
                  <a:gd name="T4" fmla="*/ 47 w 92"/>
                  <a:gd name="T5" fmla="*/ 18 h 78"/>
                  <a:gd name="T6" fmla="*/ 41 w 92"/>
                  <a:gd name="T7" fmla="*/ 28 h 78"/>
                  <a:gd name="T8" fmla="*/ 28 w 92"/>
                  <a:gd name="T9" fmla="*/ 44 h 78"/>
                  <a:gd name="T10" fmla="*/ 21 w 92"/>
                  <a:gd name="T11" fmla="*/ 53 h 78"/>
                  <a:gd name="T12" fmla="*/ 8 w 92"/>
                  <a:gd name="T13" fmla="*/ 57 h 78"/>
                  <a:gd name="T14" fmla="*/ 4 w 92"/>
                  <a:gd name="T15" fmla="*/ 68 h 78"/>
                  <a:gd name="T16" fmla="*/ 21 w 92"/>
                  <a:gd name="T17" fmla="*/ 65 h 78"/>
                  <a:gd name="T18" fmla="*/ 35 w 92"/>
                  <a:gd name="T19" fmla="*/ 52 h 78"/>
                  <a:gd name="T20" fmla="*/ 35 w 92"/>
                  <a:gd name="T21" fmla="*/ 52 h 78"/>
                  <a:gd name="T22" fmla="*/ 35 w 92"/>
                  <a:gd name="T23" fmla="*/ 52 h 78"/>
                  <a:gd name="T24" fmla="*/ 46 w 92"/>
                  <a:gd name="T25" fmla="*/ 47 h 78"/>
                  <a:gd name="T26" fmla="*/ 61 w 92"/>
                  <a:gd name="T27" fmla="*/ 47 h 78"/>
                  <a:gd name="T28" fmla="*/ 74 w 92"/>
                  <a:gd name="T29" fmla="*/ 57 h 78"/>
                  <a:gd name="T30" fmla="*/ 81 w 92"/>
                  <a:gd name="T31" fmla="*/ 44 h 78"/>
                  <a:gd name="T32" fmla="*/ 74 w 92"/>
                  <a:gd name="T33" fmla="*/ 2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2" h="78">
                    <a:moveTo>
                      <a:pt x="74" y="28"/>
                    </a:moveTo>
                    <a:cubicBezTo>
                      <a:pt x="77" y="13"/>
                      <a:pt x="64" y="19"/>
                      <a:pt x="64" y="19"/>
                    </a:cubicBezTo>
                    <a:cubicBezTo>
                      <a:pt x="56" y="0"/>
                      <a:pt x="47" y="18"/>
                      <a:pt x="47" y="18"/>
                    </a:cubicBezTo>
                    <a:cubicBezTo>
                      <a:pt x="34" y="16"/>
                      <a:pt x="41" y="28"/>
                      <a:pt x="41" y="28"/>
                    </a:cubicBezTo>
                    <a:cubicBezTo>
                      <a:pt x="20" y="23"/>
                      <a:pt x="28" y="44"/>
                      <a:pt x="28" y="44"/>
                    </a:cubicBezTo>
                    <a:cubicBezTo>
                      <a:pt x="17" y="44"/>
                      <a:pt x="21" y="53"/>
                      <a:pt x="21" y="53"/>
                    </a:cubicBezTo>
                    <a:cubicBezTo>
                      <a:pt x="9" y="41"/>
                      <a:pt x="8" y="57"/>
                      <a:pt x="8" y="57"/>
                    </a:cubicBezTo>
                    <a:cubicBezTo>
                      <a:pt x="0" y="58"/>
                      <a:pt x="4" y="68"/>
                      <a:pt x="4" y="68"/>
                    </a:cubicBezTo>
                    <a:cubicBezTo>
                      <a:pt x="15" y="78"/>
                      <a:pt x="21" y="65"/>
                      <a:pt x="21" y="65"/>
                    </a:cubicBezTo>
                    <a:cubicBezTo>
                      <a:pt x="37" y="76"/>
                      <a:pt x="35" y="52"/>
                      <a:pt x="35" y="52"/>
                    </a:cubicBezTo>
                    <a:cubicBezTo>
                      <a:pt x="35" y="52"/>
                      <a:pt x="24" y="45"/>
                      <a:pt x="35" y="52"/>
                    </a:cubicBezTo>
                    <a:cubicBezTo>
                      <a:pt x="35" y="52"/>
                      <a:pt x="35" y="52"/>
                      <a:pt x="35" y="52"/>
                    </a:cubicBezTo>
                    <a:cubicBezTo>
                      <a:pt x="45" y="58"/>
                      <a:pt x="46" y="47"/>
                      <a:pt x="46" y="47"/>
                    </a:cubicBezTo>
                    <a:cubicBezTo>
                      <a:pt x="52" y="64"/>
                      <a:pt x="61" y="47"/>
                      <a:pt x="61" y="47"/>
                    </a:cubicBezTo>
                    <a:cubicBezTo>
                      <a:pt x="61" y="69"/>
                      <a:pt x="74" y="57"/>
                      <a:pt x="74" y="57"/>
                    </a:cubicBezTo>
                    <a:cubicBezTo>
                      <a:pt x="92" y="61"/>
                      <a:pt x="81" y="44"/>
                      <a:pt x="81" y="44"/>
                    </a:cubicBezTo>
                    <a:cubicBezTo>
                      <a:pt x="90" y="30"/>
                      <a:pt x="74" y="28"/>
                      <a:pt x="74" y="2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029" name="Freeform 6176"/>
              <p:cNvSpPr>
                <a:spLocks/>
              </p:cNvSpPr>
              <p:nvPr/>
            </p:nvSpPr>
            <p:spPr bwMode="auto">
              <a:xfrm>
                <a:off x="-847" y="1829"/>
                <a:ext cx="104" cy="156"/>
              </a:xfrm>
              <a:custGeom>
                <a:avLst/>
                <a:gdLst>
                  <a:gd name="T0" fmla="*/ 52 w 65"/>
                  <a:gd name="T1" fmla="*/ 38 h 97"/>
                  <a:gd name="T2" fmla="*/ 52 w 65"/>
                  <a:gd name="T3" fmla="*/ 8 h 97"/>
                  <a:gd name="T4" fmla="*/ 35 w 65"/>
                  <a:gd name="T5" fmla="*/ 18 h 97"/>
                  <a:gd name="T6" fmla="*/ 25 w 65"/>
                  <a:gd name="T7" fmla="*/ 29 h 97"/>
                  <a:gd name="T8" fmla="*/ 13 w 65"/>
                  <a:gd name="T9" fmla="*/ 46 h 97"/>
                  <a:gd name="T10" fmla="*/ 14 w 65"/>
                  <a:gd name="T11" fmla="*/ 64 h 97"/>
                  <a:gd name="T12" fmla="*/ 18 w 65"/>
                  <a:gd name="T13" fmla="*/ 84 h 97"/>
                  <a:gd name="T14" fmla="*/ 25 w 65"/>
                  <a:gd name="T15" fmla="*/ 97 h 97"/>
                  <a:gd name="T16" fmla="*/ 36 w 65"/>
                  <a:gd name="T17" fmla="*/ 81 h 97"/>
                  <a:gd name="T18" fmla="*/ 43 w 65"/>
                  <a:gd name="T19" fmla="*/ 64 h 97"/>
                  <a:gd name="T20" fmla="*/ 52 w 65"/>
                  <a:gd name="T21" fmla="*/ 38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5" h="97">
                    <a:moveTo>
                      <a:pt x="52" y="38"/>
                    </a:moveTo>
                    <a:cubicBezTo>
                      <a:pt x="52" y="38"/>
                      <a:pt x="61" y="14"/>
                      <a:pt x="52" y="8"/>
                    </a:cubicBezTo>
                    <a:cubicBezTo>
                      <a:pt x="52" y="8"/>
                      <a:pt x="37" y="0"/>
                      <a:pt x="35" y="18"/>
                    </a:cubicBezTo>
                    <a:cubicBezTo>
                      <a:pt x="35" y="18"/>
                      <a:pt x="24" y="17"/>
                      <a:pt x="25" y="29"/>
                    </a:cubicBezTo>
                    <a:cubicBezTo>
                      <a:pt x="25" y="29"/>
                      <a:pt x="7" y="24"/>
                      <a:pt x="13" y="46"/>
                    </a:cubicBezTo>
                    <a:cubicBezTo>
                      <a:pt x="13" y="46"/>
                      <a:pt x="0" y="54"/>
                      <a:pt x="14" y="64"/>
                    </a:cubicBezTo>
                    <a:cubicBezTo>
                      <a:pt x="14" y="64"/>
                      <a:pt x="2" y="78"/>
                      <a:pt x="18" y="84"/>
                    </a:cubicBezTo>
                    <a:cubicBezTo>
                      <a:pt x="18" y="84"/>
                      <a:pt x="15" y="96"/>
                      <a:pt x="25" y="97"/>
                    </a:cubicBezTo>
                    <a:cubicBezTo>
                      <a:pt x="25" y="97"/>
                      <a:pt x="38" y="96"/>
                      <a:pt x="36" y="81"/>
                    </a:cubicBezTo>
                    <a:cubicBezTo>
                      <a:pt x="36" y="81"/>
                      <a:pt x="52" y="75"/>
                      <a:pt x="43" y="64"/>
                    </a:cubicBezTo>
                    <a:cubicBezTo>
                      <a:pt x="43" y="64"/>
                      <a:pt x="65" y="48"/>
                      <a:pt x="52" y="3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030" name="Freeform 6177"/>
              <p:cNvSpPr>
                <a:spLocks/>
              </p:cNvSpPr>
              <p:nvPr/>
            </p:nvSpPr>
            <p:spPr bwMode="auto">
              <a:xfrm>
                <a:off x="-749" y="2010"/>
                <a:ext cx="0" cy="1"/>
              </a:xfrm>
              <a:custGeom>
                <a:avLst/>
                <a:gdLst>
                  <a:gd name="T0" fmla="*/ 0 h 1"/>
                  <a:gd name="T1" fmla="*/ 1 h 1"/>
                  <a:gd name="T2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031" name="Freeform 6178"/>
              <p:cNvSpPr>
                <a:spLocks/>
              </p:cNvSpPr>
              <p:nvPr/>
            </p:nvSpPr>
            <p:spPr bwMode="auto">
              <a:xfrm>
                <a:off x="-743" y="2018"/>
                <a:ext cx="0" cy="1"/>
              </a:xfrm>
              <a:custGeom>
                <a:avLst/>
                <a:gdLst>
                  <a:gd name="T0" fmla="*/ 0 h 1"/>
                  <a:gd name="T1" fmla="*/ 1 h 1"/>
                  <a:gd name="T2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032" name="Freeform 6179"/>
              <p:cNvSpPr>
                <a:spLocks/>
              </p:cNvSpPr>
              <p:nvPr/>
            </p:nvSpPr>
            <p:spPr bwMode="auto">
              <a:xfrm>
                <a:off x="-767" y="1974"/>
                <a:ext cx="49" cy="131"/>
              </a:xfrm>
              <a:custGeom>
                <a:avLst/>
                <a:gdLst>
                  <a:gd name="T0" fmla="*/ 15 w 30"/>
                  <a:gd name="T1" fmla="*/ 27 h 81"/>
                  <a:gd name="T2" fmla="*/ 15 w 30"/>
                  <a:gd name="T3" fmla="*/ 28 h 81"/>
                  <a:gd name="T4" fmla="*/ 15 w 30"/>
                  <a:gd name="T5" fmla="*/ 27 h 81"/>
                  <a:gd name="T6" fmla="*/ 19 w 30"/>
                  <a:gd name="T7" fmla="*/ 2 h 81"/>
                  <a:gd name="T8" fmla="*/ 14 w 30"/>
                  <a:gd name="T9" fmla="*/ 0 h 81"/>
                  <a:gd name="T10" fmla="*/ 11 w 30"/>
                  <a:gd name="T11" fmla="*/ 22 h 81"/>
                  <a:gd name="T12" fmla="*/ 11 w 30"/>
                  <a:gd name="T13" fmla="*/ 23 h 81"/>
                  <a:gd name="T14" fmla="*/ 11 w 30"/>
                  <a:gd name="T15" fmla="*/ 22 h 81"/>
                  <a:gd name="T16" fmla="*/ 2 w 30"/>
                  <a:gd name="T17" fmla="*/ 7 h 81"/>
                  <a:gd name="T18" fmla="*/ 0 w 30"/>
                  <a:gd name="T19" fmla="*/ 14 h 81"/>
                  <a:gd name="T20" fmla="*/ 6 w 30"/>
                  <a:gd name="T21" fmla="*/ 48 h 81"/>
                  <a:gd name="T22" fmla="*/ 2 w 30"/>
                  <a:gd name="T23" fmla="*/ 81 h 81"/>
                  <a:gd name="T24" fmla="*/ 4 w 30"/>
                  <a:gd name="T25" fmla="*/ 81 h 81"/>
                  <a:gd name="T26" fmla="*/ 21 w 30"/>
                  <a:gd name="T27" fmla="*/ 81 h 81"/>
                  <a:gd name="T28" fmla="*/ 19 w 30"/>
                  <a:gd name="T29" fmla="*/ 37 h 81"/>
                  <a:gd name="T30" fmla="*/ 30 w 30"/>
                  <a:gd name="T31" fmla="*/ 11 h 81"/>
                  <a:gd name="T32" fmla="*/ 29 w 30"/>
                  <a:gd name="T33" fmla="*/ 3 h 81"/>
                  <a:gd name="T34" fmla="*/ 15 w 30"/>
                  <a:gd name="T35" fmla="*/ 27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0" h="81">
                    <a:moveTo>
                      <a:pt x="15" y="27"/>
                    </a:moveTo>
                    <a:cubicBezTo>
                      <a:pt x="15" y="28"/>
                      <a:pt x="15" y="28"/>
                      <a:pt x="15" y="28"/>
                    </a:cubicBezTo>
                    <a:cubicBezTo>
                      <a:pt x="15" y="28"/>
                      <a:pt x="15" y="27"/>
                      <a:pt x="15" y="27"/>
                    </a:cubicBezTo>
                    <a:cubicBezTo>
                      <a:pt x="16" y="22"/>
                      <a:pt x="17" y="6"/>
                      <a:pt x="19" y="2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4" y="0"/>
                      <a:pt x="11" y="19"/>
                      <a:pt x="11" y="22"/>
                    </a:cubicBezTo>
                    <a:cubicBezTo>
                      <a:pt x="11" y="23"/>
                      <a:pt x="11" y="23"/>
                      <a:pt x="11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0" y="20"/>
                      <a:pt x="8" y="12"/>
                      <a:pt x="2" y="7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14"/>
                      <a:pt x="8" y="22"/>
                      <a:pt x="6" y="48"/>
                    </a:cubicBezTo>
                    <a:cubicBezTo>
                      <a:pt x="6" y="48"/>
                      <a:pt x="4" y="77"/>
                      <a:pt x="2" y="81"/>
                    </a:cubicBezTo>
                    <a:cubicBezTo>
                      <a:pt x="4" y="81"/>
                      <a:pt x="4" y="81"/>
                      <a:pt x="4" y="81"/>
                    </a:cubicBezTo>
                    <a:cubicBezTo>
                      <a:pt x="21" y="81"/>
                      <a:pt x="21" y="81"/>
                      <a:pt x="21" y="81"/>
                    </a:cubicBezTo>
                    <a:cubicBezTo>
                      <a:pt x="21" y="81"/>
                      <a:pt x="16" y="50"/>
                      <a:pt x="19" y="37"/>
                    </a:cubicBezTo>
                    <a:cubicBezTo>
                      <a:pt x="22" y="24"/>
                      <a:pt x="26" y="12"/>
                      <a:pt x="30" y="11"/>
                    </a:cubicBezTo>
                    <a:cubicBezTo>
                      <a:pt x="29" y="3"/>
                      <a:pt x="29" y="3"/>
                      <a:pt x="29" y="3"/>
                    </a:cubicBezTo>
                    <a:cubicBezTo>
                      <a:pt x="29" y="3"/>
                      <a:pt x="16" y="17"/>
                      <a:pt x="15" y="2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033" name="Freeform 6180"/>
              <p:cNvSpPr>
                <a:spLocks/>
              </p:cNvSpPr>
              <p:nvPr/>
            </p:nvSpPr>
            <p:spPr bwMode="auto">
              <a:xfrm>
                <a:off x="-820" y="1893"/>
                <a:ext cx="53" cy="75"/>
              </a:xfrm>
              <a:custGeom>
                <a:avLst/>
                <a:gdLst>
                  <a:gd name="T0" fmla="*/ 21 w 33"/>
                  <a:gd name="T1" fmla="*/ 3 h 46"/>
                  <a:gd name="T2" fmla="*/ 11 w 33"/>
                  <a:gd name="T3" fmla="*/ 15 h 46"/>
                  <a:gd name="T4" fmla="*/ 9 w 33"/>
                  <a:gd name="T5" fmla="*/ 30 h 46"/>
                  <a:gd name="T6" fmla="*/ 19 w 33"/>
                  <a:gd name="T7" fmla="*/ 43 h 46"/>
                  <a:gd name="T8" fmla="*/ 21 w 33"/>
                  <a:gd name="T9" fmla="*/ 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46">
                    <a:moveTo>
                      <a:pt x="21" y="3"/>
                    </a:moveTo>
                    <a:cubicBezTo>
                      <a:pt x="21" y="3"/>
                      <a:pt x="5" y="0"/>
                      <a:pt x="11" y="15"/>
                    </a:cubicBezTo>
                    <a:cubicBezTo>
                      <a:pt x="11" y="15"/>
                      <a:pt x="0" y="21"/>
                      <a:pt x="9" y="30"/>
                    </a:cubicBezTo>
                    <a:cubicBezTo>
                      <a:pt x="9" y="30"/>
                      <a:pt x="3" y="46"/>
                      <a:pt x="19" y="43"/>
                    </a:cubicBezTo>
                    <a:cubicBezTo>
                      <a:pt x="19" y="43"/>
                      <a:pt x="33" y="6"/>
                      <a:pt x="21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034" name="Freeform 6181"/>
              <p:cNvSpPr>
                <a:spLocks/>
              </p:cNvSpPr>
              <p:nvPr/>
            </p:nvSpPr>
            <p:spPr bwMode="auto">
              <a:xfrm>
                <a:off x="-765" y="1868"/>
                <a:ext cx="3" cy="1"/>
              </a:xfrm>
              <a:custGeom>
                <a:avLst/>
                <a:gdLst>
                  <a:gd name="T0" fmla="*/ 0 w 2"/>
                  <a:gd name="T1" fmla="*/ 0 h 1"/>
                  <a:gd name="T2" fmla="*/ 2 w 2"/>
                  <a:gd name="T3" fmla="*/ 1 h 1"/>
                  <a:gd name="T4" fmla="*/ 0 w 2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1"/>
                      <a:pt x="1" y="1"/>
                      <a:pt x="2" y="1"/>
                    </a:cubicBezTo>
                    <a:cubicBezTo>
                      <a:pt x="2" y="1"/>
                      <a:pt x="1" y="0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035" name="Freeform 6182"/>
              <p:cNvSpPr>
                <a:spLocks/>
              </p:cNvSpPr>
              <p:nvPr/>
            </p:nvSpPr>
            <p:spPr bwMode="auto">
              <a:xfrm>
                <a:off x="-788" y="1819"/>
                <a:ext cx="86" cy="105"/>
              </a:xfrm>
              <a:custGeom>
                <a:avLst/>
                <a:gdLst>
                  <a:gd name="T0" fmla="*/ 47 w 53"/>
                  <a:gd name="T1" fmla="*/ 11 h 65"/>
                  <a:gd name="T2" fmla="*/ 40 w 53"/>
                  <a:gd name="T3" fmla="*/ 2 h 65"/>
                  <a:gd name="T4" fmla="*/ 27 w 53"/>
                  <a:gd name="T5" fmla="*/ 11 h 65"/>
                  <a:gd name="T6" fmla="*/ 12 w 53"/>
                  <a:gd name="T7" fmla="*/ 20 h 65"/>
                  <a:gd name="T8" fmla="*/ 14 w 53"/>
                  <a:gd name="T9" fmla="*/ 30 h 65"/>
                  <a:gd name="T10" fmla="*/ 16 w 53"/>
                  <a:gd name="T11" fmla="*/ 31 h 65"/>
                  <a:gd name="T12" fmla="*/ 14 w 53"/>
                  <a:gd name="T13" fmla="*/ 30 h 65"/>
                  <a:gd name="T14" fmla="*/ 5 w 53"/>
                  <a:gd name="T15" fmla="*/ 35 h 65"/>
                  <a:gd name="T16" fmla="*/ 7 w 53"/>
                  <a:gd name="T17" fmla="*/ 45 h 65"/>
                  <a:gd name="T18" fmla="*/ 2 w 53"/>
                  <a:gd name="T19" fmla="*/ 56 h 65"/>
                  <a:gd name="T20" fmla="*/ 13 w 53"/>
                  <a:gd name="T21" fmla="*/ 64 h 65"/>
                  <a:gd name="T22" fmla="*/ 27 w 53"/>
                  <a:gd name="T23" fmla="*/ 49 h 65"/>
                  <a:gd name="T24" fmla="*/ 35 w 53"/>
                  <a:gd name="T25" fmla="*/ 35 h 65"/>
                  <a:gd name="T26" fmla="*/ 42 w 53"/>
                  <a:gd name="T27" fmla="*/ 24 h 65"/>
                  <a:gd name="T28" fmla="*/ 47 w 53"/>
                  <a:gd name="T29" fmla="*/ 11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3" h="65">
                    <a:moveTo>
                      <a:pt x="47" y="11"/>
                    </a:moveTo>
                    <a:cubicBezTo>
                      <a:pt x="47" y="11"/>
                      <a:pt x="47" y="2"/>
                      <a:pt x="40" y="2"/>
                    </a:cubicBezTo>
                    <a:cubicBezTo>
                      <a:pt x="40" y="2"/>
                      <a:pt x="28" y="0"/>
                      <a:pt x="27" y="11"/>
                    </a:cubicBezTo>
                    <a:cubicBezTo>
                      <a:pt x="27" y="11"/>
                      <a:pt x="14" y="6"/>
                      <a:pt x="12" y="20"/>
                    </a:cubicBezTo>
                    <a:cubicBezTo>
                      <a:pt x="12" y="20"/>
                      <a:pt x="11" y="29"/>
                      <a:pt x="14" y="30"/>
                    </a:cubicBezTo>
                    <a:cubicBezTo>
                      <a:pt x="15" y="30"/>
                      <a:pt x="16" y="31"/>
                      <a:pt x="16" y="31"/>
                    </a:cubicBezTo>
                    <a:cubicBezTo>
                      <a:pt x="15" y="31"/>
                      <a:pt x="15" y="31"/>
                      <a:pt x="14" y="30"/>
                    </a:cubicBezTo>
                    <a:cubicBezTo>
                      <a:pt x="12" y="30"/>
                      <a:pt x="7" y="30"/>
                      <a:pt x="5" y="35"/>
                    </a:cubicBezTo>
                    <a:cubicBezTo>
                      <a:pt x="5" y="35"/>
                      <a:pt x="3" y="38"/>
                      <a:pt x="7" y="45"/>
                    </a:cubicBezTo>
                    <a:cubicBezTo>
                      <a:pt x="7" y="45"/>
                      <a:pt x="0" y="50"/>
                      <a:pt x="2" y="56"/>
                    </a:cubicBezTo>
                    <a:cubicBezTo>
                      <a:pt x="2" y="56"/>
                      <a:pt x="3" y="65"/>
                      <a:pt x="13" y="64"/>
                    </a:cubicBezTo>
                    <a:cubicBezTo>
                      <a:pt x="13" y="64"/>
                      <a:pt x="30" y="65"/>
                      <a:pt x="27" y="49"/>
                    </a:cubicBezTo>
                    <a:cubicBezTo>
                      <a:pt x="27" y="49"/>
                      <a:pt x="47" y="45"/>
                      <a:pt x="35" y="35"/>
                    </a:cubicBezTo>
                    <a:cubicBezTo>
                      <a:pt x="35" y="35"/>
                      <a:pt x="53" y="40"/>
                      <a:pt x="42" y="24"/>
                    </a:cubicBezTo>
                    <a:cubicBezTo>
                      <a:pt x="42" y="24"/>
                      <a:pt x="48" y="16"/>
                      <a:pt x="47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036" name="Freeform 6183"/>
              <p:cNvSpPr>
                <a:spLocks/>
              </p:cNvSpPr>
              <p:nvPr/>
            </p:nvSpPr>
            <p:spPr bwMode="auto">
              <a:xfrm>
                <a:off x="-757" y="1830"/>
                <a:ext cx="105" cy="102"/>
              </a:xfrm>
              <a:custGeom>
                <a:avLst/>
                <a:gdLst>
                  <a:gd name="T0" fmla="*/ 41 w 65"/>
                  <a:gd name="T1" fmla="*/ 11 h 63"/>
                  <a:gd name="T2" fmla="*/ 32 w 65"/>
                  <a:gd name="T3" fmla="*/ 1 h 63"/>
                  <a:gd name="T4" fmla="*/ 23 w 65"/>
                  <a:gd name="T5" fmla="*/ 12 h 63"/>
                  <a:gd name="T6" fmla="*/ 14 w 65"/>
                  <a:gd name="T7" fmla="*/ 20 h 63"/>
                  <a:gd name="T8" fmla="*/ 14 w 65"/>
                  <a:gd name="T9" fmla="*/ 33 h 63"/>
                  <a:gd name="T10" fmla="*/ 20 w 65"/>
                  <a:gd name="T11" fmla="*/ 49 h 63"/>
                  <a:gd name="T12" fmla="*/ 34 w 65"/>
                  <a:gd name="T13" fmla="*/ 52 h 63"/>
                  <a:gd name="T14" fmla="*/ 46 w 65"/>
                  <a:gd name="T15" fmla="*/ 42 h 63"/>
                  <a:gd name="T16" fmla="*/ 52 w 65"/>
                  <a:gd name="T17" fmla="*/ 22 h 63"/>
                  <a:gd name="T18" fmla="*/ 41 w 65"/>
                  <a:gd name="T19" fmla="*/ 11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5" h="63">
                    <a:moveTo>
                      <a:pt x="41" y="11"/>
                    </a:moveTo>
                    <a:cubicBezTo>
                      <a:pt x="41" y="11"/>
                      <a:pt x="40" y="2"/>
                      <a:pt x="32" y="1"/>
                    </a:cubicBezTo>
                    <a:cubicBezTo>
                      <a:pt x="32" y="1"/>
                      <a:pt x="25" y="0"/>
                      <a:pt x="23" y="12"/>
                    </a:cubicBezTo>
                    <a:cubicBezTo>
                      <a:pt x="23" y="12"/>
                      <a:pt x="13" y="9"/>
                      <a:pt x="14" y="20"/>
                    </a:cubicBezTo>
                    <a:cubicBezTo>
                      <a:pt x="14" y="20"/>
                      <a:pt x="0" y="25"/>
                      <a:pt x="14" y="33"/>
                    </a:cubicBezTo>
                    <a:cubicBezTo>
                      <a:pt x="14" y="33"/>
                      <a:pt x="11" y="50"/>
                      <a:pt x="20" y="49"/>
                    </a:cubicBezTo>
                    <a:cubicBezTo>
                      <a:pt x="20" y="49"/>
                      <a:pt x="25" y="63"/>
                      <a:pt x="34" y="52"/>
                    </a:cubicBezTo>
                    <a:cubicBezTo>
                      <a:pt x="34" y="52"/>
                      <a:pt x="50" y="58"/>
                      <a:pt x="46" y="42"/>
                    </a:cubicBezTo>
                    <a:cubicBezTo>
                      <a:pt x="46" y="42"/>
                      <a:pt x="65" y="35"/>
                      <a:pt x="52" y="22"/>
                    </a:cubicBezTo>
                    <a:cubicBezTo>
                      <a:pt x="52" y="22"/>
                      <a:pt x="55" y="11"/>
                      <a:pt x="41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037" name="Freeform 6184"/>
              <p:cNvSpPr>
                <a:spLocks/>
              </p:cNvSpPr>
              <p:nvPr/>
            </p:nvSpPr>
            <p:spPr bwMode="auto">
              <a:xfrm>
                <a:off x="-722" y="1866"/>
                <a:ext cx="97" cy="97"/>
              </a:xfrm>
              <a:custGeom>
                <a:avLst/>
                <a:gdLst>
                  <a:gd name="T0" fmla="*/ 47 w 60"/>
                  <a:gd name="T1" fmla="*/ 23 h 60"/>
                  <a:gd name="T2" fmla="*/ 42 w 60"/>
                  <a:gd name="T3" fmla="*/ 12 h 60"/>
                  <a:gd name="T4" fmla="*/ 33 w 60"/>
                  <a:gd name="T5" fmla="*/ 0 h 60"/>
                  <a:gd name="T6" fmla="*/ 25 w 60"/>
                  <a:gd name="T7" fmla="*/ 13 h 60"/>
                  <a:gd name="T8" fmla="*/ 12 w 60"/>
                  <a:gd name="T9" fmla="*/ 15 h 60"/>
                  <a:gd name="T10" fmla="*/ 14 w 60"/>
                  <a:gd name="T11" fmla="*/ 26 h 60"/>
                  <a:gd name="T12" fmla="*/ 5 w 60"/>
                  <a:gd name="T13" fmla="*/ 40 h 60"/>
                  <a:gd name="T14" fmla="*/ 26 w 60"/>
                  <a:gd name="T15" fmla="*/ 47 h 60"/>
                  <a:gd name="T16" fmla="*/ 36 w 60"/>
                  <a:gd name="T17" fmla="*/ 47 h 60"/>
                  <a:gd name="T18" fmla="*/ 48 w 60"/>
                  <a:gd name="T19" fmla="*/ 41 h 60"/>
                  <a:gd name="T20" fmla="*/ 50 w 60"/>
                  <a:gd name="T21" fmla="*/ 41 h 60"/>
                  <a:gd name="T22" fmla="*/ 47 w 60"/>
                  <a:gd name="T23" fmla="*/ 23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0" h="60">
                    <a:moveTo>
                      <a:pt x="47" y="23"/>
                    </a:moveTo>
                    <a:cubicBezTo>
                      <a:pt x="47" y="23"/>
                      <a:pt x="54" y="13"/>
                      <a:pt x="42" y="12"/>
                    </a:cubicBezTo>
                    <a:cubicBezTo>
                      <a:pt x="42" y="12"/>
                      <a:pt x="41" y="0"/>
                      <a:pt x="33" y="0"/>
                    </a:cubicBezTo>
                    <a:cubicBezTo>
                      <a:pt x="33" y="0"/>
                      <a:pt x="21" y="0"/>
                      <a:pt x="25" y="13"/>
                    </a:cubicBezTo>
                    <a:cubicBezTo>
                      <a:pt x="25" y="13"/>
                      <a:pt x="15" y="7"/>
                      <a:pt x="12" y="15"/>
                    </a:cubicBezTo>
                    <a:cubicBezTo>
                      <a:pt x="12" y="15"/>
                      <a:pt x="9" y="24"/>
                      <a:pt x="14" y="26"/>
                    </a:cubicBezTo>
                    <a:cubicBezTo>
                      <a:pt x="14" y="26"/>
                      <a:pt x="0" y="27"/>
                      <a:pt x="5" y="40"/>
                    </a:cubicBezTo>
                    <a:cubicBezTo>
                      <a:pt x="5" y="40"/>
                      <a:pt x="13" y="60"/>
                      <a:pt x="26" y="47"/>
                    </a:cubicBezTo>
                    <a:cubicBezTo>
                      <a:pt x="26" y="47"/>
                      <a:pt x="35" y="55"/>
                      <a:pt x="36" y="47"/>
                    </a:cubicBezTo>
                    <a:cubicBezTo>
                      <a:pt x="36" y="47"/>
                      <a:pt x="49" y="56"/>
                      <a:pt x="48" y="41"/>
                    </a:cubicBezTo>
                    <a:cubicBezTo>
                      <a:pt x="48" y="41"/>
                      <a:pt x="49" y="42"/>
                      <a:pt x="50" y="41"/>
                    </a:cubicBezTo>
                    <a:cubicBezTo>
                      <a:pt x="50" y="41"/>
                      <a:pt x="60" y="29"/>
                      <a:pt x="47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038" name="Freeform 6185"/>
              <p:cNvSpPr>
                <a:spLocks/>
              </p:cNvSpPr>
              <p:nvPr/>
            </p:nvSpPr>
            <p:spPr bwMode="auto">
              <a:xfrm>
                <a:off x="-728" y="1916"/>
                <a:ext cx="106" cy="110"/>
              </a:xfrm>
              <a:custGeom>
                <a:avLst/>
                <a:gdLst>
                  <a:gd name="T0" fmla="*/ 51 w 66"/>
                  <a:gd name="T1" fmla="*/ 10 h 68"/>
                  <a:gd name="T2" fmla="*/ 40 w 66"/>
                  <a:gd name="T3" fmla="*/ 1 h 68"/>
                  <a:gd name="T4" fmla="*/ 40 w 66"/>
                  <a:gd name="T5" fmla="*/ 1 h 68"/>
                  <a:gd name="T6" fmla="*/ 35 w 66"/>
                  <a:gd name="T7" fmla="*/ 7 h 68"/>
                  <a:gd name="T8" fmla="*/ 23 w 66"/>
                  <a:gd name="T9" fmla="*/ 14 h 68"/>
                  <a:gd name="T10" fmla="*/ 12 w 66"/>
                  <a:gd name="T11" fmla="*/ 22 h 68"/>
                  <a:gd name="T12" fmla="*/ 7 w 66"/>
                  <a:gd name="T13" fmla="*/ 32 h 68"/>
                  <a:gd name="T14" fmla="*/ 9 w 66"/>
                  <a:gd name="T15" fmla="*/ 43 h 68"/>
                  <a:gd name="T16" fmla="*/ 9 w 66"/>
                  <a:gd name="T17" fmla="*/ 51 h 68"/>
                  <a:gd name="T18" fmla="*/ 20 w 66"/>
                  <a:gd name="T19" fmla="*/ 58 h 68"/>
                  <a:gd name="T20" fmla="*/ 20 w 66"/>
                  <a:gd name="T21" fmla="*/ 58 h 68"/>
                  <a:gd name="T22" fmla="*/ 33 w 66"/>
                  <a:gd name="T23" fmla="*/ 57 h 68"/>
                  <a:gd name="T24" fmla="*/ 33 w 66"/>
                  <a:gd name="T25" fmla="*/ 56 h 68"/>
                  <a:gd name="T26" fmla="*/ 33 w 66"/>
                  <a:gd name="T27" fmla="*/ 56 h 68"/>
                  <a:gd name="T28" fmla="*/ 44 w 66"/>
                  <a:gd name="T29" fmla="*/ 45 h 68"/>
                  <a:gd name="T30" fmla="*/ 51 w 66"/>
                  <a:gd name="T31" fmla="*/ 36 h 68"/>
                  <a:gd name="T32" fmla="*/ 52 w 66"/>
                  <a:gd name="T33" fmla="*/ 24 h 68"/>
                  <a:gd name="T34" fmla="*/ 51 w 66"/>
                  <a:gd name="T35" fmla="*/ 10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6" h="68">
                    <a:moveTo>
                      <a:pt x="51" y="10"/>
                    </a:moveTo>
                    <a:cubicBezTo>
                      <a:pt x="51" y="10"/>
                      <a:pt x="51" y="0"/>
                      <a:pt x="40" y="1"/>
                    </a:cubicBezTo>
                    <a:cubicBezTo>
                      <a:pt x="40" y="1"/>
                      <a:pt x="40" y="1"/>
                      <a:pt x="40" y="1"/>
                    </a:cubicBezTo>
                    <a:cubicBezTo>
                      <a:pt x="40" y="1"/>
                      <a:pt x="35" y="3"/>
                      <a:pt x="35" y="7"/>
                    </a:cubicBezTo>
                    <a:cubicBezTo>
                      <a:pt x="35" y="7"/>
                      <a:pt x="27" y="1"/>
                      <a:pt x="23" y="14"/>
                    </a:cubicBezTo>
                    <a:cubicBezTo>
                      <a:pt x="23" y="14"/>
                      <a:pt x="12" y="10"/>
                      <a:pt x="12" y="22"/>
                    </a:cubicBezTo>
                    <a:cubicBezTo>
                      <a:pt x="12" y="22"/>
                      <a:pt x="2" y="26"/>
                      <a:pt x="7" y="32"/>
                    </a:cubicBezTo>
                    <a:cubicBezTo>
                      <a:pt x="7" y="32"/>
                      <a:pt x="0" y="41"/>
                      <a:pt x="9" y="43"/>
                    </a:cubicBezTo>
                    <a:cubicBezTo>
                      <a:pt x="9" y="43"/>
                      <a:pt x="3" y="47"/>
                      <a:pt x="9" y="51"/>
                    </a:cubicBezTo>
                    <a:cubicBezTo>
                      <a:pt x="9" y="51"/>
                      <a:pt x="6" y="67"/>
                      <a:pt x="20" y="58"/>
                    </a:cubicBezTo>
                    <a:cubicBezTo>
                      <a:pt x="20" y="58"/>
                      <a:pt x="20" y="58"/>
                      <a:pt x="20" y="58"/>
                    </a:cubicBezTo>
                    <a:cubicBezTo>
                      <a:pt x="20" y="58"/>
                      <a:pt x="25" y="68"/>
                      <a:pt x="33" y="57"/>
                    </a:cubicBezTo>
                    <a:cubicBezTo>
                      <a:pt x="33" y="57"/>
                      <a:pt x="33" y="56"/>
                      <a:pt x="33" y="56"/>
                    </a:cubicBezTo>
                    <a:cubicBezTo>
                      <a:pt x="42" y="43"/>
                      <a:pt x="33" y="56"/>
                      <a:pt x="33" y="56"/>
                    </a:cubicBezTo>
                    <a:cubicBezTo>
                      <a:pt x="33" y="56"/>
                      <a:pt x="46" y="63"/>
                      <a:pt x="44" y="45"/>
                    </a:cubicBezTo>
                    <a:cubicBezTo>
                      <a:pt x="44" y="45"/>
                      <a:pt x="53" y="50"/>
                      <a:pt x="51" y="36"/>
                    </a:cubicBezTo>
                    <a:cubicBezTo>
                      <a:pt x="51" y="36"/>
                      <a:pt x="63" y="31"/>
                      <a:pt x="52" y="24"/>
                    </a:cubicBezTo>
                    <a:cubicBezTo>
                      <a:pt x="52" y="24"/>
                      <a:pt x="66" y="17"/>
                      <a:pt x="51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039" name="Freeform 6186"/>
              <p:cNvSpPr>
                <a:spLocks/>
              </p:cNvSpPr>
              <p:nvPr/>
            </p:nvSpPr>
            <p:spPr bwMode="auto">
              <a:xfrm>
                <a:off x="-804" y="1882"/>
                <a:ext cx="95" cy="133"/>
              </a:xfrm>
              <a:custGeom>
                <a:avLst/>
                <a:gdLst>
                  <a:gd name="T0" fmla="*/ 49 w 59"/>
                  <a:gd name="T1" fmla="*/ 14 h 82"/>
                  <a:gd name="T2" fmla="*/ 41 w 59"/>
                  <a:gd name="T3" fmla="*/ 0 h 82"/>
                  <a:gd name="T4" fmla="*/ 32 w 59"/>
                  <a:gd name="T5" fmla="*/ 9 h 82"/>
                  <a:gd name="T6" fmla="*/ 20 w 59"/>
                  <a:gd name="T7" fmla="*/ 22 h 82"/>
                  <a:gd name="T8" fmla="*/ 12 w 59"/>
                  <a:gd name="T9" fmla="*/ 25 h 82"/>
                  <a:gd name="T10" fmla="*/ 12 w 59"/>
                  <a:gd name="T11" fmla="*/ 34 h 82"/>
                  <a:gd name="T12" fmla="*/ 6 w 59"/>
                  <a:gd name="T13" fmla="*/ 43 h 82"/>
                  <a:gd name="T14" fmla="*/ 8 w 59"/>
                  <a:gd name="T15" fmla="*/ 52 h 82"/>
                  <a:gd name="T16" fmla="*/ 3 w 59"/>
                  <a:gd name="T17" fmla="*/ 62 h 82"/>
                  <a:gd name="T18" fmla="*/ 25 w 59"/>
                  <a:gd name="T19" fmla="*/ 56 h 82"/>
                  <a:gd name="T20" fmla="*/ 34 w 59"/>
                  <a:gd name="T21" fmla="*/ 46 h 82"/>
                  <a:gd name="T22" fmla="*/ 33 w 59"/>
                  <a:gd name="T23" fmla="*/ 46 h 82"/>
                  <a:gd name="T24" fmla="*/ 44 w 59"/>
                  <a:gd name="T25" fmla="*/ 47 h 82"/>
                  <a:gd name="T26" fmla="*/ 57 w 59"/>
                  <a:gd name="T27" fmla="*/ 28 h 82"/>
                  <a:gd name="T28" fmla="*/ 49 w 59"/>
                  <a:gd name="T29" fmla="*/ 14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9" h="82">
                    <a:moveTo>
                      <a:pt x="49" y="14"/>
                    </a:moveTo>
                    <a:cubicBezTo>
                      <a:pt x="49" y="14"/>
                      <a:pt x="51" y="2"/>
                      <a:pt x="41" y="0"/>
                    </a:cubicBezTo>
                    <a:cubicBezTo>
                      <a:pt x="41" y="0"/>
                      <a:pt x="32" y="1"/>
                      <a:pt x="32" y="9"/>
                    </a:cubicBezTo>
                    <a:cubicBezTo>
                      <a:pt x="32" y="9"/>
                      <a:pt x="18" y="8"/>
                      <a:pt x="20" y="22"/>
                    </a:cubicBezTo>
                    <a:cubicBezTo>
                      <a:pt x="20" y="22"/>
                      <a:pt x="15" y="21"/>
                      <a:pt x="12" y="25"/>
                    </a:cubicBezTo>
                    <a:cubicBezTo>
                      <a:pt x="12" y="25"/>
                      <a:pt x="9" y="31"/>
                      <a:pt x="12" y="34"/>
                    </a:cubicBezTo>
                    <a:cubicBezTo>
                      <a:pt x="12" y="34"/>
                      <a:pt x="5" y="36"/>
                      <a:pt x="6" y="43"/>
                    </a:cubicBezTo>
                    <a:cubicBezTo>
                      <a:pt x="6" y="43"/>
                      <a:pt x="5" y="51"/>
                      <a:pt x="8" y="52"/>
                    </a:cubicBezTo>
                    <a:cubicBezTo>
                      <a:pt x="8" y="52"/>
                      <a:pt x="0" y="56"/>
                      <a:pt x="3" y="62"/>
                    </a:cubicBezTo>
                    <a:cubicBezTo>
                      <a:pt x="3" y="62"/>
                      <a:pt x="10" y="82"/>
                      <a:pt x="25" y="56"/>
                    </a:cubicBezTo>
                    <a:cubicBezTo>
                      <a:pt x="25" y="56"/>
                      <a:pt x="38" y="58"/>
                      <a:pt x="34" y="46"/>
                    </a:cubicBezTo>
                    <a:cubicBezTo>
                      <a:pt x="34" y="46"/>
                      <a:pt x="34" y="46"/>
                      <a:pt x="33" y="46"/>
                    </a:cubicBezTo>
                    <a:cubicBezTo>
                      <a:pt x="33" y="46"/>
                      <a:pt x="40" y="54"/>
                      <a:pt x="44" y="47"/>
                    </a:cubicBezTo>
                    <a:cubicBezTo>
                      <a:pt x="44" y="47"/>
                      <a:pt x="58" y="66"/>
                      <a:pt x="57" y="28"/>
                    </a:cubicBezTo>
                    <a:cubicBezTo>
                      <a:pt x="57" y="28"/>
                      <a:pt x="59" y="15"/>
                      <a:pt x="49" y="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040" name="Freeform 6187"/>
              <p:cNvSpPr>
                <a:spLocks/>
              </p:cNvSpPr>
              <p:nvPr/>
            </p:nvSpPr>
            <p:spPr bwMode="auto">
              <a:xfrm>
                <a:off x="-821" y="1900"/>
                <a:ext cx="149" cy="126"/>
              </a:xfrm>
              <a:custGeom>
                <a:avLst/>
                <a:gdLst>
                  <a:gd name="T0" fmla="*/ 74 w 93"/>
                  <a:gd name="T1" fmla="*/ 28 h 78"/>
                  <a:gd name="T2" fmla="*/ 64 w 93"/>
                  <a:gd name="T3" fmla="*/ 20 h 78"/>
                  <a:gd name="T4" fmla="*/ 47 w 93"/>
                  <a:gd name="T5" fmla="*/ 18 h 78"/>
                  <a:gd name="T6" fmla="*/ 41 w 93"/>
                  <a:gd name="T7" fmla="*/ 29 h 78"/>
                  <a:gd name="T8" fmla="*/ 28 w 93"/>
                  <a:gd name="T9" fmla="*/ 44 h 78"/>
                  <a:gd name="T10" fmla="*/ 21 w 93"/>
                  <a:gd name="T11" fmla="*/ 53 h 78"/>
                  <a:gd name="T12" fmla="*/ 8 w 93"/>
                  <a:gd name="T13" fmla="*/ 57 h 78"/>
                  <a:gd name="T14" fmla="*/ 4 w 93"/>
                  <a:gd name="T15" fmla="*/ 68 h 78"/>
                  <a:gd name="T16" fmla="*/ 21 w 93"/>
                  <a:gd name="T17" fmla="*/ 65 h 78"/>
                  <a:gd name="T18" fmla="*/ 35 w 93"/>
                  <a:gd name="T19" fmla="*/ 52 h 78"/>
                  <a:gd name="T20" fmla="*/ 35 w 93"/>
                  <a:gd name="T21" fmla="*/ 52 h 78"/>
                  <a:gd name="T22" fmla="*/ 36 w 93"/>
                  <a:gd name="T23" fmla="*/ 53 h 78"/>
                  <a:gd name="T24" fmla="*/ 46 w 93"/>
                  <a:gd name="T25" fmla="*/ 47 h 78"/>
                  <a:gd name="T26" fmla="*/ 61 w 93"/>
                  <a:gd name="T27" fmla="*/ 47 h 78"/>
                  <a:gd name="T28" fmla="*/ 74 w 93"/>
                  <a:gd name="T29" fmla="*/ 57 h 78"/>
                  <a:gd name="T30" fmla="*/ 81 w 93"/>
                  <a:gd name="T31" fmla="*/ 44 h 78"/>
                  <a:gd name="T32" fmla="*/ 74 w 93"/>
                  <a:gd name="T33" fmla="*/ 2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3" h="78">
                    <a:moveTo>
                      <a:pt x="74" y="28"/>
                    </a:moveTo>
                    <a:cubicBezTo>
                      <a:pt x="77" y="13"/>
                      <a:pt x="64" y="20"/>
                      <a:pt x="64" y="20"/>
                    </a:cubicBezTo>
                    <a:cubicBezTo>
                      <a:pt x="56" y="0"/>
                      <a:pt x="47" y="18"/>
                      <a:pt x="47" y="18"/>
                    </a:cubicBezTo>
                    <a:cubicBezTo>
                      <a:pt x="35" y="17"/>
                      <a:pt x="41" y="29"/>
                      <a:pt x="41" y="29"/>
                    </a:cubicBezTo>
                    <a:cubicBezTo>
                      <a:pt x="20" y="23"/>
                      <a:pt x="28" y="44"/>
                      <a:pt x="28" y="44"/>
                    </a:cubicBezTo>
                    <a:cubicBezTo>
                      <a:pt x="18" y="44"/>
                      <a:pt x="21" y="53"/>
                      <a:pt x="21" y="53"/>
                    </a:cubicBezTo>
                    <a:cubicBezTo>
                      <a:pt x="10" y="41"/>
                      <a:pt x="8" y="57"/>
                      <a:pt x="8" y="57"/>
                    </a:cubicBezTo>
                    <a:cubicBezTo>
                      <a:pt x="0" y="58"/>
                      <a:pt x="4" y="68"/>
                      <a:pt x="4" y="68"/>
                    </a:cubicBezTo>
                    <a:cubicBezTo>
                      <a:pt x="15" y="78"/>
                      <a:pt x="21" y="65"/>
                      <a:pt x="21" y="65"/>
                    </a:cubicBezTo>
                    <a:cubicBezTo>
                      <a:pt x="37" y="76"/>
                      <a:pt x="35" y="52"/>
                      <a:pt x="35" y="52"/>
                    </a:cubicBezTo>
                    <a:cubicBezTo>
                      <a:pt x="35" y="52"/>
                      <a:pt x="24" y="46"/>
                      <a:pt x="35" y="52"/>
                    </a:cubicBezTo>
                    <a:cubicBezTo>
                      <a:pt x="35" y="52"/>
                      <a:pt x="35" y="53"/>
                      <a:pt x="36" y="53"/>
                    </a:cubicBezTo>
                    <a:cubicBezTo>
                      <a:pt x="46" y="59"/>
                      <a:pt x="46" y="47"/>
                      <a:pt x="46" y="47"/>
                    </a:cubicBezTo>
                    <a:cubicBezTo>
                      <a:pt x="53" y="64"/>
                      <a:pt x="61" y="47"/>
                      <a:pt x="61" y="47"/>
                    </a:cubicBezTo>
                    <a:cubicBezTo>
                      <a:pt x="61" y="70"/>
                      <a:pt x="74" y="57"/>
                      <a:pt x="74" y="57"/>
                    </a:cubicBezTo>
                    <a:cubicBezTo>
                      <a:pt x="93" y="61"/>
                      <a:pt x="81" y="44"/>
                      <a:pt x="81" y="44"/>
                    </a:cubicBezTo>
                    <a:cubicBezTo>
                      <a:pt x="90" y="31"/>
                      <a:pt x="74" y="28"/>
                      <a:pt x="74" y="2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041" name="Freeform 6188"/>
              <p:cNvSpPr>
                <a:spLocks/>
              </p:cNvSpPr>
              <p:nvPr/>
            </p:nvSpPr>
            <p:spPr bwMode="auto">
              <a:xfrm>
                <a:off x="-116" y="2155"/>
                <a:ext cx="63" cy="160"/>
              </a:xfrm>
              <a:custGeom>
                <a:avLst/>
                <a:gdLst>
                  <a:gd name="T0" fmla="*/ 30 w 39"/>
                  <a:gd name="T1" fmla="*/ 7 h 99"/>
                  <a:gd name="T2" fmla="*/ 14 w 39"/>
                  <a:gd name="T3" fmla="*/ 0 h 99"/>
                  <a:gd name="T4" fmla="*/ 0 w 39"/>
                  <a:gd name="T5" fmla="*/ 90 h 99"/>
                  <a:gd name="T6" fmla="*/ 39 w 39"/>
                  <a:gd name="T7" fmla="*/ 90 h 99"/>
                  <a:gd name="T8" fmla="*/ 30 w 39"/>
                  <a:gd name="T9" fmla="*/ 7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99">
                    <a:moveTo>
                      <a:pt x="30" y="7"/>
                    </a:moveTo>
                    <a:cubicBezTo>
                      <a:pt x="30" y="7"/>
                      <a:pt x="29" y="0"/>
                      <a:pt x="14" y="0"/>
                    </a:cubicBezTo>
                    <a:cubicBezTo>
                      <a:pt x="14" y="0"/>
                      <a:pt x="18" y="77"/>
                      <a:pt x="0" y="90"/>
                    </a:cubicBezTo>
                    <a:cubicBezTo>
                      <a:pt x="0" y="90"/>
                      <a:pt x="28" y="99"/>
                      <a:pt x="39" y="90"/>
                    </a:cubicBezTo>
                    <a:cubicBezTo>
                      <a:pt x="39" y="90"/>
                      <a:pt x="24" y="52"/>
                      <a:pt x="30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042" name="Freeform 6189"/>
              <p:cNvSpPr>
                <a:spLocks/>
              </p:cNvSpPr>
              <p:nvPr/>
            </p:nvSpPr>
            <p:spPr bwMode="auto">
              <a:xfrm>
                <a:off x="-136" y="1906"/>
                <a:ext cx="101" cy="120"/>
              </a:xfrm>
              <a:custGeom>
                <a:avLst/>
                <a:gdLst>
                  <a:gd name="T0" fmla="*/ 46 w 63"/>
                  <a:gd name="T1" fmla="*/ 22 h 74"/>
                  <a:gd name="T2" fmla="*/ 35 w 63"/>
                  <a:gd name="T3" fmla="*/ 0 h 74"/>
                  <a:gd name="T4" fmla="*/ 24 w 63"/>
                  <a:gd name="T5" fmla="*/ 16 h 74"/>
                  <a:gd name="T6" fmla="*/ 19 w 63"/>
                  <a:gd name="T7" fmla="*/ 42 h 74"/>
                  <a:gd name="T8" fmla="*/ 61 w 63"/>
                  <a:gd name="T9" fmla="*/ 30 h 74"/>
                  <a:gd name="T10" fmla="*/ 46 w 63"/>
                  <a:gd name="T11" fmla="*/ 22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3" h="74">
                    <a:moveTo>
                      <a:pt x="46" y="22"/>
                    </a:moveTo>
                    <a:cubicBezTo>
                      <a:pt x="49" y="0"/>
                      <a:pt x="35" y="0"/>
                      <a:pt x="35" y="0"/>
                    </a:cubicBezTo>
                    <a:cubicBezTo>
                      <a:pt x="23" y="1"/>
                      <a:pt x="24" y="16"/>
                      <a:pt x="24" y="16"/>
                    </a:cubicBezTo>
                    <a:cubicBezTo>
                      <a:pt x="0" y="30"/>
                      <a:pt x="19" y="42"/>
                      <a:pt x="19" y="42"/>
                    </a:cubicBezTo>
                    <a:cubicBezTo>
                      <a:pt x="63" y="74"/>
                      <a:pt x="61" y="30"/>
                      <a:pt x="61" y="30"/>
                    </a:cubicBezTo>
                    <a:cubicBezTo>
                      <a:pt x="58" y="15"/>
                      <a:pt x="46" y="22"/>
                      <a:pt x="46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043" name="Freeform 6190"/>
              <p:cNvSpPr>
                <a:spLocks/>
              </p:cNvSpPr>
              <p:nvPr/>
            </p:nvSpPr>
            <p:spPr bwMode="auto">
              <a:xfrm>
                <a:off x="-108" y="1981"/>
                <a:ext cx="2" cy="6"/>
              </a:xfrm>
              <a:custGeom>
                <a:avLst/>
                <a:gdLst>
                  <a:gd name="T0" fmla="*/ 0 w 1"/>
                  <a:gd name="T1" fmla="*/ 0 h 4"/>
                  <a:gd name="T2" fmla="*/ 1 w 1"/>
                  <a:gd name="T3" fmla="*/ 4 h 4"/>
                  <a:gd name="T4" fmla="*/ 0 w 1"/>
                  <a:gd name="T5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4">
                    <a:moveTo>
                      <a:pt x="0" y="0"/>
                    </a:moveTo>
                    <a:cubicBezTo>
                      <a:pt x="0" y="1"/>
                      <a:pt x="1" y="3"/>
                      <a:pt x="1" y="4"/>
                    </a:cubicBezTo>
                    <a:cubicBezTo>
                      <a:pt x="1" y="4"/>
                      <a:pt x="1" y="2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044" name="Freeform 6191"/>
              <p:cNvSpPr>
                <a:spLocks/>
              </p:cNvSpPr>
              <p:nvPr/>
            </p:nvSpPr>
            <p:spPr bwMode="auto">
              <a:xfrm>
                <a:off x="-161" y="1955"/>
                <a:ext cx="163" cy="223"/>
              </a:xfrm>
              <a:custGeom>
                <a:avLst/>
                <a:gdLst>
                  <a:gd name="T0" fmla="*/ 82 w 101"/>
                  <a:gd name="T1" fmla="*/ 62 h 138"/>
                  <a:gd name="T2" fmla="*/ 81 w 101"/>
                  <a:gd name="T3" fmla="*/ 50 h 138"/>
                  <a:gd name="T4" fmla="*/ 73 w 101"/>
                  <a:gd name="T5" fmla="*/ 26 h 138"/>
                  <a:gd name="T6" fmla="*/ 69 w 101"/>
                  <a:gd name="T7" fmla="*/ 11 h 138"/>
                  <a:gd name="T8" fmla="*/ 55 w 101"/>
                  <a:gd name="T9" fmla="*/ 18 h 138"/>
                  <a:gd name="T10" fmla="*/ 42 w 101"/>
                  <a:gd name="T11" fmla="*/ 0 h 138"/>
                  <a:gd name="T12" fmla="*/ 33 w 101"/>
                  <a:gd name="T13" fmla="*/ 16 h 138"/>
                  <a:gd name="T14" fmla="*/ 34 w 101"/>
                  <a:gd name="T15" fmla="*/ 20 h 138"/>
                  <a:gd name="T16" fmla="*/ 33 w 101"/>
                  <a:gd name="T17" fmla="*/ 16 h 138"/>
                  <a:gd name="T18" fmla="*/ 26 w 101"/>
                  <a:gd name="T19" fmla="*/ 12 h 138"/>
                  <a:gd name="T20" fmla="*/ 23 w 101"/>
                  <a:gd name="T21" fmla="*/ 31 h 138"/>
                  <a:gd name="T22" fmla="*/ 16 w 101"/>
                  <a:gd name="T23" fmla="*/ 50 h 138"/>
                  <a:gd name="T24" fmla="*/ 12 w 101"/>
                  <a:gd name="T25" fmla="*/ 75 h 138"/>
                  <a:gd name="T26" fmla="*/ 18 w 101"/>
                  <a:gd name="T27" fmla="*/ 95 h 138"/>
                  <a:gd name="T28" fmla="*/ 14 w 101"/>
                  <a:gd name="T29" fmla="*/ 118 h 138"/>
                  <a:gd name="T30" fmla="*/ 46 w 101"/>
                  <a:gd name="T31" fmla="*/ 116 h 138"/>
                  <a:gd name="T32" fmla="*/ 71 w 101"/>
                  <a:gd name="T33" fmla="*/ 118 h 138"/>
                  <a:gd name="T34" fmla="*/ 88 w 101"/>
                  <a:gd name="T35" fmla="*/ 106 h 138"/>
                  <a:gd name="T36" fmla="*/ 85 w 101"/>
                  <a:gd name="T37" fmla="*/ 88 h 138"/>
                  <a:gd name="T38" fmla="*/ 82 w 101"/>
                  <a:gd name="T39" fmla="*/ 62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01" h="138">
                    <a:moveTo>
                      <a:pt x="82" y="62"/>
                    </a:moveTo>
                    <a:cubicBezTo>
                      <a:pt x="82" y="62"/>
                      <a:pt x="96" y="59"/>
                      <a:pt x="81" y="50"/>
                    </a:cubicBezTo>
                    <a:cubicBezTo>
                      <a:pt x="81" y="50"/>
                      <a:pt x="99" y="27"/>
                      <a:pt x="73" y="26"/>
                    </a:cubicBezTo>
                    <a:cubicBezTo>
                      <a:pt x="73" y="26"/>
                      <a:pt x="80" y="16"/>
                      <a:pt x="69" y="11"/>
                    </a:cubicBezTo>
                    <a:cubicBezTo>
                      <a:pt x="69" y="11"/>
                      <a:pt x="58" y="4"/>
                      <a:pt x="55" y="18"/>
                    </a:cubicBezTo>
                    <a:cubicBezTo>
                      <a:pt x="55" y="18"/>
                      <a:pt x="56" y="4"/>
                      <a:pt x="42" y="0"/>
                    </a:cubicBezTo>
                    <a:cubicBezTo>
                      <a:pt x="42" y="0"/>
                      <a:pt x="30" y="1"/>
                      <a:pt x="33" y="16"/>
                    </a:cubicBezTo>
                    <a:cubicBezTo>
                      <a:pt x="34" y="18"/>
                      <a:pt x="34" y="20"/>
                      <a:pt x="34" y="20"/>
                    </a:cubicBezTo>
                    <a:cubicBezTo>
                      <a:pt x="34" y="19"/>
                      <a:pt x="33" y="17"/>
                      <a:pt x="33" y="16"/>
                    </a:cubicBezTo>
                    <a:cubicBezTo>
                      <a:pt x="32" y="13"/>
                      <a:pt x="30" y="10"/>
                      <a:pt x="26" y="12"/>
                    </a:cubicBezTo>
                    <a:cubicBezTo>
                      <a:pt x="26" y="12"/>
                      <a:pt x="17" y="18"/>
                      <a:pt x="23" y="31"/>
                    </a:cubicBezTo>
                    <a:cubicBezTo>
                      <a:pt x="23" y="31"/>
                      <a:pt x="9" y="32"/>
                      <a:pt x="16" y="50"/>
                    </a:cubicBezTo>
                    <a:cubicBezTo>
                      <a:pt x="16" y="50"/>
                      <a:pt x="0" y="58"/>
                      <a:pt x="12" y="75"/>
                    </a:cubicBezTo>
                    <a:cubicBezTo>
                      <a:pt x="12" y="75"/>
                      <a:pt x="4" y="84"/>
                      <a:pt x="18" y="95"/>
                    </a:cubicBezTo>
                    <a:cubicBezTo>
                      <a:pt x="18" y="95"/>
                      <a:pt x="5" y="103"/>
                      <a:pt x="14" y="118"/>
                    </a:cubicBezTo>
                    <a:cubicBezTo>
                      <a:pt x="14" y="118"/>
                      <a:pt x="28" y="138"/>
                      <a:pt x="46" y="116"/>
                    </a:cubicBezTo>
                    <a:cubicBezTo>
                      <a:pt x="46" y="116"/>
                      <a:pt x="51" y="105"/>
                      <a:pt x="71" y="118"/>
                    </a:cubicBezTo>
                    <a:cubicBezTo>
                      <a:pt x="71" y="118"/>
                      <a:pt x="81" y="122"/>
                      <a:pt x="88" y="106"/>
                    </a:cubicBezTo>
                    <a:cubicBezTo>
                      <a:pt x="88" y="106"/>
                      <a:pt x="93" y="95"/>
                      <a:pt x="85" y="88"/>
                    </a:cubicBezTo>
                    <a:cubicBezTo>
                      <a:pt x="85" y="88"/>
                      <a:pt x="101" y="73"/>
                      <a:pt x="82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045" name="Freeform 6192"/>
              <p:cNvSpPr>
                <a:spLocks/>
              </p:cNvSpPr>
              <p:nvPr/>
            </p:nvSpPr>
            <p:spPr bwMode="auto">
              <a:xfrm>
                <a:off x="-130" y="2018"/>
                <a:ext cx="108" cy="194"/>
              </a:xfrm>
              <a:custGeom>
                <a:avLst/>
                <a:gdLst>
                  <a:gd name="T0" fmla="*/ 50 w 67"/>
                  <a:gd name="T1" fmla="*/ 52 h 120"/>
                  <a:gd name="T2" fmla="*/ 50 w 67"/>
                  <a:gd name="T3" fmla="*/ 27 h 120"/>
                  <a:gd name="T4" fmla="*/ 43 w 67"/>
                  <a:gd name="T5" fmla="*/ 4 h 120"/>
                  <a:gd name="T6" fmla="*/ 27 w 67"/>
                  <a:gd name="T7" fmla="*/ 16 h 120"/>
                  <a:gd name="T8" fmla="*/ 10 w 67"/>
                  <a:gd name="T9" fmla="*/ 22 h 120"/>
                  <a:gd name="T10" fmla="*/ 13 w 67"/>
                  <a:gd name="T11" fmla="*/ 34 h 120"/>
                  <a:gd name="T12" fmla="*/ 10 w 67"/>
                  <a:gd name="T13" fmla="*/ 55 h 120"/>
                  <a:gd name="T14" fmla="*/ 0 w 67"/>
                  <a:gd name="T15" fmla="*/ 70 h 120"/>
                  <a:gd name="T16" fmla="*/ 9 w 67"/>
                  <a:gd name="T17" fmla="*/ 79 h 120"/>
                  <a:gd name="T18" fmla="*/ 22 w 67"/>
                  <a:gd name="T19" fmla="*/ 93 h 120"/>
                  <a:gd name="T20" fmla="*/ 47 w 67"/>
                  <a:gd name="T21" fmla="*/ 92 h 120"/>
                  <a:gd name="T22" fmla="*/ 52 w 67"/>
                  <a:gd name="T23" fmla="*/ 73 h 120"/>
                  <a:gd name="T24" fmla="*/ 50 w 67"/>
                  <a:gd name="T25" fmla="*/ 52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7" h="120">
                    <a:moveTo>
                      <a:pt x="50" y="52"/>
                    </a:moveTo>
                    <a:cubicBezTo>
                      <a:pt x="50" y="52"/>
                      <a:pt x="67" y="42"/>
                      <a:pt x="50" y="27"/>
                    </a:cubicBezTo>
                    <a:cubicBezTo>
                      <a:pt x="50" y="27"/>
                      <a:pt x="58" y="14"/>
                      <a:pt x="43" y="4"/>
                    </a:cubicBezTo>
                    <a:cubicBezTo>
                      <a:pt x="43" y="4"/>
                      <a:pt x="30" y="0"/>
                      <a:pt x="27" y="16"/>
                    </a:cubicBezTo>
                    <a:cubicBezTo>
                      <a:pt x="27" y="16"/>
                      <a:pt x="19" y="6"/>
                      <a:pt x="10" y="22"/>
                    </a:cubicBezTo>
                    <a:cubicBezTo>
                      <a:pt x="10" y="22"/>
                      <a:pt x="8" y="29"/>
                      <a:pt x="13" y="34"/>
                    </a:cubicBezTo>
                    <a:cubicBezTo>
                      <a:pt x="13" y="34"/>
                      <a:pt x="2" y="40"/>
                      <a:pt x="10" y="55"/>
                    </a:cubicBezTo>
                    <a:cubicBezTo>
                      <a:pt x="10" y="55"/>
                      <a:pt x="2" y="53"/>
                      <a:pt x="0" y="70"/>
                    </a:cubicBezTo>
                    <a:cubicBezTo>
                      <a:pt x="0" y="70"/>
                      <a:pt x="1" y="79"/>
                      <a:pt x="9" y="79"/>
                    </a:cubicBezTo>
                    <a:cubicBezTo>
                      <a:pt x="9" y="79"/>
                      <a:pt x="3" y="99"/>
                      <a:pt x="22" y="93"/>
                    </a:cubicBezTo>
                    <a:cubicBezTo>
                      <a:pt x="22" y="93"/>
                      <a:pt x="32" y="120"/>
                      <a:pt x="47" y="92"/>
                    </a:cubicBezTo>
                    <a:cubicBezTo>
                      <a:pt x="47" y="92"/>
                      <a:pt x="65" y="87"/>
                      <a:pt x="52" y="73"/>
                    </a:cubicBezTo>
                    <a:cubicBezTo>
                      <a:pt x="52" y="73"/>
                      <a:pt x="67" y="64"/>
                      <a:pt x="50" y="5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046" name="Freeform 6193"/>
              <p:cNvSpPr>
                <a:spLocks/>
              </p:cNvSpPr>
              <p:nvPr/>
            </p:nvSpPr>
            <p:spPr bwMode="auto">
              <a:xfrm>
                <a:off x="-199" y="2040"/>
                <a:ext cx="63" cy="159"/>
              </a:xfrm>
              <a:custGeom>
                <a:avLst/>
                <a:gdLst>
                  <a:gd name="T0" fmla="*/ 30 w 39"/>
                  <a:gd name="T1" fmla="*/ 6 h 98"/>
                  <a:gd name="T2" fmla="*/ 15 w 39"/>
                  <a:gd name="T3" fmla="*/ 0 h 98"/>
                  <a:gd name="T4" fmla="*/ 0 w 39"/>
                  <a:gd name="T5" fmla="*/ 89 h 98"/>
                  <a:gd name="T6" fmla="*/ 39 w 39"/>
                  <a:gd name="T7" fmla="*/ 89 h 98"/>
                  <a:gd name="T8" fmla="*/ 30 w 39"/>
                  <a:gd name="T9" fmla="*/ 6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98">
                    <a:moveTo>
                      <a:pt x="30" y="6"/>
                    </a:moveTo>
                    <a:cubicBezTo>
                      <a:pt x="30" y="6"/>
                      <a:pt x="29" y="0"/>
                      <a:pt x="15" y="0"/>
                    </a:cubicBezTo>
                    <a:cubicBezTo>
                      <a:pt x="15" y="0"/>
                      <a:pt x="18" y="76"/>
                      <a:pt x="0" y="89"/>
                    </a:cubicBezTo>
                    <a:cubicBezTo>
                      <a:pt x="0" y="89"/>
                      <a:pt x="28" y="98"/>
                      <a:pt x="39" y="89"/>
                    </a:cubicBezTo>
                    <a:cubicBezTo>
                      <a:pt x="39" y="89"/>
                      <a:pt x="24" y="51"/>
                      <a:pt x="30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047" name="Freeform 6194"/>
              <p:cNvSpPr>
                <a:spLocks/>
              </p:cNvSpPr>
              <p:nvPr/>
            </p:nvSpPr>
            <p:spPr bwMode="auto">
              <a:xfrm>
                <a:off x="-220" y="1790"/>
                <a:ext cx="101" cy="120"/>
              </a:xfrm>
              <a:custGeom>
                <a:avLst/>
                <a:gdLst>
                  <a:gd name="T0" fmla="*/ 47 w 63"/>
                  <a:gd name="T1" fmla="*/ 22 h 74"/>
                  <a:gd name="T2" fmla="*/ 36 w 63"/>
                  <a:gd name="T3" fmla="*/ 0 h 74"/>
                  <a:gd name="T4" fmla="*/ 24 w 63"/>
                  <a:gd name="T5" fmla="*/ 16 h 74"/>
                  <a:gd name="T6" fmla="*/ 19 w 63"/>
                  <a:gd name="T7" fmla="*/ 42 h 74"/>
                  <a:gd name="T8" fmla="*/ 61 w 63"/>
                  <a:gd name="T9" fmla="*/ 30 h 74"/>
                  <a:gd name="T10" fmla="*/ 47 w 63"/>
                  <a:gd name="T11" fmla="*/ 22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3" h="74">
                    <a:moveTo>
                      <a:pt x="47" y="22"/>
                    </a:moveTo>
                    <a:cubicBezTo>
                      <a:pt x="49" y="0"/>
                      <a:pt x="36" y="0"/>
                      <a:pt x="36" y="0"/>
                    </a:cubicBezTo>
                    <a:cubicBezTo>
                      <a:pt x="23" y="1"/>
                      <a:pt x="24" y="16"/>
                      <a:pt x="24" y="16"/>
                    </a:cubicBezTo>
                    <a:cubicBezTo>
                      <a:pt x="0" y="30"/>
                      <a:pt x="19" y="42"/>
                      <a:pt x="19" y="42"/>
                    </a:cubicBezTo>
                    <a:cubicBezTo>
                      <a:pt x="63" y="74"/>
                      <a:pt x="61" y="30"/>
                      <a:pt x="61" y="30"/>
                    </a:cubicBezTo>
                    <a:cubicBezTo>
                      <a:pt x="58" y="15"/>
                      <a:pt x="47" y="22"/>
                      <a:pt x="47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048" name="Freeform 6195"/>
              <p:cNvSpPr>
                <a:spLocks/>
              </p:cNvSpPr>
              <p:nvPr/>
            </p:nvSpPr>
            <p:spPr bwMode="auto">
              <a:xfrm>
                <a:off x="-191" y="1864"/>
                <a:ext cx="1" cy="7"/>
              </a:xfrm>
              <a:custGeom>
                <a:avLst/>
                <a:gdLst>
                  <a:gd name="T0" fmla="*/ 0 w 1"/>
                  <a:gd name="T1" fmla="*/ 0 h 4"/>
                  <a:gd name="T2" fmla="*/ 1 w 1"/>
                  <a:gd name="T3" fmla="*/ 4 h 4"/>
                  <a:gd name="T4" fmla="*/ 0 w 1"/>
                  <a:gd name="T5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4">
                    <a:moveTo>
                      <a:pt x="0" y="0"/>
                    </a:moveTo>
                    <a:cubicBezTo>
                      <a:pt x="1" y="2"/>
                      <a:pt x="1" y="3"/>
                      <a:pt x="1" y="4"/>
                    </a:cubicBezTo>
                    <a:cubicBezTo>
                      <a:pt x="1" y="4"/>
                      <a:pt x="1" y="2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049" name="Freeform 6196"/>
              <p:cNvSpPr>
                <a:spLocks/>
              </p:cNvSpPr>
              <p:nvPr/>
            </p:nvSpPr>
            <p:spPr bwMode="auto">
              <a:xfrm>
                <a:off x="-244" y="1838"/>
                <a:ext cx="162" cy="225"/>
              </a:xfrm>
              <a:custGeom>
                <a:avLst/>
                <a:gdLst>
                  <a:gd name="T0" fmla="*/ 83 w 101"/>
                  <a:gd name="T1" fmla="*/ 62 h 139"/>
                  <a:gd name="T2" fmla="*/ 81 w 101"/>
                  <a:gd name="T3" fmla="*/ 50 h 139"/>
                  <a:gd name="T4" fmla="*/ 73 w 101"/>
                  <a:gd name="T5" fmla="*/ 26 h 139"/>
                  <a:gd name="T6" fmla="*/ 69 w 101"/>
                  <a:gd name="T7" fmla="*/ 11 h 139"/>
                  <a:gd name="T8" fmla="*/ 55 w 101"/>
                  <a:gd name="T9" fmla="*/ 19 h 139"/>
                  <a:gd name="T10" fmla="*/ 43 w 101"/>
                  <a:gd name="T11" fmla="*/ 0 h 139"/>
                  <a:gd name="T12" fmla="*/ 33 w 101"/>
                  <a:gd name="T13" fmla="*/ 16 h 139"/>
                  <a:gd name="T14" fmla="*/ 34 w 101"/>
                  <a:gd name="T15" fmla="*/ 20 h 139"/>
                  <a:gd name="T16" fmla="*/ 33 w 101"/>
                  <a:gd name="T17" fmla="*/ 16 h 139"/>
                  <a:gd name="T18" fmla="*/ 26 w 101"/>
                  <a:gd name="T19" fmla="*/ 12 h 139"/>
                  <a:gd name="T20" fmla="*/ 23 w 101"/>
                  <a:gd name="T21" fmla="*/ 31 h 139"/>
                  <a:gd name="T22" fmla="*/ 16 w 101"/>
                  <a:gd name="T23" fmla="*/ 50 h 139"/>
                  <a:gd name="T24" fmla="*/ 12 w 101"/>
                  <a:gd name="T25" fmla="*/ 75 h 139"/>
                  <a:gd name="T26" fmla="*/ 18 w 101"/>
                  <a:gd name="T27" fmla="*/ 95 h 139"/>
                  <a:gd name="T28" fmla="*/ 14 w 101"/>
                  <a:gd name="T29" fmla="*/ 118 h 139"/>
                  <a:gd name="T30" fmla="*/ 47 w 101"/>
                  <a:gd name="T31" fmla="*/ 117 h 139"/>
                  <a:gd name="T32" fmla="*/ 71 w 101"/>
                  <a:gd name="T33" fmla="*/ 118 h 139"/>
                  <a:gd name="T34" fmla="*/ 89 w 101"/>
                  <a:gd name="T35" fmla="*/ 106 h 139"/>
                  <a:gd name="T36" fmla="*/ 85 w 101"/>
                  <a:gd name="T37" fmla="*/ 88 h 139"/>
                  <a:gd name="T38" fmla="*/ 83 w 101"/>
                  <a:gd name="T39" fmla="*/ 62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01" h="139">
                    <a:moveTo>
                      <a:pt x="83" y="62"/>
                    </a:moveTo>
                    <a:cubicBezTo>
                      <a:pt x="83" y="62"/>
                      <a:pt x="96" y="59"/>
                      <a:pt x="81" y="50"/>
                    </a:cubicBezTo>
                    <a:cubicBezTo>
                      <a:pt x="81" y="50"/>
                      <a:pt x="100" y="27"/>
                      <a:pt x="73" y="26"/>
                    </a:cubicBezTo>
                    <a:cubicBezTo>
                      <a:pt x="73" y="26"/>
                      <a:pt x="81" y="16"/>
                      <a:pt x="69" y="11"/>
                    </a:cubicBezTo>
                    <a:cubicBezTo>
                      <a:pt x="69" y="11"/>
                      <a:pt x="58" y="4"/>
                      <a:pt x="55" y="19"/>
                    </a:cubicBezTo>
                    <a:cubicBezTo>
                      <a:pt x="55" y="19"/>
                      <a:pt x="56" y="5"/>
                      <a:pt x="43" y="0"/>
                    </a:cubicBezTo>
                    <a:cubicBezTo>
                      <a:pt x="43" y="0"/>
                      <a:pt x="30" y="1"/>
                      <a:pt x="33" y="16"/>
                    </a:cubicBezTo>
                    <a:cubicBezTo>
                      <a:pt x="34" y="18"/>
                      <a:pt x="34" y="20"/>
                      <a:pt x="34" y="20"/>
                    </a:cubicBezTo>
                    <a:cubicBezTo>
                      <a:pt x="34" y="19"/>
                      <a:pt x="34" y="18"/>
                      <a:pt x="33" y="16"/>
                    </a:cubicBezTo>
                    <a:cubicBezTo>
                      <a:pt x="32" y="13"/>
                      <a:pt x="30" y="10"/>
                      <a:pt x="26" y="12"/>
                    </a:cubicBezTo>
                    <a:cubicBezTo>
                      <a:pt x="26" y="12"/>
                      <a:pt x="17" y="18"/>
                      <a:pt x="23" y="31"/>
                    </a:cubicBezTo>
                    <a:cubicBezTo>
                      <a:pt x="23" y="31"/>
                      <a:pt x="10" y="32"/>
                      <a:pt x="16" y="50"/>
                    </a:cubicBezTo>
                    <a:cubicBezTo>
                      <a:pt x="16" y="50"/>
                      <a:pt x="0" y="59"/>
                      <a:pt x="12" y="75"/>
                    </a:cubicBezTo>
                    <a:cubicBezTo>
                      <a:pt x="12" y="75"/>
                      <a:pt x="4" y="84"/>
                      <a:pt x="18" y="95"/>
                    </a:cubicBezTo>
                    <a:cubicBezTo>
                      <a:pt x="18" y="95"/>
                      <a:pt x="5" y="103"/>
                      <a:pt x="14" y="118"/>
                    </a:cubicBezTo>
                    <a:cubicBezTo>
                      <a:pt x="14" y="118"/>
                      <a:pt x="28" y="139"/>
                      <a:pt x="47" y="117"/>
                    </a:cubicBezTo>
                    <a:cubicBezTo>
                      <a:pt x="47" y="117"/>
                      <a:pt x="51" y="105"/>
                      <a:pt x="71" y="118"/>
                    </a:cubicBezTo>
                    <a:cubicBezTo>
                      <a:pt x="71" y="118"/>
                      <a:pt x="82" y="123"/>
                      <a:pt x="89" y="106"/>
                    </a:cubicBezTo>
                    <a:cubicBezTo>
                      <a:pt x="89" y="106"/>
                      <a:pt x="93" y="95"/>
                      <a:pt x="85" y="88"/>
                    </a:cubicBezTo>
                    <a:cubicBezTo>
                      <a:pt x="85" y="88"/>
                      <a:pt x="101" y="73"/>
                      <a:pt x="83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sp>
          <p:nvSpPr>
            <p:cNvPr id="7833" name="Freeform 6198"/>
            <p:cNvSpPr>
              <a:spLocks/>
            </p:cNvSpPr>
            <p:nvPr/>
          </p:nvSpPr>
          <p:spPr bwMode="auto">
            <a:xfrm>
              <a:off x="-336550" y="3021013"/>
              <a:ext cx="168275" cy="304800"/>
            </a:xfrm>
            <a:custGeom>
              <a:avLst/>
              <a:gdLst>
                <a:gd name="T0" fmla="*/ 49 w 66"/>
                <a:gd name="T1" fmla="*/ 51 h 119"/>
                <a:gd name="T2" fmla="*/ 50 w 66"/>
                <a:gd name="T3" fmla="*/ 27 h 119"/>
                <a:gd name="T4" fmla="*/ 43 w 66"/>
                <a:gd name="T5" fmla="*/ 3 h 119"/>
                <a:gd name="T6" fmla="*/ 27 w 66"/>
                <a:gd name="T7" fmla="*/ 16 h 119"/>
                <a:gd name="T8" fmla="*/ 9 w 66"/>
                <a:gd name="T9" fmla="*/ 21 h 119"/>
                <a:gd name="T10" fmla="*/ 12 w 66"/>
                <a:gd name="T11" fmla="*/ 33 h 119"/>
                <a:gd name="T12" fmla="*/ 10 w 66"/>
                <a:gd name="T13" fmla="*/ 55 h 119"/>
                <a:gd name="T14" fmla="*/ 0 w 66"/>
                <a:gd name="T15" fmla="*/ 70 h 119"/>
                <a:gd name="T16" fmla="*/ 8 w 66"/>
                <a:gd name="T17" fmla="*/ 78 h 119"/>
                <a:gd name="T18" fmla="*/ 21 w 66"/>
                <a:gd name="T19" fmla="*/ 92 h 119"/>
                <a:gd name="T20" fmla="*/ 46 w 66"/>
                <a:gd name="T21" fmla="*/ 92 h 119"/>
                <a:gd name="T22" fmla="*/ 51 w 66"/>
                <a:gd name="T23" fmla="*/ 73 h 119"/>
                <a:gd name="T24" fmla="*/ 49 w 66"/>
                <a:gd name="T25" fmla="*/ 51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19">
                  <a:moveTo>
                    <a:pt x="49" y="51"/>
                  </a:moveTo>
                  <a:cubicBezTo>
                    <a:pt x="49" y="51"/>
                    <a:pt x="66" y="41"/>
                    <a:pt x="50" y="27"/>
                  </a:cubicBezTo>
                  <a:cubicBezTo>
                    <a:pt x="50" y="27"/>
                    <a:pt x="57" y="13"/>
                    <a:pt x="43" y="3"/>
                  </a:cubicBezTo>
                  <a:cubicBezTo>
                    <a:pt x="43" y="3"/>
                    <a:pt x="30" y="0"/>
                    <a:pt x="27" y="16"/>
                  </a:cubicBezTo>
                  <a:cubicBezTo>
                    <a:pt x="27" y="16"/>
                    <a:pt x="18" y="5"/>
                    <a:pt x="9" y="21"/>
                  </a:cubicBezTo>
                  <a:cubicBezTo>
                    <a:pt x="9" y="21"/>
                    <a:pt x="7" y="28"/>
                    <a:pt x="12" y="33"/>
                  </a:cubicBezTo>
                  <a:cubicBezTo>
                    <a:pt x="12" y="33"/>
                    <a:pt x="1" y="40"/>
                    <a:pt x="10" y="55"/>
                  </a:cubicBezTo>
                  <a:cubicBezTo>
                    <a:pt x="10" y="55"/>
                    <a:pt x="1" y="53"/>
                    <a:pt x="0" y="70"/>
                  </a:cubicBezTo>
                  <a:cubicBezTo>
                    <a:pt x="0" y="70"/>
                    <a:pt x="0" y="79"/>
                    <a:pt x="8" y="78"/>
                  </a:cubicBezTo>
                  <a:cubicBezTo>
                    <a:pt x="8" y="78"/>
                    <a:pt x="2" y="99"/>
                    <a:pt x="21" y="92"/>
                  </a:cubicBezTo>
                  <a:cubicBezTo>
                    <a:pt x="21" y="92"/>
                    <a:pt x="31" y="119"/>
                    <a:pt x="46" y="92"/>
                  </a:cubicBezTo>
                  <a:cubicBezTo>
                    <a:pt x="46" y="92"/>
                    <a:pt x="64" y="87"/>
                    <a:pt x="51" y="73"/>
                  </a:cubicBezTo>
                  <a:cubicBezTo>
                    <a:pt x="51" y="73"/>
                    <a:pt x="66" y="63"/>
                    <a:pt x="49" y="51"/>
                  </a:cubicBezTo>
                  <a:close/>
                </a:path>
              </a:pathLst>
            </a:custGeom>
            <a:solidFill>
              <a:srgbClr val="5EC3A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834" name="Freeform 6199"/>
            <p:cNvSpPr>
              <a:spLocks/>
            </p:cNvSpPr>
            <p:nvPr/>
          </p:nvSpPr>
          <p:spPr bwMode="auto">
            <a:xfrm>
              <a:off x="265113" y="3424238"/>
              <a:ext cx="100013" cy="254000"/>
            </a:xfrm>
            <a:custGeom>
              <a:avLst/>
              <a:gdLst>
                <a:gd name="T0" fmla="*/ 30 w 39"/>
                <a:gd name="T1" fmla="*/ 7 h 99"/>
                <a:gd name="T2" fmla="*/ 14 w 39"/>
                <a:gd name="T3" fmla="*/ 0 h 99"/>
                <a:gd name="T4" fmla="*/ 0 w 39"/>
                <a:gd name="T5" fmla="*/ 90 h 99"/>
                <a:gd name="T6" fmla="*/ 39 w 39"/>
                <a:gd name="T7" fmla="*/ 90 h 99"/>
                <a:gd name="T8" fmla="*/ 30 w 39"/>
                <a:gd name="T9" fmla="*/ 7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9">
                  <a:moveTo>
                    <a:pt x="30" y="7"/>
                  </a:moveTo>
                  <a:cubicBezTo>
                    <a:pt x="30" y="7"/>
                    <a:pt x="29" y="0"/>
                    <a:pt x="14" y="0"/>
                  </a:cubicBezTo>
                  <a:cubicBezTo>
                    <a:pt x="14" y="0"/>
                    <a:pt x="17" y="77"/>
                    <a:pt x="0" y="90"/>
                  </a:cubicBezTo>
                  <a:cubicBezTo>
                    <a:pt x="0" y="90"/>
                    <a:pt x="27" y="99"/>
                    <a:pt x="39" y="90"/>
                  </a:cubicBezTo>
                  <a:cubicBezTo>
                    <a:pt x="39" y="90"/>
                    <a:pt x="24" y="51"/>
                    <a:pt x="30" y="7"/>
                  </a:cubicBezTo>
                  <a:close/>
                </a:path>
              </a:pathLst>
            </a:custGeom>
            <a:solidFill>
              <a:srgbClr val="5EC3A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835" name="Freeform 6200"/>
            <p:cNvSpPr>
              <a:spLocks/>
            </p:cNvSpPr>
            <p:nvPr/>
          </p:nvSpPr>
          <p:spPr bwMode="auto">
            <a:xfrm>
              <a:off x="133350" y="3416300"/>
              <a:ext cx="98425" cy="254000"/>
            </a:xfrm>
            <a:custGeom>
              <a:avLst/>
              <a:gdLst>
                <a:gd name="T0" fmla="*/ 30 w 39"/>
                <a:gd name="T1" fmla="*/ 7 h 99"/>
                <a:gd name="T2" fmla="*/ 15 w 39"/>
                <a:gd name="T3" fmla="*/ 1 h 99"/>
                <a:gd name="T4" fmla="*/ 0 w 39"/>
                <a:gd name="T5" fmla="*/ 90 h 99"/>
                <a:gd name="T6" fmla="*/ 39 w 39"/>
                <a:gd name="T7" fmla="*/ 90 h 99"/>
                <a:gd name="T8" fmla="*/ 30 w 39"/>
                <a:gd name="T9" fmla="*/ 7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9">
                  <a:moveTo>
                    <a:pt x="30" y="7"/>
                  </a:moveTo>
                  <a:cubicBezTo>
                    <a:pt x="30" y="7"/>
                    <a:pt x="29" y="0"/>
                    <a:pt x="15" y="1"/>
                  </a:cubicBezTo>
                  <a:cubicBezTo>
                    <a:pt x="15" y="1"/>
                    <a:pt x="18" y="77"/>
                    <a:pt x="0" y="90"/>
                  </a:cubicBezTo>
                  <a:cubicBezTo>
                    <a:pt x="0" y="90"/>
                    <a:pt x="28" y="99"/>
                    <a:pt x="39" y="90"/>
                  </a:cubicBezTo>
                  <a:cubicBezTo>
                    <a:pt x="39" y="90"/>
                    <a:pt x="24" y="52"/>
                    <a:pt x="30" y="7"/>
                  </a:cubicBezTo>
                  <a:close/>
                </a:path>
              </a:pathLst>
            </a:custGeom>
            <a:solidFill>
              <a:srgbClr val="5EC3A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836" name="Freeform 6201"/>
            <p:cNvSpPr>
              <a:spLocks/>
            </p:cNvSpPr>
            <p:nvPr/>
          </p:nvSpPr>
          <p:spPr bwMode="auto">
            <a:xfrm>
              <a:off x="231775" y="3028950"/>
              <a:ext cx="161925" cy="188913"/>
            </a:xfrm>
            <a:custGeom>
              <a:avLst/>
              <a:gdLst>
                <a:gd name="T0" fmla="*/ 46 w 63"/>
                <a:gd name="T1" fmla="*/ 22 h 74"/>
                <a:gd name="T2" fmla="*/ 35 w 63"/>
                <a:gd name="T3" fmla="*/ 0 h 74"/>
                <a:gd name="T4" fmla="*/ 24 w 63"/>
                <a:gd name="T5" fmla="*/ 16 h 74"/>
                <a:gd name="T6" fmla="*/ 19 w 63"/>
                <a:gd name="T7" fmla="*/ 41 h 74"/>
                <a:gd name="T8" fmla="*/ 61 w 63"/>
                <a:gd name="T9" fmla="*/ 29 h 74"/>
                <a:gd name="T10" fmla="*/ 46 w 63"/>
                <a:gd name="T11" fmla="*/ 22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3" h="74">
                  <a:moveTo>
                    <a:pt x="46" y="22"/>
                  </a:moveTo>
                  <a:cubicBezTo>
                    <a:pt x="49" y="0"/>
                    <a:pt x="35" y="0"/>
                    <a:pt x="35" y="0"/>
                  </a:cubicBezTo>
                  <a:cubicBezTo>
                    <a:pt x="23" y="1"/>
                    <a:pt x="24" y="16"/>
                    <a:pt x="24" y="16"/>
                  </a:cubicBezTo>
                  <a:cubicBezTo>
                    <a:pt x="0" y="29"/>
                    <a:pt x="19" y="41"/>
                    <a:pt x="19" y="41"/>
                  </a:cubicBezTo>
                  <a:cubicBezTo>
                    <a:pt x="63" y="74"/>
                    <a:pt x="61" y="29"/>
                    <a:pt x="61" y="29"/>
                  </a:cubicBezTo>
                  <a:cubicBezTo>
                    <a:pt x="58" y="14"/>
                    <a:pt x="46" y="22"/>
                    <a:pt x="46" y="22"/>
                  </a:cubicBezTo>
                  <a:close/>
                </a:path>
              </a:pathLst>
            </a:custGeom>
            <a:solidFill>
              <a:srgbClr val="5EC3A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837" name="Freeform 6202"/>
            <p:cNvSpPr>
              <a:spLocks/>
            </p:cNvSpPr>
            <p:nvPr/>
          </p:nvSpPr>
          <p:spPr bwMode="auto">
            <a:xfrm>
              <a:off x="277813" y="3146425"/>
              <a:ext cx="3175" cy="11113"/>
            </a:xfrm>
            <a:custGeom>
              <a:avLst/>
              <a:gdLst>
                <a:gd name="T0" fmla="*/ 0 w 1"/>
                <a:gd name="T1" fmla="*/ 0 h 4"/>
                <a:gd name="T2" fmla="*/ 1 w 1"/>
                <a:gd name="T3" fmla="*/ 4 h 4"/>
                <a:gd name="T4" fmla="*/ 0 w 1"/>
                <a:gd name="T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4">
                  <a:moveTo>
                    <a:pt x="0" y="0"/>
                  </a:moveTo>
                  <a:cubicBezTo>
                    <a:pt x="0" y="1"/>
                    <a:pt x="1" y="2"/>
                    <a:pt x="1" y="4"/>
                  </a:cubicBezTo>
                  <a:cubicBezTo>
                    <a:pt x="1" y="4"/>
                    <a:pt x="1" y="2"/>
                    <a:pt x="0" y="0"/>
                  </a:cubicBezTo>
                  <a:close/>
                </a:path>
              </a:pathLst>
            </a:custGeom>
            <a:solidFill>
              <a:srgbClr val="5EC3A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838" name="Freeform 6203"/>
            <p:cNvSpPr>
              <a:spLocks/>
            </p:cNvSpPr>
            <p:nvPr/>
          </p:nvSpPr>
          <p:spPr bwMode="auto">
            <a:xfrm>
              <a:off x="193675" y="3103563"/>
              <a:ext cx="258763" cy="355600"/>
            </a:xfrm>
            <a:custGeom>
              <a:avLst/>
              <a:gdLst>
                <a:gd name="T0" fmla="*/ 82 w 101"/>
                <a:gd name="T1" fmla="*/ 63 h 139"/>
                <a:gd name="T2" fmla="*/ 81 w 101"/>
                <a:gd name="T3" fmla="*/ 51 h 139"/>
                <a:gd name="T4" fmla="*/ 73 w 101"/>
                <a:gd name="T5" fmla="*/ 27 h 139"/>
                <a:gd name="T6" fmla="*/ 69 w 101"/>
                <a:gd name="T7" fmla="*/ 11 h 139"/>
                <a:gd name="T8" fmla="*/ 55 w 101"/>
                <a:gd name="T9" fmla="*/ 19 h 139"/>
                <a:gd name="T10" fmla="*/ 42 w 101"/>
                <a:gd name="T11" fmla="*/ 0 h 139"/>
                <a:gd name="T12" fmla="*/ 33 w 101"/>
                <a:gd name="T13" fmla="*/ 17 h 139"/>
                <a:gd name="T14" fmla="*/ 34 w 101"/>
                <a:gd name="T15" fmla="*/ 21 h 139"/>
                <a:gd name="T16" fmla="*/ 33 w 101"/>
                <a:gd name="T17" fmla="*/ 17 h 139"/>
                <a:gd name="T18" fmla="*/ 26 w 101"/>
                <a:gd name="T19" fmla="*/ 12 h 139"/>
                <a:gd name="T20" fmla="*/ 22 w 101"/>
                <a:gd name="T21" fmla="*/ 31 h 139"/>
                <a:gd name="T22" fmla="*/ 15 w 101"/>
                <a:gd name="T23" fmla="*/ 50 h 139"/>
                <a:gd name="T24" fmla="*/ 11 w 101"/>
                <a:gd name="T25" fmla="*/ 76 h 139"/>
                <a:gd name="T26" fmla="*/ 18 w 101"/>
                <a:gd name="T27" fmla="*/ 95 h 139"/>
                <a:gd name="T28" fmla="*/ 14 w 101"/>
                <a:gd name="T29" fmla="*/ 118 h 139"/>
                <a:gd name="T30" fmla="*/ 46 w 101"/>
                <a:gd name="T31" fmla="*/ 117 h 139"/>
                <a:gd name="T32" fmla="*/ 71 w 101"/>
                <a:gd name="T33" fmla="*/ 118 h 139"/>
                <a:gd name="T34" fmla="*/ 88 w 101"/>
                <a:gd name="T35" fmla="*/ 107 h 139"/>
                <a:gd name="T36" fmla="*/ 85 w 101"/>
                <a:gd name="T37" fmla="*/ 89 h 139"/>
                <a:gd name="T38" fmla="*/ 82 w 101"/>
                <a:gd name="T39" fmla="*/ 63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1" h="139">
                  <a:moveTo>
                    <a:pt x="82" y="63"/>
                  </a:moveTo>
                  <a:cubicBezTo>
                    <a:pt x="82" y="63"/>
                    <a:pt x="96" y="60"/>
                    <a:pt x="81" y="51"/>
                  </a:cubicBezTo>
                  <a:cubicBezTo>
                    <a:pt x="81" y="51"/>
                    <a:pt x="99" y="27"/>
                    <a:pt x="73" y="27"/>
                  </a:cubicBezTo>
                  <a:cubicBezTo>
                    <a:pt x="73" y="27"/>
                    <a:pt x="80" y="17"/>
                    <a:pt x="69" y="11"/>
                  </a:cubicBezTo>
                  <a:cubicBezTo>
                    <a:pt x="69" y="11"/>
                    <a:pt x="58" y="5"/>
                    <a:pt x="55" y="19"/>
                  </a:cubicBezTo>
                  <a:cubicBezTo>
                    <a:pt x="55" y="19"/>
                    <a:pt x="56" y="5"/>
                    <a:pt x="42" y="0"/>
                  </a:cubicBezTo>
                  <a:cubicBezTo>
                    <a:pt x="42" y="0"/>
                    <a:pt x="30" y="1"/>
                    <a:pt x="33" y="17"/>
                  </a:cubicBezTo>
                  <a:cubicBezTo>
                    <a:pt x="34" y="19"/>
                    <a:pt x="34" y="21"/>
                    <a:pt x="34" y="21"/>
                  </a:cubicBezTo>
                  <a:cubicBezTo>
                    <a:pt x="34" y="19"/>
                    <a:pt x="33" y="18"/>
                    <a:pt x="33" y="17"/>
                  </a:cubicBezTo>
                  <a:cubicBezTo>
                    <a:pt x="32" y="14"/>
                    <a:pt x="30" y="10"/>
                    <a:pt x="26" y="12"/>
                  </a:cubicBezTo>
                  <a:cubicBezTo>
                    <a:pt x="26" y="12"/>
                    <a:pt x="17" y="18"/>
                    <a:pt x="22" y="31"/>
                  </a:cubicBezTo>
                  <a:cubicBezTo>
                    <a:pt x="22" y="31"/>
                    <a:pt x="9" y="32"/>
                    <a:pt x="15" y="50"/>
                  </a:cubicBezTo>
                  <a:cubicBezTo>
                    <a:pt x="15" y="50"/>
                    <a:pt x="0" y="59"/>
                    <a:pt x="11" y="76"/>
                  </a:cubicBezTo>
                  <a:cubicBezTo>
                    <a:pt x="11" y="76"/>
                    <a:pt x="4" y="84"/>
                    <a:pt x="18" y="95"/>
                  </a:cubicBezTo>
                  <a:cubicBezTo>
                    <a:pt x="18" y="95"/>
                    <a:pt x="5" y="104"/>
                    <a:pt x="14" y="118"/>
                  </a:cubicBezTo>
                  <a:cubicBezTo>
                    <a:pt x="14" y="118"/>
                    <a:pt x="28" y="139"/>
                    <a:pt x="46" y="117"/>
                  </a:cubicBezTo>
                  <a:cubicBezTo>
                    <a:pt x="46" y="117"/>
                    <a:pt x="51" y="106"/>
                    <a:pt x="71" y="118"/>
                  </a:cubicBezTo>
                  <a:cubicBezTo>
                    <a:pt x="71" y="118"/>
                    <a:pt x="81" y="123"/>
                    <a:pt x="88" y="107"/>
                  </a:cubicBezTo>
                  <a:cubicBezTo>
                    <a:pt x="88" y="107"/>
                    <a:pt x="92" y="96"/>
                    <a:pt x="85" y="89"/>
                  </a:cubicBezTo>
                  <a:cubicBezTo>
                    <a:pt x="85" y="89"/>
                    <a:pt x="101" y="73"/>
                    <a:pt x="82" y="63"/>
                  </a:cubicBezTo>
                  <a:close/>
                </a:path>
              </a:pathLst>
            </a:custGeom>
            <a:solidFill>
              <a:srgbClr val="5EC3A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839" name="Freeform 6204"/>
            <p:cNvSpPr>
              <a:spLocks/>
            </p:cNvSpPr>
            <p:nvPr/>
          </p:nvSpPr>
          <p:spPr bwMode="auto">
            <a:xfrm>
              <a:off x="242888" y="3205163"/>
              <a:ext cx="171450" cy="307975"/>
            </a:xfrm>
            <a:custGeom>
              <a:avLst/>
              <a:gdLst>
                <a:gd name="T0" fmla="*/ 50 w 67"/>
                <a:gd name="T1" fmla="*/ 52 h 120"/>
                <a:gd name="T2" fmla="*/ 50 w 67"/>
                <a:gd name="T3" fmla="*/ 27 h 120"/>
                <a:gd name="T4" fmla="*/ 43 w 67"/>
                <a:gd name="T5" fmla="*/ 4 h 120"/>
                <a:gd name="T6" fmla="*/ 27 w 67"/>
                <a:gd name="T7" fmla="*/ 16 h 120"/>
                <a:gd name="T8" fmla="*/ 10 w 67"/>
                <a:gd name="T9" fmla="*/ 21 h 120"/>
                <a:gd name="T10" fmla="*/ 12 w 67"/>
                <a:gd name="T11" fmla="*/ 33 h 120"/>
                <a:gd name="T12" fmla="*/ 10 w 67"/>
                <a:gd name="T13" fmla="*/ 55 h 120"/>
                <a:gd name="T14" fmla="*/ 0 w 67"/>
                <a:gd name="T15" fmla="*/ 70 h 120"/>
                <a:gd name="T16" fmla="*/ 9 w 67"/>
                <a:gd name="T17" fmla="*/ 79 h 120"/>
                <a:gd name="T18" fmla="*/ 22 w 67"/>
                <a:gd name="T19" fmla="*/ 93 h 120"/>
                <a:gd name="T20" fmla="*/ 47 w 67"/>
                <a:gd name="T21" fmla="*/ 92 h 120"/>
                <a:gd name="T22" fmla="*/ 51 w 67"/>
                <a:gd name="T23" fmla="*/ 73 h 120"/>
                <a:gd name="T24" fmla="*/ 50 w 67"/>
                <a:gd name="T25" fmla="*/ 52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20">
                  <a:moveTo>
                    <a:pt x="50" y="52"/>
                  </a:moveTo>
                  <a:cubicBezTo>
                    <a:pt x="50" y="52"/>
                    <a:pt x="66" y="42"/>
                    <a:pt x="50" y="27"/>
                  </a:cubicBezTo>
                  <a:cubicBezTo>
                    <a:pt x="50" y="27"/>
                    <a:pt x="58" y="14"/>
                    <a:pt x="43" y="4"/>
                  </a:cubicBezTo>
                  <a:cubicBezTo>
                    <a:pt x="43" y="4"/>
                    <a:pt x="30" y="0"/>
                    <a:pt x="27" y="16"/>
                  </a:cubicBezTo>
                  <a:cubicBezTo>
                    <a:pt x="27" y="16"/>
                    <a:pt x="18" y="5"/>
                    <a:pt x="10" y="21"/>
                  </a:cubicBezTo>
                  <a:cubicBezTo>
                    <a:pt x="10" y="21"/>
                    <a:pt x="7" y="28"/>
                    <a:pt x="12" y="33"/>
                  </a:cubicBezTo>
                  <a:cubicBezTo>
                    <a:pt x="12" y="33"/>
                    <a:pt x="2" y="40"/>
                    <a:pt x="10" y="55"/>
                  </a:cubicBezTo>
                  <a:cubicBezTo>
                    <a:pt x="10" y="55"/>
                    <a:pt x="2" y="53"/>
                    <a:pt x="0" y="70"/>
                  </a:cubicBezTo>
                  <a:cubicBezTo>
                    <a:pt x="0" y="70"/>
                    <a:pt x="0" y="79"/>
                    <a:pt x="9" y="79"/>
                  </a:cubicBezTo>
                  <a:cubicBezTo>
                    <a:pt x="9" y="79"/>
                    <a:pt x="2" y="99"/>
                    <a:pt x="22" y="93"/>
                  </a:cubicBezTo>
                  <a:cubicBezTo>
                    <a:pt x="22" y="93"/>
                    <a:pt x="31" y="120"/>
                    <a:pt x="47" y="92"/>
                  </a:cubicBezTo>
                  <a:cubicBezTo>
                    <a:pt x="47" y="92"/>
                    <a:pt x="65" y="87"/>
                    <a:pt x="51" y="73"/>
                  </a:cubicBezTo>
                  <a:cubicBezTo>
                    <a:pt x="51" y="73"/>
                    <a:pt x="67" y="63"/>
                    <a:pt x="50" y="52"/>
                  </a:cubicBezTo>
                  <a:close/>
                </a:path>
              </a:pathLst>
            </a:custGeom>
            <a:solidFill>
              <a:srgbClr val="5EC3A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840" name="Freeform 6205"/>
            <p:cNvSpPr>
              <a:spLocks/>
            </p:cNvSpPr>
            <p:nvPr/>
          </p:nvSpPr>
          <p:spPr bwMode="auto">
            <a:xfrm>
              <a:off x="-622300" y="3290888"/>
              <a:ext cx="100013" cy="254000"/>
            </a:xfrm>
            <a:custGeom>
              <a:avLst/>
              <a:gdLst>
                <a:gd name="T0" fmla="*/ 30 w 39"/>
                <a:gd name="T1" fmla="*/ 7 h 99"/>
                <a:gd name="T2" fmla="*/ 14 w 39"/>
                <a:gd name="T3" fmla="*/ 0 h 99"/>
                <a:gd name="T4" fmla="*/ 0 w 39"/>
                <a:gd name="T5" fmla="*/ 90 h 99"/>
                <a:gd name="T6" fmla="*/ 39 w 39"/>
                <a:gd name="T7" fmla="*/ 90 h 99"/>
                <a:gd name="T8" fmla="*/ 30 w 39"/>
                <a:gd name="T9" fmla="*/ 7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9">
                  <a:moveTo>
                    <a:pt x="30" y="7"/>
                  </a:moveTo>
                  <a:cubicBezTo>
                    <a:pt x="30" y="7"/>
                    <a:pt x="29" y="0"/>
                    <a:pt x="14" y="0"/>
                  </a:cubicBezTo>
                  <a:cubicBezTo>
                    <a:pt x="14" y="0"/>
                    <a:pt x="17" y="77"/>
                    <a:pt x="0" y="90"/>
                  </a:cubicBezTo>
                  <a:cubicBezTo>
                    <a:pt x="0" y="90"/>
                    <a:pt x="27" y="99"/>
                    <a:pt x="39" y="90"/>
                  </a:cubicBezTo>
                  <a:cubicBezTo>
                    <a:pt x="39" y="90"/>
                    <a:pt x="24" y="51"/>
                    <a:pt x="30" y="7"/>
                  </a:cubicBezTo>
                  <a:close/>
                </a:path>
              </a:pathLst>
            </a:custGeom>
            <a:solidFill>
              <a:srgbClr val="5EC3A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841" name="Freeform 6206"/>
            <p:cNvSpPr>
              <a:spLocks/>
            </p:cNvSpPr>
            <p:nvPr/>
          </p:nvSpPr>
          <p:spPr bwMode="auto">
            <a:xfrm>
              <a:off x="-655637" y="2895600"/>
              <a:ext cx="160338" cy="188913"/>
            </a:xfrm>
            <a:custGeom>
              <a:avLst/>
              <a:gdLst>
                <a:gd name="T0" fmla="*/ 46 w 63"/>
                <a:gd name="T1" fmla="*/ 22 h 74"/>
                <a:gd name="T2" fmla="*/ 35 w 63"/>
                <a:gd name="T3" fmla="*/ 0 h 74"/>
                <a:gd name="T4" fmla="*/ 24 w 63"/>
                <a:gd name="T5" fmla="*/ 16 h 74"/>
                <a:gd name="T6" fmla="*/ 19 w 63"/>
                <a:gd name="T7" fmla="*/ 41 h 74"/>
                <a:gd name="T8" fmla="*/ 61 w 63"/>
                <a:gd name="T9" fmla="*/ 29 h 74"/>
                <a:gd name="T10" fmla="*/ 46 w 63"/>
                <a:gd name="T11" fmla="*/ 22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3" h="74">
                  <a:moveTo>
                    <a:pt x="46" y="22"/>
                  </a:moveTo>
                  <a:cubicBezTo>
                    <a:pt x="49" y="0"/>
                    <a:pt x="35" y="0"/>
                    <a:pt x="35" y="0"/>
                  </a:cubicBezTo>
                  <a:cubicBezTo>
                    <a:pt x="23" y="1"/>
                    <a:pt x="24" y="16"/>
                    <a:pt x="24" y="16"/>
                  </a:cubicBezTo>
                  <a:cubicBezTo>
                    <a:pt x="0" y="29"/>
                    <a:pt x="19" y="41"/>
                    <a:pt x="19" y="41"/>
                  </a:cubicBezTo>
                  <a:cubicBezTo>
                    <a:pt x="63" y="74"/>
                    <a:pt x="61" y="29"/>
                    <a:pt x="61" y="29"/>
                  </a:cubicBezTo>
                  <a:cubicBezTo>
                    <a:pt x="58" y="14"/>
                    <a:pt x="46" y="22"/>
                    <a:pt x="46" y="22"/>
                  </a:cubicBezTo>
                  <a:close/>
                </a:path>
              </a:pathLst>
            </a:custGeom>
            <a:solidFill>
              <a:srgbClr val="5EC3A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842" name="Freeform 6207"/>
            <p:cNvSpPr>
              <a:spLocks/>
            </p:cNvSpPr>
            <p:nvPr/>
          </p:nvSpPr>
          <p:spPr bwMode="auto">
            <a:xfrm>
              <a:off x="-609600" y="3013075"/>
              <a:ext cx="3175" cy="11113"/>
            </a:xfrm>
            <a:custGeom>
              <a:avLst/>
              <a:gdLst>
                <a:gd name="T0" fmla="*/ 0 w 1"/>
                <a:gd name="T1" fmla="*/ 0 h 4"/>
                <a:gd name="T2" fmla="*/ 1 w 1"/>
                <a:gd name="T3" fmla="*/ 4 h 4"/>
                <a:gd name="T4" fmla="*/ 0 w 1"/>
                <a:gd name="T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4">
                  <a:moveTo>
                    <a:pt x="0" y="0"/>
                  </a:moveTo>
                  <a:cubicBezTo>
                    <a:pt x="0" y="1"/>
                    <a:pt x="1" y="2"/>
                    <a:pt x="1" y="4"/>
                  </a:cubicBezTo>
                  <a:cubicBezTo>
                    <a:pt x="1" y="4"/>
                    <a:pt x="1" y="2"/>
                    <a:pt x="0" y="0"/>
                  </a:cubicBezTo>
                  <a:close/>
                </a:path>
              </a:pathLst>
            </a:custGeom>
            <a:solidFill>
              <a:srgbClr val="5EC3A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843" name="Freeform 6208"/>
            <p:cNvSpPr>
              <a:spLocks/>
            </p:cNvSpPr>
            <p:nvPr/>
          </p:nvSpPr>
          <p:spPr bwMode="auto">
            <a:xfrm>
              <a:off x="-693737" y="2970213"/>
              <a:ext cx="257175" cy="355600"/>
            </a:xfrm>
            <a:custGeom>
              <a:avLst/>
              <a:gdLst>
                <a:gd name="T0" fmla="*/ 82 w 101"/>
                <a:gd name="T1" fmla="*/ 63 h 139"/>
                <a:gd name="T2" fmla="*/ 81 w 101"/>
                <a:gd name="T3" fmla="*/ 51 h 139"/>
                <a:gd name="T4" fmla="*/ 73 w 101"/>
                <a:gd name="T5" fmla="*/ 27 h 139"/>
                <a:gd name="T6" fmla="*/ 69 w 101"/>
                <a:gd name="T7" fmla="*/ 11 h 139"/>
                <a:gd name="T8" fmla="*/ 55 w 101"/>
                <a:gd name="T9" fmla="*/ 19 h 139"/>
                <a:gd name="T10" fmla="*/ 42 w 101"/>
                <a:gd name="T11" fmla="*/ 0 h 139"/>
                <a:gd name="T12" fmla="*/ 33 w 101"/>
                <a:gd name="T13" fmla="*/ 17 h 139"/>
                <a:gd name="T14" fmla="*/ 34 w 101"/>
                <a:gd name="T15" fmla="*/ 21 h 139"/>
                <a:gd name="T16" fmla="*/ 33 w 101"/>
                <a:gd name="T17" fmla="*/ 17 h 139"/>
                <a:gd name="T18" fmla="*/ 26 w 101"/>
                <a:gd name="T19" fmla="*/ 12 h 139"/>
                <a:gd name="T20" fmla="*/ 22 w 101"/>
                <a:gd name="T21" fmla="*/ 31 h 139"/>
                <a:gd name="T22" fmla="*/ 15 w 101"/>
                <a:gd name="T23" fmla="*/ 50 h 139"/>
                <a:gd name="T24" fmla="*/ 11 w 101"/>
                <a:gd name="T25" fmla="*/ 76 h 139"/>
                <a:gd name="T26" fmla="*/ 18 w 101"/>
                <a:gd name="T27" fmla="*/ 95 h 139"/>
                <a:gd name="T28" fmla="*/ 14 w 101"/>
                <a:gd name="T29" fmla="*/ 118 h 139"/>
                <a:gd name="T30" fmla="*/ 46 w 101"/>
                <a:gd name="T31" fmla="*/ 117 h 139"/>
                <a:gd name="T32" fmla="*/ 71 w 101"/>
                <a:gd name="T33" fmla="*/ 118 h 139"/>
                <a:gd name="T34" fmla="*/ 88 w 101"/>
                <a:gd name="T35" fmla="*/ 107 h 139"/>
                <a:gd name="T36" fmla="*/ 85 w 101"/>
                <a:gd name="T37" fmla="*/ 89 h 139"/>
                <a:gd name="T38" fmla="*/ 82 w 101"/>
                <a:gd name="T39" fmla="*/ 63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1" h="139">
                  <a:moveTo>
                    <a:pt x="82" y="63"/>
                  </a:moveTo>
                  <a:cubicBezTo>
                    <a:pt x="82" y="63"/>
                    <a:pt x="96" y="60"/>
                    <a:pt x="81" y="51"/>
                  </a:cubicBezTo>
                  <a:cubicBezTo>
                    <a:pt x="81" y="51"/>
                    <a:pt x="99" y="27"/>
                    <a:pt x="73" y="27"/>
                  </a:cubicBezTo>
                  <a:cubicBezTo>
                    <a:pt x="73" y="27"/>
                    <a:pt x="80" y="17"/>
                    <a:pt x="69" y="11"/>
                  </a:cubicBezTo>
                  <a:cubicBezTo>
                    <a:pt x="69" y="11"/>
                    <a:pt x="58" y="5"/>
                    <a:pt x="55" y="19"/>
                  </a:cubicBezTo>
                  <a:cubicBezTo>
                    <a:pt x="55" y="19"/>
                    <a:pt x="56" y="5"/>
                    <a:pt x="42" y="0"/>
                  </a:cubicBezTo>
                  <a:cubicBezTo>
                    <a:pt x="42" y="0"/>
                    <a:pt x="30" y="1"/>
                    <a:pt x="33" y="17"/>
                  </a:cubicBezTo>
                  <a:cubicBezTo>
                    <a:pt x="34" y="19"/>
                    <a:pt x="34" y="21"/>
                    <a:pt x="34" y="21"/>
                  </a:cubicBezTo>
                  <a:cubicBezTo>
                    <a:pt x="34" y="19"/>
                    <a:pt x="33" y="18"/>
                    <a:pt x="33" y="17"/>
                  </a:cubicBezTo>
                  <a:cubicBezTo>
                    <a:pt x="32" y="14"/>
                    <a:pt x="30" y="10"/>
                    <a:pt x="26" y="12"/>
                  </a:cubicBezTo>
                  <a:cubicBezTo>
                    <a:pt x="26" y="12"/>
                    <a:pt x="17" y="18"/>
                    <a:pt x="22" y="31"/>
                  </a:cubicBezTo>
                  <a:cubicBezTo>
                    <a:pt x="22" y="31"/>
                    <a:pt x="9" y="32"/>
                    <a:pt x="15" y="50"/>
                  </a:cubicBezTo>
                  <a:cubicBezTo>
                    <a:pt x="15" y="50"/>
                    <a:pt x="0" y="59"/>
                    <a:pt x="11" y="76"/>
                  </a:cubicBezTo>
                  <a:cubicBezTo>
                    <a:pt x="11" y="76"/>
                    <a:pt x="4" y="84"/>
                    <a:pt x="18" y="95"/>
                  </a:cubicBezTo>
                  <a:cubicBezTo>
                    <a:pt x="18" y="95"/>
                    <a:pt x="5" y="104"/>
                    <a:pt x="14" y="118"/>
                  </a:cubicBezTo>
                  <a:cubicBezTo>
                    <a:pt x="14" y="118"/>
                    <a:pt x="28" y="139"/>
                    <a:pt x="46" y="117"/>
                  </a:cubicBezTo>
                  <a:cubicBezTo>
                    <a:pt x="46" y="117"/>
                    <a:pt x="51" y="106"/>
                    <a:pt x="71" y="118"/>
                  </a:cubicBezTo>
                  <a:cubicBezTo>
                    <a:pt x="71" y="118"/>
                    <a:pt x="81" y="123"/>
                    <a:pt x="88" y="107"/>
                  </a:cubicBezTo>
                  <a:cubicBezTo>
                    <a:pt x="88" y="107"/>
                    <a:pt x="92" y="96"/>
                    <a:pt x="85" y="89"/>
                  </a:cubicBezTo>
                  <a:cubicBezTo>
                    <a:pt x="85" y="89"/>
                    <a:pt x="101" y="73"/>
                    <a:pt x="82" y="63"/>
                  </a:cubicBezTo>
                  <a:close/>
                </a:path>
              </a:pathLst>
            </a:custGeom>
            <a:solidFill>
              <a:srgbClr val="5EC3A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844" name="Freeform 6209"/>
            <p:cNvSpPr>
              <a:spLocks/>
            </p:cNvSpPr>
            <p:nvPr/>
          </p:nvSpPr>
          <p:spPr bwMode="auto">
            <a:xfrm>
              <a:off x="-646112" y="3071813"/>
              <a:ext cx="171450" cy="307975"/>
            </a:xfrm>
            <a:custGeom>
              <a:avLst/>
              <a:gdLst>
                <a:gd name="T0" fmla="*/ 50 w 67"/>
                <a:gd name="T1" fmla="*/ 52 h 120"/>
                <a:gd name="T2" fmla="*/ 50 w 67"/>
                <a:gd name="T3" fmla="*/ 27 h 120"/>
                <a:gd name="T4" fmla="*/ 43 w 67"/>
                <a:gd name="T5" fmla="*/ 4 h 120"/>
                <a:gd name="T6" fmla="*/ 27 w 67"/>
                <a:gd name="T7" fmla="*/ 16 h 120"/>
                <a:gd name="T8" fmla="*/ 10 w 67"/>
                <a:gd name="T9" fmla="*/ 21 h 120"/>
                <a:gd name="T10" fmla="*/ 12 w 67"/>
                <a:gd name="T11" fmla="*/ 33 h 120"/>
                <a:gd name="T12" fmla="*/ 10 w 67"/>
                <a:gd name="T13" fmla="*/ 55 h 120"/>
                <a:gd name="T14" fmla="*/ 0 w 67"/>
                <a:gd name="T15" fmla="*/ 70 h 120"/>
                <a:gd name="T16" fmla="*/ 9 w 67"/>
                <a:gd name="T17" fmla="*/ 79 h 120"/>
                <a:gd name="T18" fmla="*/ 22 w 67"/>
                <a:gd name="T19" fmla="*/ 93 h 120"/>
                <a:gd name="T20" fmla="*/ 47 w 67"/>
                <a:gd name="T21" fmla="*/ 92 h 120"/>
                <a:gd name="T22" fmla="*/ 51 w 67"/>
                <a:gd name="T23" fmla="*/ 73 h 120"/>
                <a:gd name="T24" fmla="*/ 50 w 67"/>
                <a:gd name="T25" fmla="*/ 52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20">
                  <a:moveTo>
                    <a:pt x="50" y="52"/>
                  </a:moveTo>
                  <a:cubicBezTo>
                    <a:pt x="50" y="52"/>
                    <a:pt x="66" y="42"/>
                    <a:pt x="50" y="27"/>
                  </a:cubicBezTo>
                  <a:cubicBezTo>
                    <a:pt x="50" y="27"/>
                    <a:pt x="57" y="14"/>
                    <a:pt x="43" y="4"/>
                  </a:cubicBezTo>
                  <a:cubicBezTo>
                    <a:pt x="43" y="4"/>
                    <a:pt x="30" y="0"/>
                    <a:pt x="27" y="16"/>
                  </a:cubicBezTo>
                  <a:cubicBezTo>
                    <a:pt x="27" y="16"/>
                    <a:pt x="18" y="5"/>
                    <a:pt x="10" y="21"/>
                  </a:cubicBezTo>
                  <a:cubicBezTo>
                    <a:pt x="10" y="21"/>
                    <a:pt x="7" y="28"/>
                    <a:pt x="12" y="33"/>
                  </a:cubicBezTo>
                  <a:cubicBezTo>
                    <a:pt x="12" y="33"/>
                    <a:pt x="2" y="40"/>
                    <a:pt x="10" y="55"/>
                  </a:cubicBezTo>
                  <a:cubicBezTo>
                    <a:pt x="10" y="55"/>
                    <a:pt x="2" y="53"/>
                    <a:pt x="0" y="70"/>
                  </a:cubicBezTo>
                  <a:cubicBezTo>
                    <a:pt x="0" y="70"/>
                    <a:pt x="0" y="79"/>
                    <a:pt x="9" y="79"/>
                  </a:cubicBezTo>
                  <a:cubicBezTo>
                    <a:pt x="9" y="79"/>
                    <a:pt x="2" y="99"/>
                    <a:pt x="22" y="93"/>
                  </a:cubicBezTo>
                  <a:cubicBezTo>
                    <a:pt x="22" y="93"/>
                    <a:pt x="31" y="120"/>
                    <a:pt x="47" y="92"/>
                  </a:cubicBezTo>
                  <a:cubicBezTo>
                    <a:pt x="47" y="92"/>
                    <a:pt x="65" y="87"/>
                    <a:pt x="51" y="73"/>
                  </a:cubicBezTo>
                  <a:cubicBezTo>
                    <a:pt x="51" y="73"/>
                    <a:pt x="67" y="63"/>
                    <a:pt x="50" y="52"/>
                  </a:cubicBezTo>
                  <a:close/>
                </a:path>
              </a:pathLst>
            </a:custGeom>
            <a:solidFill>
              <a:srgbClr val="5EC3A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845" name="Freeform 6210"/>
            <p:cNvSpPr>
              <a:spLocks/>
            </p:cNvSpPr>
            <p:nvPr/>
          </p:nvSpPr>
          <p:spPr bwMode="auto">
            <a:xfrm>
              <a:off x="-962025" y="3316288"/>
              <a:ext cx="96838" cy="254000"/>
            </a:xfrm>
            <a:custGeom>
              <a:avLst/>
              <a:gdLst>
                <a:gd name="T0" fmla="*/ 30 w 38"/>
                <a:gd name="T1" fmla="*/ 7 h 99"/>
                <a:gd name="T2" fmla="*/ 14 w 38"/>
                <a:gd name="T3" fmla="*/ 0 h 99"/>
                <a:gd name="T4" fmla="*/ 0 w 38"/>
                <a:gd name="T5" fmla="*/ 90 h 99"/>
                <a:gd name="T6" fmla="*/ 38 w 38"/>
                <a:gd name="T7" fmla="*/ 90 h 99"/>
                <a:gd name="T8" fmla="*/ 30 w 38"/>
                <a:gd name="T9" fmla="*/ 7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99">
                  <a:moveTo>
                    <a:pt x="30" y="7"/>
                  </a:moveTo>
                  <a:cubicBezTo>
                    <a:pt x="30" y="7"/>
                    <a:pt x="29" y="0"/>
                    <a:pt x="14" y="0"/>
                  </a:cubicBezTo>
                  <a:cubicBezTo>
                    <a:pt x="14" y="0"/>
                    <a:pt x="17" y="77"/>
                    <a:pt x="0" y="90"/>
                  </a:cubicBezTo>
                  <a:cubicBezTo>
                    <a:pt x="0" y="90"/>
                    <a:pt x="27" y="99"/>
                    <a:pt x="38" y="90"/>
                  </a:cubicBezTo>
                  <a:cubicBezTo>
                    <a:pt x="38" y="90"/>
                    <a:pt x="24" y="51"/>
                    <a:pt x="30" y="7"/>
                  </a:cubicBezTo>
                  <a:close/>
                </a:path>
              </a:pathLst>
            </a:custGeom>
            <a:solidFill>
              <a:srgbClr val="5EC3A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846" name="Freeform 6211"/>
            <p:cNvSpPr>
              <a:spLocks/>
            </p:cNvSpPr>
            <p:nvPr/>
          </p:nvSpPr>
          <p:spPr bwMode="auto">
            <a:xfrm>
              <a:off x="-995362" y="2921000"/>
              <a:ext cx="161925" cy="190500"/>
            </a:xfrm>
            <a:custGeom>
              <a:avLst/>
              <a:gdLst>
                <a:gd name="T0" fmla="*/ 46 w 63"/>
                <a:gd name="T1" fmla="*/ 22 h 74"/>
                <a:gd name="T2" fmla="*/ 35 w 63"/>
                <a:gd name="T3" fmla="*/ 0 h 74"/>
                <a:gd name="T4" fmla="*/ 24 w 63"/>
                <a:gd name="T5" fmla="*/ 16 h 74"/>
                <a:gd name="T6" fmla="*/ 19 w 63"/>
                <a:gd name="T7" fmla="*/ 41 h 74"/>
                <a:gd name="T8" fmla="*/ 61 w 63"/>
                <a:gd name="T9" fmla="*/ 29 h 74"/>
                <a:gd name="T10" fmla="*/ 46 w 63"/>
                <a:gd name="T11" fmla="*/ 22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3" h="74">
                  <a:moveTo>
                    <a:pt x="46" y="22"/>
                  </a:moveTo>
                  <a:cubicBezTo>
                    <a:pt x="48" y="0"/>
                    <a:pt x="35" y="0"/>
                    <a:pt x="35" y="0"/>
                  </a:cubicBezTo>
                  <a:cubicBezTo>
                    <a:pt x="22" y="1"/>
                    <a:pt x="24" y="16"/>
                    <a:pt x="24" y="16"/>
                  </a:cubicBezTo>
                  <a:cubicBezTo>
                    <a:pt x="0" y="30"/>
                    <a:pt x="19" y="41"/>
                    <a:pt x="19" y="41"/>
                  </a:cubicBezTo>
                  <a:cubicBezTo>
                    <a:pt x="63" y="74"/>
                    <a:pt x="61" y="29"/>
                    <a:pt x="61" y="29"/>
                  </a:cubicBezTo>
                  <a:cubicBezTo>
                    <a:pt x="58" y="14"/>
                    <a:pt x="46" y="22"/>
                    <a:pt x="46" y="22"/>
                  </a:cubicBezTo>
                  <a:close/>
                </a:path>
              </a:pathLst>
            </a:custGeom>
            <a:solidFill>
              <a:srgbClr val="5EC3A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847" name="Freeform 6212"/>
            <p:cNvSpPr>
              <a:spLocks/>
            </p:cNvSpPr>
            <p:nvPr/>
          </p:nvSpPr>
          <p:spPr bwMode="auto">
            <a:xfrm>
              <a:off x="-949325" y="3038475"/>
              <a:ext cx="3175" cy="11113"/>
            </a:xfrm>
            <a:custGeom>
              <a:avLst/>
              <a:gdLst>
                <a:gd name="T0" fmla="*/ 0 w 1"/>
                <a:gd name="T1" fmla="*/ 0 h 4"/>
                <a:gd name="T2" fmla="*/ 1 w 1"/>
                <a:gd name="T3" fmla="*/ 4 h 4"/>
                <a:gd name="T4" fmla="*/ 0 w 1"/>
                <a:gd name="T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4">
                  <a:moveTo>
                    <a:pt x="0" y="0"/>
                  </a:moveTo>
                  <a:cubicBezTo>
                    <a:pt x="0" y="1"/>
                    <a:pt x="0" y="2"/>
                    <a:pt x="1" y="4"/>
                  </a:cubicBezTo>
                  <a:cubicBezTo>
                    <a:pt x="1" y="4"/>
                    <a:pt x="0" y="2"/>
                    <a:pt x="0" y="0"/>
                  </a:cubicBezTo>
                  <a:close/>
                </a:path>
              </a:pathLst>
            </a:custGeom>
            <a:solidFill>
              <a:srgbClr val="5EC3A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848" name="Freeform 6213"/>
            <p:cNvSpPr>
              <a:spLocks/>
            </p:cNvSpPr>
            <p:nvPr/>
          </p:nvSpPr>
          <p:spPr bwMode="auto">
            <a:xfrm>
              <a:off x="-1033462" y="2995613"/>
              <a:ext cx="257175" cy="355600"/>
            </a:xfrm>
            <a:custGeom>
              <a:avLst/>
              <a:gdLst>
                <a:gd name="T0" fmla="*/ 82 w 101"/>
                <a:gd name="T1" fmla="*/ 63 h 139"/>
                <a:gd name="T2" fmla="*/ 81 w 101"/>
                <a:gd name="T3" fmla="*/ 51 h 139"/>
                <a:gd name="T4" fmla="*/ 73 w 101"/>
                <a:gd name="T5" fmla="*/ 27 h 139"/>
                <a:gd name="T6" fmla="*/ 69 w 101"/>
                <a:gd name="T7" fmla="*/ 11 h 139"/>
                <a:gd name="T8" fmla="*/ 54 w 101"/>
                <a:gd name="T9" fmla="*/ 19 h 139"/>
                <a:gd name="T10" fmla="*/ 42 w 101"/>
                <a:gd name="T11" fmla="*/ 0 h 139"/>
                <a:gd name="T12" fmla="*/ 33 w 101"/>
                <a:gd name="T13" fmla="*/ 17 h 139"/>
                <a:gd name="T14" fmla="*/ 34 w 101"/>
                <a:gd name="T15" fmla="*/ 21 h 139"/>
                <a:gd name="T16" fmla="*/ 33 w 101"/>
                <a:gd name="T17" fmla="*/ 17 h 139"/>
                <a:gd name="T18" fmla="*/ 26 w 101"/>
                <a:gd name="T19" fmla="*/ 12 h 139"/>
                <a:gd name="T20" fmla="*/ 22 w 101"/>
                <a:gd name="T21" fmla="*/ 31 h 139"/>
                <a:gd name="T22" fmla="*/ 15 w 101"/>
                <a:gd name="T23" fmla="*/ 50 h 139"/>
                <a:gd name="T24" fmla="*/ 11 w 101"/>
                <a:gd name="T25" fmla="*/ 76 h 139"/>
                <a:gd name="T26" fmla="*/ 17 w 101"/>
                <a:gd name="T27" fmla="*/ 95 h 139"/>
                <a:gd name="T28" fmla="*/ 13 w 101"/>
                <a:gd name="T29" fmla="*/ 118 h 139"/>
                <a:gd name="T30" fmla="*/ 46 w 101"/>
                <a:gd name="T31" fmla="*/ 117 h 139"/>
                <a:gd name="T32" fmla="*/ 70 w 101"/>
                <a:gd name="T33" fmla="*/ 118 h 139"/>
                <a:gd name="T34" fmla="*/ 88 w 101"/>
                <a:gd name="T35" fmla="*/ 107 h 139"/>
                <a:gd name="T36" fmla="*/ 85 w 101"/>
                <a:gd name="T37" fmla="*/ 89 h 139"/>
                <a:gd name="T38" fmla="*/ 82 w 101"/>
                <a:gd name="T39" fmla="*/ 63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1" h="139">
                  <a:moveTo>
                    <a:pt x="82" y="63"/>
                  </a:moveTo>
                  <a:cubicBezTo>
                    <a:pt x="82" y="63"/>
                    <a:pt x="95" y="60"/>
                    <a:pt x="81" y="51"/>
                  </a:cubicBezTo>
                  <a:cubicBezTo>
                    <a:pt x="81" y="51"/>
                    <a:pt x="99" y="28"/>
                    <a:pt x="73" y="27"/>
                  </a:cubicBezTo>
                  <a:cubicBezTo>
                    <a:pt x="73" y="27"/>
                    <a:pt x="80" y="17"/>
                    <a:pt x="69" y="11"/>
                  </a:cubicBezTo>
                  <a:cubicBezTo>
                    <a:pt x="69" y="11"/>
                    <a:pt x="57" y="5"/>
                    <a:pt x="54" y="19"/>
                  </a:cubicBezTo>
                  <a:cubicBezTo>
                    <a:pt x="54" y="19"/>
                    <a:pt x="55" y="5"/>
                    <a:pt x="42" y="0"/>
                  </a:cubicBezTo>
                  <a:cubicBezTo>
                    <a:pt x="42" y="0"/>
                    <a:pt x="29" y="1"/>
                    <a:pt x="33" y="17"/>
                  </a:cubicBezTo>
                  <a:cubicBezTo>
                    <a:pt x="33" y="19"/>
                    <a:pt x="34" y="21"/>
                    <a:pt x="34" y="21"/>
                  </a:cubicBezTo>
                  <a:cubicBezTo>
                    <a:pt x="33" y="19"/>
                    <a:pt x="33" y="18"/>
                    <a:pt x="33" y="17"/>
                  </a:cubicBezTo>
                  <a:cubicBezTo>
                    <a:pt x="32" y="14"/>
                    <a:pt x="29" y="11"/>
                    <a:pt x="26" y="12"/>
                  </a:cubicBezTo>
                  <a:cubicBezTo>
                    <a:pt x="26" y="12"/>
                    <a:pt x="16" y="19"/>
                    <a:pt x="22" y="31"/>
                  </a:cubicBezTo>
                  <a:cubicBezTo>
                    <a:pt x="22" y="31"/>
                    <a:pt x="9" y="32"/>
                    <a:pt x="15" y="50"/>
                  </a:cubicBezTo>
                  <a:cubicBezTo>
                    <a:pt x="15" y="50"/>
                    <a:pt x="0" y="59"/>
                    <a:pt x="11" y="76"/>
                  </a:cubicBezTo>
                  <a:cubicBezTo>
                    <a:pt x="11" y="76"/>
                    <a:pt x="3" y="84"/>
                    <a:pt x="17" y="95"/>
                  </a:cubicBezTo>
                  <a:cubicBezTo>
                    <a:pt x="17" y="95"/>
                    <a:pt x="4" y="104"/>
                    <a:pt x="13" y="118"/>
                  </a:cubicBezTo>
                  <a:cubicBezTo>
                    <a:pt x="13" y="118"/>
                    <a:pt x="27" y="139"/>
                    <a:pt x="46" y="117"/>
                  </a:cubicBezTo>
                  <a:cubicBezTo>
                    <a:pt x="46" y="117"/>
                    <a:pt x="51" y="106"/>
                    <a:pt x="70" y="118"/>
                  </a:cubicBezTo>
                  <a:cubicBezTo>
                    <a:pt x="70" y="118"/>
                    <a:pt x="81" y="123"/>
                    <a:pt x="88" y="107"/>
                  </a:cubicBezTo>
                  <a:cubicBezTo>
                    <a:pt x="88" y="107"/>
                    <a:pt x="92" y="96"/>
                    <a:pt x="85" y="89"/>
                  </a:cubicBezTo>
                  <a:cubicBezTo>
                    <a:pt x="85" y="89"/>
                    <a:pt x="101" y="73"/>
                    <a:pt x="82" y="63"/>
                  </a:cubicBezTo>
                  <a:close/>
                </a:path>
              </a:pathLst>
            </a:custGeom>
            <a:solidFill>
              <a:srgbClr val="5EC3A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849" name="Freeform 6214"/>
            <p:cNvSpPr>
              <a:spLocks/>
            </p:cNvSpPr>
            <p:nvPr/>
          </p:nvSpPr>
          <p:spPr bwMode="auto">
            <a:xfrm>
              <a:off x="-984250" y="3098800"/>
              <a:ext cx="169863" cy="306388"/>
            </a:xfrm>
            <a:custGeom>
              <a:avLst/>
              <a:gdLst>
                <a:gd name="T0" fmla="*/ 50 w 67"/>
                <a:gd name="T1" fmla="*/ 52 h 120"/>
                <a:gd name="T2" fmla="*/ 50 w 67"/>
                <a:gd name="T3" fmla="*/ 27 h 120"/>
                <a:gd name="T4" fmla="*/ 43 w 67"/>
                <a:gd name="T5" fmla="*/ 4 h 120"/>
                <a:gd name="T6" fmla="*/ 27 w 67"/>
                <a:gd name="T7" fmla="*/ 16 h 120"/>
                <a:gd name="T8" fmla="*/ 9 w 67"/>
                <a:gd name="T9" fmla="*/ 21 h 120"/>
                <a:gd name="T10" fmla="*/ 12 w 67"/>
                <a:gd name="T11" fmla="*/ 33 h 120"/>
                <a:gd name="T12" fmla="*/ 10 w 67"/>
                <a:gd name="T13" fmla="*/ 55 h 120"/>
                <a:gd name="T14" fmla="*/ 0 w 67"/>
                <a:gd name="T15" fmla="*/ 70 h 120"/>
                <a:gd name="T16" fmla="*/ 9 w 67"/>
                <a:gd name="T17" fmla="*/ 79 h 120"/>
                <a:gd name="T18" fmla="*/ 21 w 67"/>
                <a:gd name="T19" fmla="*/ 93 h 120"/>
                <a:gd name="T20" fmla="*/ 47 w 67"/>
                <a:gd name="T21" fmla="*/ 92 h 120"/>
                <a:gd name="T22" fmla="*/ 51 w 67"/>
                <a:gd name="T23" fmla="*/ 73 h 120"/>
                <a:gd name="T24" fmla="*/ 50 w 67"/>
                <a:gd name="T25" fmla="*/ 52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20">
                  <a:moveTo>
                    <a:pt x="50" y="52"/>
                  </a:moveTo>
                  <a:cubicBezTo>
                    <a:pt x="50" y="52"/>
                    <a:pt x="66" y="42"/>
                    <a:pt x="50" y="27"/>
                  </a:cubicBezTo>
                  <a:cubicBezTo>
                    <a:pt x="50" y="27"/>
                    <a:pt x="57" y="14"/>
                    <a:pt x="43" y="4"/>
                  </a:cubicBezTo>
                  <a:cubicBezTo>
                    <a:pt x="43" y="4"/>
                    <a:pt x="30" y="0"/>
                    <a:pt x="27" y="16"/>
                  </a:cubicBezTo>
                  <a:cubicBezTo>
                    <a:pt x="27" y="16"/>
                    <a:pt x="18" y="5"/>
                    <a:pt x="9" y="21"/>
                  </a:cubicBezTo>
                  <a:cubicBezTo>
                    <a:pt x="9" y="21"/>
                    <a:pt x="7" y="29"/>
                    <a:pt x="12" y="33"/>
                  </a:cubicBezTo>
                  <a:cubicBezTo>
                    <a:pt x="12" y="33"/>
                    <a:pt x="1" y="40"/>
                    <a:pt x="10" y="55"/>
                  </a:cubicBezTo>
                  <a:cubicBezTo>
                    <a:pt x="10" y="55"/>
                    <a:pt x="1" y="53"/>
                    <a:pt x="0" y="70"/>
                  </a:cubicBezTo>
                  <a:cubicBezTo>
                    <a:pt x="0" y="70"/>
                    <a:pt x="0" y="79"/>
                    <a:pt x="9" y="79"/>
                  </a:cubicBezTo>
                  <a:cubicBezTo>
                    <a:pt x="9" y="79"/>
                    <a:pt x="2" y="99"/>
                    <a:pt x="21" y="93"/>
                  </a:cubicBezTo>
                  <a:cubicBezTo>
                    <a:pt x="21" y="93"/>
                    <a:pt x="31" y="120"/>
                    <a:pt x="47" y="92"/>
                  </a:cubicBezTo>
                  <a:cubicBezTo>
                    <a:pt x="47" y="92"/>
                    <a:pt x="64" y="87"/>
                    <a:pt x="51" y="73"/>
                  </a:cubicBezTo>
                  <a:cubicBezTo>
                    <a:pt x="51" y="73"/>
                    <a:pt x="67" y="63"/>
                    <a:pt x="50" y="52"/>
                  </a:cubicBezTo>
                  <a:close/>
                </a:path>
              </a:pathLst>
            </a:custGeom>
            <a:solidFill>
              <a:srgbClr val="5EC3A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7762" name="Group 7761"/>
          <p:cNvGrpSpPr/>
          <p:nvPr/>
        </p:nvGrpSpPr>
        <p:grpSpPr>
          <a:xfrm>
            <a:off x="7172544" y="2806684"/>
            <a:ext cx="199658" cy="517374"/>
            <a:chOff x="845335" y="3446744"/>
            <a:chExt cx="400600" cy="1038075"/>
          </a:xfrm>
        </p:grpSpPr>
        <p:cxnSp>
          <p:nvCxnSpPr>
            <p:cNvPr id="7763" name="Straight Connector 7762"/>
            <p:cNvCxnSpPr/>
            <p:nvPr/>
          </p:nvCxnSpPr>
          <p:spPr>
            <a:xfrm flipH="1">
              <a:off x="1045635" y="3847344"/>
              <a:ext cx="0" cy="583384"/>
            </a:xfrm>
            <a:prstGeom prst="line">
              <a:avLst/>
            </a:prstGeom>
            <a:ln w="41275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764" name="Oval 7763"/>
            <p:cNvSpPr/>
            <p:nvPr/>
          </p:nvSpPr>
          <p:spPr>
            <a:xfrm>
              <a:off x="845335" y="3446744"/>
              <a:ext cx="400600" cy="400600"/>
            </a:xfrm>
            <a:prstGeom prst="ellipse">
              <a:avLst/>
            </a:prstGeom>
            <a:solidFill>
              <a:srgbClr val="E65A6D"/>
            </a:solidFill>
            <a:ln w="41275" cmpd="dbl">
              <a:solidFill>
                <a:srgbClr val="E65A6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200" b="1" dirty="0" smtClean="0">
                  <a:solidFill>
                    <a:schemeClr val="bg2"/>
                  </a:solidFill>
                </a:rPr>
                <a:t>7</a:t>
              </a:r>
            </a:p>
          </p:txBody>
        </p:sp>
        <p:sp>
          <p:nvSpPr>
            <p:cNvPr id="7765" name="Isosceles Triangle 7764"/>
            <p:cNvSpPr/>
            <p:nvPr/>
          </p:nvSpPr>
          <p:spPr>
            <a:xfrm>
              <a:off x="965031" y="4385250"/>
              <a:ext cx="170220" cy="99569"/>
            </a:xfrm>
            <a:prstGeom prst="triangle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200" dirty="0" err="1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369" name="Group 368"/>
          <p:cNvGrpSpPr/>
          <p:nvPr/>
        </p:nvGrpSpPr>
        <p:grpSpPr>
          <a:xfrm>
            <a:off x="0" y="0"/>
            <a:ext cx="9145588" cy="2144713"/>
            <a:chOff x="0" y="0"/>
            <a:chExt cx="9145588" cy="2144713"/>
          </a:xfrm>
        </p:grpSpPr>
        <p:sp>
          <p:nvSpPr>
            <p:cNvPr id="27" name="AutoShape 19"/>
            <p:cNvSpPr>
              <a:spLocks noChangeAspect="1" noChangeArrowheads="1" noTextEdit="1"/>
            </p:cNvSpPr>
            <p:nvPr/>
          </p:nvSpPr>
          <p:spPr bwMode="auto">
            <a:xfrm>
              <a:off x="0" y="0"/>
              <a:ext cx="9144000" cy="21447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0" name="Rectangle 21"/>
            <p:cNvSpPr>
              <a:spLocks noChangeArrowheads="1"/>
            </p:cNvSpPr>
            <p:nvPr/>
          </p:nvSpPr>
          <p:spPr bwMode="auto">
            <a:xfrm>
              <a:off x="0" y="0"/>
              <a:ext cx="9145588" cy="2144713"/>
            </a:xfrm>
            <a:prstGeom prst="rect">
              <a:avLst/>
            </a:prstGeom>
            <a:solidFill>
              <a:srgbClr val="D7E9F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1" name="Freeform 22"/>
            <p:cNvSpPr>
              <a:spLocks/>
            </p:cNvSpPr>
            <p:nvPr/>
          </p:nvSpPr>
          <p:spPr bwMode="auto">
            <a:xfrm>
              <a:off x="1966913" y="1203325"/>
              <a:ext cx="223838" cy="115888"/>
            </a:xfrm>
            <a:custGeom>
              <a:avLst/>
              <a:gdLst>
                <a:gd name="T0" fmla="*/ 132 w 141"/>
                <a:gd name="T1" fmla="*/ 6 h 73"/>
                <a:gd name="T2" fmla="*/ 75 w 141"/>
                <a:gd name="T3" fmla="*/ 3 h 73"/>
                <a:gd name="T4" fmla="*/ 16 w 141"/>
                <a:gd name="T5" fmla="*/ 0 h 73"/>
                <a:gd name="T6" fmla="*/ 0 w 141"/>
                <a:gd name="T7" fmla="*/ 66 h 73"/>
                <a:gd name="T8" fmla="*/ 70 w 141"/>
                <a:gd name="T9" fmla="*/ 70 h 73"/>
                <a:gd name="T10" fmla="*/ 141 w 141"/>
                <a:gd name="T11" fmla="*/ 73 h 73"/>
                <a:gd name="T12" fmla="*/ 132 w 141"/>
                <a:gd name="T13" fmla="*/ 6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1" h="73">
                  <a:moveTo>
                    <a:pt x="132" y="6"/>
                  </a:moveTo>
                  <a:lnTo>
                    <a:pt x="75" y="3"/>
                  </a:lnTo>
                  <a:lnTo>
                    <a:pt x="16" y="0"/>
                  </a:lnTo>
                  <a:lnTo>
                    <a:pt x="0" y="66"/>
                  </a:lnTo>
                  <a:lnTo>
                    <a:pt x="70" y="70"/>
                  </a:lnTo>
                  <a:lnTo>
                    <a:pt x="141" y="73"/>
                  </a:lnTo>
                  <a:lnTo>
                    <a:pt x="132" y="6"/>
                  </a:lnTo>
                  <a:close/>
                </a:path>
              </a:pathLst>
            </a:custGeom>
            <a:solidFill>
              <a:srgbClr val="694A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2" name="Freeform 23"/>
            <p:cNvSpPr>
              <a:spLocks noEditPoints="1"/>
            </p:cNvSpPr>
            <p:nvPr/>
          </p:nvSpPr>
          <p:spPr bwMode="auto">
            <a:xfrm>
              <a:off x="1911350" y="847725"/>
              <a:ext cx="180975" cy="192088"/>
            </a:xfrm>
            <a:custGeom>
              <a:avLst/>
              <a:gdLst>
                <a:gd name="T0" fmla="*/ 114 w 114"/>
                <a:gd name="T1" fmla="*/ 121 h 121"/>
                <a:gd name="T2" fmla="*/ 0 w 114"/>
                <a:gd name="T3" fmla="*/ 43 h 121"/>
                <a:gd name="T4" fmla="*/ 48 w 114"/>
                <a:gd name="T5" fmla="*/ 0 h 121"/>
                <a:gd name="T6" fmla="*/ 114 w 114"/>
                <a:gd name="T7" fmla="*/ 121 h 121"/>
                <a:gd name="T8" fmla="*/ 4 w 114"/>
                <a:gd name="T9" fmla="*/ 42 h 121"/>
                <a:gd name="T10" fmla="*/ 105 w 114"/>
                <a:gd name="T11" fmla="*/ 111 h 121"/>
                <a:gd name="T12" fmla="*/ 46 w 114"/>
                <a:gd name="T13" fmla="*/ 4 h 121"/>
                <a:gd name="T14" fmla="*/ 4 w 114"/>
                <a:gd name="T15" fmla="*/ 42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4" h="121">
                  <a:moveTo>
                    <a:pt x="114" y="121"/>
                  </a:moveTo>
                  <a:lnTo>
                    <a:pt x="0" y="43"/>
                  </a:lnTo>
                  <a:lnTo>
                    <a:pt x="48" y="0"/>
                  </a:lnTo>
                  <a:lnTo>
                    <a:pt x="114" y="121"/>
                  </a:lnTo>
                  <a:close/>
                  <a:moveTo>
                    <a:pt x="4" y="42"/>
                  </a:moveTo>
                  <a:lnTo>
                    <a:pt x="105" y="111"/>
                  </a:lnTo>
                  <a:lnTo>
                    <a:pt x="46" y="4"/>
                  </a:lnTo>
                  <a:lnTo>
                    <a:pt x="4" y="42"/>
                  </a:lnTo>
                  <a:close/>
                </a:path>
              </a:pathLst>
            </a:custGeom>
            <a:solidFill>
              <a:srgbClr val="8C62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3" name="Freeform 24"/>
            <p:cNvSpPr>
              <a:spLocks/>
            </p:cNvSpPr>
            <p:nvPr/>
          </p:nvSpPr>
          <p:spPr bwMode="auto">
            <a:xfrm>
              <a:off x="1930400" y="882650"/>
              <a:ext cx="157163" cy="152400"/>
            </a:xfrm>
            <a:custGeom>
              <a:avLst/>
              <a:gdLst>
                <a:gd name="T0" fmla="*/ 96 w 99"/>
                <a:gd name="T1" fmla="*/ 96 h 96"/>
                <a:gd name="T2" fmla="*/ 0 w 99"/>
                <a:gd name="T3" fmla="*/ 13 h 96"/>
                <a:gd name="T4" fmla="*/ 1 w 99"/>
                <a:gd name="T5" fmla="*/ 10 h 96"/>
                <a:gd name="T6" fmla="*/ 80 w 99"/>
                <a:gd name="T7" fmla="*/ 78 h 96"/>
                <a:gd name="T8" fmla="*/ 11 w 99"/>
                <a:gd name="T9" fmla="*/ 1 h 96"/>
                <a:gd name="T10" fmla="*/ 14 w 99"/>
                <a:gd name="T11" fmla="*/ 0 h 96"/>
                <a:gd name="T12" fmla="*/ 99 w 99"/>
                <a:gd name="T13" fmla="*/ 94 h 96"/>
                <a:gd name="T14" fmla="*/ 96 w 99"/>
                <a:gd name="T15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9" h="96">
                  <a:moveTo>
                    <a:pt x="96" y="96"/>
                  </a:moveTo>
                  <a:lnTo>
                    <a:pt x="0" y="13"/>
                  </a:lnTo>
                  <a:lnTo>
                    <a:pt x="1" y="10"/>
                  </a:lnTo>
                  <a:lnTo>
                    <a:pt x="80" y="78"/>
                  </a:lnTo>
                  <a:lnTo>
                    <a:pt x="11" y="1"/>
                  </a:lnTo>
                  <a:lnTo>
                    <a:pt x="14" y="0"/>
                  </a:lnTo>
                  <a:lnTo>
                    <a:pt x="99" y="94"/>
                  </a:lnTo>
                  <a:lnTo>
                    <a:pt x="96" y="96"/>
                  </a:lnTo>
                  <a:close/>
                </a:path>
              </a:pathLst>
            </a:custGeom>
            <a:solidFill>
              <a:srgbClr val="8C62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4" name="Freeform 25"/>
            <p:cNvSpPr>
              <a:spLocks/>
            </p:cNvSpPr>
            <p:nvPr/>
          </p:nvSpPr>
          <p:spPr bwMode="auto">
            <a:xfrm>
              <a:off x="1966913" y="863600"/>
              <a:ext cx="115888" cy="165100"/>
            </a:xfrm>
            <a:custGeom>
              <a:avLst/>
              <a:gdLst>
                <a:gd name="T0" fmla="*/ 73 w 73"/>
                <a:gd name="T1" fmla="*/ 103 h 104"/>
                <a:gd name="T2" fmla="*/ 70 w 73"/>
                <a:gd name="T3" fmla="*/ 104 h 104"/>
                <a:gd name="T4" fmla="*/ 0 w 73"/>
                <a:gd name="T5" fmla="*/ 3 h 104"/>
                <a:gd name="T6" fmla="*/ 3 w 73"/>
                <a:gd name="T7" fmla="*/ 0 h 104"/>
                <a:gd name="T8" fmla="*/ 73 w 73"/>
                <a:gd name="T9" fmla="*/ 103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3" h="104">
                  <a:moveTo>
                    <a:pt x="73" y="103"/>
                  </a:moveTo>
                  <a:lnTo>
                    <a:pt x="70" y="104"/>
                  </a:lnTo>
                  <a:lnTo>
                    <a:pt x="0" y="3"/>
                  </a:lnTo>
                  <a:lnTo>
                    <a:pt x="3" y="0"/>
                  </a:lnTo>
                  <a:lnTo>
                    <a:pt x="73" y="103"/>
                  </a:lnTo>
                  <a:close/>
                </a:path>
              </a:pathLst>
            </a:custGeom>
            <a:solidFill>
              <a:srgbClr val="8C62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5" name="Freeform 26"/>
            <p:cNvSpPr>
              <a:spLocks/>
            </p:cNvSpPr>
            <p:nvPr/>
          </p:nvSpPr>
          <p:spPr bwMode="auto">
            <a:xfrm>
              <a:off x="1931988" y="869950"/>
              <a:ext cx="66675" cy="60325"/>
            </a:xfrm>
            <a:custGeom>
              <a:avLst/>
              <a:gdLst>
                <a:gd name="T0" fmla="*/ 42 w 42"/>
                <a:gd name="T1" fmla="*/ 2 h 38"/>
                <a:gd name="T2" fmla="*/ 3 w 42"/>
                <a:gd name="T3" fmla="*/ 38 h 38"/>
                <a:gd name="T4" fmla="*/ 0 w 42"/>
                <a:gd name="T5" fmla="*/ 37 h 38"/>
                <a:gd name="T6" fmla="*/ 40 w 42"/>
                <a:gd name="T7" fmla="*/ 0 h 38"/>
                <a:gd name="T8" fmla="*/ 42 w 42"/>
                <a:gd name="T9" fmla="*/ 2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38">
                  <a:moveTo>
                    <a:pt x="42" y="2"/>
                  </a:moveTo>
                  <a:lnTo>
                    <a:pt x="3" y="38"/>
                  </a:lnTo>
                  <a:lnTo>
                    <a:pt x="0" y="37"/>
                  </a:lnTo>
                  <a:lnTo>
                    <a:pt x="40" y="0"/>
                  </a:lnTo>
                  <a:lnTo>
                    <a:pt x="42" y="2"/>
                  </a:lnTo>
                  <a:close/>
                </a:path>
              </a:pathLst>
            </a:custGeom>
            <a:solidFill>
              <a:srgbClr val="8C62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6" name="Freeform 27"/>
            <p:cNvSpPr>
              <a:spLocks/>
            </p:cNvSpPr>
            <p:nvPr/>
          </p:nvSpPr>
          <p:spPr bwMode="auto">
            <a:xfrm>
              <a:off x="1957388" y="898525"/>
              <a:ext cx="57150" cy="50800"/>
            </a:xfrm>
            <a:custGeom>
              <a:avLst/>
              <a:gdLst>
                <a:gd name="T0" fmla="*/ 36 w 36"/>
                <a:gd name="T1" fmla="*/ 1 h 32"/>
                <a:gd name="T2" fmla="*/ 3 w 36"/>
                <a:gd name="T3" fmla="*/ 32 h 32"/>
                <a:gd name="T4" fmla="*/ 0 w 36"/>
                <a:gd name="T5" fmla="*/ 29 h 32"/>
                <a:gd name="T6" fmla="*/ 33 w 36"/>
                <a:gd name="T7" fmla="*/ 0 h 32"/>
                <a:gd name="T8" fmla="*/ 36 w 36"/>
                <a:gd name="T9" fmla="*/ 1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2">
                  <a:moveTo>
                    <a:pt x="36" y="1"/>
                  </a:moveTo>
                  <a:lnTo>
                    <a:pt x="3" y="32"/>
                  </a:lnTo>
                  <a:lnTo>
                    <a:pt x="0" y="29"/>
                  </a:lnTo>
                  <a:lnTo>
                    <a:pt x="33" y="0"/>
                  </a:lnTo>
                  <a:lnTo>
                    <a:pt x="36" y="1"/>
                  </a:lnTo>
                  <a:close/>
                </a:path>
              </a:pathLst>
            </a:custGeom>
            <a:solidFill>
              <a:srgbClr val="8C62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7" name="Freeform 28"/>
            <p:cNvSpPr>
              <a:spLocks/>
            </p:cNvSpPr>
            <p:nvPr/>
          </p:nvSpPr>
          <p:spPr bwMode="auto">
            <a:xfrm>
              <a:off x="1982788" y="923925"/>
              <a:ext cx="46038" cy="41275"/>
            </a:xfrm>
            <a:custGeom>
              <a:avLst/>
              <a:gdLst>
                <a:gd name="T0" fmla="*/ 29 w 29"/>
                <a:gd name="T1" fmla="*/ 3 h 26"/>
                <a:gd name="T2" fmla="*/ 3 w 29"/>
                <a:gd name="T3" fmla="*/ 26 h 26"/>
                <a:gd name="T4" fmla="*/ 0 w 29"/>
                <a:gd name="T5" fmla="*/ 23 h 26"/>
                <a:gd name="T6" fmla="*/ 26 w 29"/>
                <a:gd name="T7" fmla="*/ 0 h 26"/>
                <a:gd name="T8" fmla="*/ 29 w 29"/>
                <a:gd name="T9" fmla="*/ 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26">
                  <a:moveTo>
                    <a:pt x="29" y="3"/>
                  </a:moveTo>
                  <a:lnTo>
                    <a:pt x="3" y="26"/>
                  </a:lnTo>
                  <a:lnTo>
                    <a:pt x="0" y="23"/>
                  </a:lnTo>
                  <a:lnTo>
                    <a:pt x="26" y="0"/>
                  </a:lnTo>
                  <a:lnTo>
                    <a:pt x="29" y="3"/>
                  </a:lnTo>
                  <a:close/>
                </a:path>
              </a:pathLst>
            </a:custGeom>
            <a:solidFill>
              <a:srgbClr val="8C62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8" name="Freeform 29"/>
            <p:cNvSpPr>
              <a:spLocks/>
            </p:cNvSpPr>
            <p:nvPr/>
          </p:nvSpPr>
          <p:spPr bwMode="auto">
            <a:xfrm>
              <a:off x="2005013" y="949325"/>
              <a:ext cx="36513" cy="31750"/>
            </a:xfrm>
            <a:custGeom>
              <a:avLst/>
              <a:gdLst>
                <a:gd name="T0" fmla="*/ 23 w 23"/>
                <a:gd name="T1" fmla="*/ 1 h 20"/>
                <a:gd name="T2" fmla="*/ 2 w 23"/>
                <a:gd name="T3" fmla="*/ 20 h 20"/>
                <a:gd name="T4" fmla="*/ 0 w 23"/>
                <a:gd name="T5" fmla="*/ 17 h 20"/>
                <a:gd name="T6" fmla="*/ 20 w 23"/>
                <a:gd name="T7" fmla="*/ 0 h 20"/>
                <a:gd name="T8" fmla="*/ 23 w 23"/>
                <a:gd name="T9" fmla="*/ 1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0">
                  <a:moveTo>
                    <a:pt x="23" y="1"/>
                  </a:moveTo>
                  <a:lnTo>
                    <a:pt x="2" y="20"/>
                  </a:lnTo>
                  <a:lnTo>
                    <a:pt x="0" y="17"/>
                  </a:lnTo>
                  <a:lnTo>
                    <a:pt x="20" y="0"/>
                  </a:lnTo>
                  <a:lnTo>
                    <a:pt x="23" y="1"/>
                  </a:lnTo>
                  <a:close/>
                </a:path>
              </a:pathLst>
            </a:custGeom>
            <a:solidFill>
              <a:srgbClr val="8C62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9" name="Freeform 30"/>
            <p:cNvSpPr>
              <a:spLocks noEditPoints="1"/>
            </p:cNvSpPr>
            <p:nvPr/>
          </p:nvSpPr>
          <p:spPr bwMode="auto">
            <a:xfrm>
              <a:off x="1898650" y="1039813"/>
              <a:ext cx="193675" cy="184150"/>
            </a:xfrm>
            <a:custGeom>
              <a:avLst/>
              <a:gdLst>
                <a:gd name="T0" fmla="*/ 122 w 122"/>
                <a:gd name="T1" fmla="*/ 0 h 116"/>
                <a:gd name="T2" fmla="*/ 43 w 122"/>
                <a:gd name="T3" fmla="*/ 116 h 116"/>
                <a:gd name="T4" fmla="*/ 0 w 122"/>
                <a:gd name="T5" fmla="*/ 68 h 116"/>
                <a:gd name="T6" fmla="*/ 122 w 122"/>
                <a:gd name="T7" fmla="*/ 0 h 116"/>
                <a:gd name="T8" fmla="*/ 43 w 122"/>
                <a:gd name="T9" fmla="*/ 110 h 116"/>
                <a:gd name="T10" fmla="*/ 112 w 122"/>
                <a:gd name="T11" fmla="*/ 10 h 116"/>
                <a:gd name="T12" fmla="*/ 5 w 122"/>
                <a:gd name="T13" fmla="*/ 70 h 116"/>
                <a:gd name="T14" fmla="*/ 43 w 122"/>
                <a:gd name="T15" fmla="*/ 11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2" h="116">
                  <a:moveTo>
                    <a:pt x="122" y="0"/>
                  </a:moveTo>
                  <a:lnTo>
                    <a:pt x="43" y="116"/>
                  </a:lnTo>
                  <a:lnTo>
                    <a:pt x="0" y="68"/>
                  </a:lnTo>
                  <a:lnTo>
                    <a:pt x="122" y="0"/>
                  </a:lnTo>
                  <a:close/>
                  <a:moveTo>
                    <a:pt x="43" y="110"/>
                  </a:moveTo>
                  <a:lnTo>
                    <a:pt x="112" y="10"/>
                  </a:lnTo>
                  <a:lnTo>
                    <a:pt x="5" y="70"/>
                  </a:lnTo>
                  <a:lnTo>
                    <a:pt x="43" y="110"/>
                  </a:lnTo>
                  <a:close/>
                </a:path>
              </a:pathLst>
            </a:custGeom>
            <a:solidFill>
              <a:srgbClr val="8C62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0" name="Freeform 31"/>
            <p:cNvSpPr>
              <a:spLocks/>
            </p:cNvSpPr>
            <p:nvPr/>
          </p:nvSpPr>
          <p:spPr bwMode="auto">
            <a:xfrm>
              <a:off x="1931988" y="1047750"/>
              <a:ext cx="153988" cy="157163"/>
            </a:xfrm>
            <a:custGeom>
              <a:avLst/>
              <a:gdLst>
                <a:gd name="T0" fmla="*/ 97 w 97"/>
                <a:gd name="T1" fmla="*/ 1 h 99"/>
                <a:gd name="T2" fmla="*/ 15 w 97"/>
                <a:gd name="T3" fmla="*/ 99 h 99"/>
                <a:gd name="T4" fmla="*/ 12 w 97"/>
                <a:gd name="T5" fmla="*/ 98 h 99"/>
                <a:gd name="T6" fmla="*/ 79 w 97"/>
                <a:gd name="T7" fmla="*/ 18 h 99"/>
                <a:gd name="T8" fmla="*/ 3 w 97"/>
                <a:gd name="T9" fmla="*/ 88 h 99"/>
                <a:gd name="T10" fmla="*/ 0 w 97"/>
                <a:gd name="T11" fmla="*/ 85 h 99"/>
                <a:gd name="T12" fmla="*/ 95 w 97"/>
                <a:gd name="T13" fmla="*/ 0 h 99"/>
                <a:gd name="T14" fmla="*/ 97 w 97"/>
                <a:gd name="T15" fmla="*/ 1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7" h="99">
                  <a:moveTo>
                    <a:pt x="97" y="1"/>
                  </a:moveTo>
                  <a:lnTo>
                    <a:pt x="15" y="99"/>
                  </a:lnTo>
                  <a:lnTo>
                    <a:pt x="12" y="98"/>
                  </a:lnTo>
                  <a:lnTo>
                    <a:pt x="79" y="18"/>
                  </a:lnTo>
                  <a:lnTo>
                    <a:pt x="3" y="88"/>
                  </a:lnTo>
                  <a:lnTo>
                    <a:pt x="0" y="85"/>
                  </a:lnTo>
                  <a:lnTo>
                    <a:pt x="95" y="0"/>
                  </a:lnTo>
                  <a:lnTo>
                    <a:pt x="97" y="1"/>
                  </a:lnTo>
                  <a:close/>
                </a:path>
              </a:pathLst>
            </a:custGeom>
            <a:solidFill>
              <a:srgbClr val="8C62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1" name="Freeform 32"/>
            <p:cNvSpPr>
              <a:spLocks/>
            </p:cNvSpPr>
            <p:nvPr/>
          </p:nvSpPr>
          <p:spPr bwMode="auto">
            <a:xfrm>
              <a:off x="1916113" y="1052513"/>
              <a:ext cx="165100" cy="114300"/>
            </a:xfrm>
            <a:custGeom>
              <a:avLst/>
              <a:gdLst>
                <a:gd name="T0" fmla="*/ 102 w 104"/>
                <a:gd name="T1" fmla="*/ 0 h 72"/>
                <a:gd name="T2" fmla="*/ 104 w 104"/>
                <a:gd name="T3" fmla="*/ 2 h 72"/>
                <a:gd name="T4" fmla="*/ 1 w 104"/>
                <a:gd name="T5" fmla="*/ 72 h 72"/>
                <a:gd name="T6" fmla="*/ 0 w 104"/>
                <a:gd name="T7" fmla="*/ 69 h 72"/>
                <a:gd name="T8" fmla="*/ 102 w 104"/>
                <a:gd name="T9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" h="72">
                  <a:moveTo>
                    <a:pt x="102" y="0"/>
                  </a:moveTo>
                  <a:lnTo>
                    <a:pt x="104" y="2"/>
                  </a:lnTo>
                  <a:lnTo>
                    <a:pt x="1" y="72"/>
                  </a:lnTo>
                  <a:lnTo>
                    <a:pt x="0" y="69"/>
                  </a:lnTo>
                  <a:lnTo>
                    <a:pt x="102" y="0"/>
                  </a:lnTo>
                  <a:close/>
                </a:path>
              </a:pathLst>
            </a:custGeom>
            <a:solidFill>
              <a:srgbClr val="8C62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2" name="Freeform 33"/>
            <p:cNvSpPr>
              <a:spLocks/>
            </p:cNvSpPr>
            <p:nvPr/>
          </p:nvSpPr>
          <p:spPr bwMode="auto">
            <a:xfrm>
              <a:off x="1920875" y="1136650"/>
              <a:ext cx="61913" cy="63500"/>
            </a:xfrm>
            <a:custGeom>
              <a:avLst/>
              <a:gdLst>
                <a:gd name="T0" fmla="*/ 3 w 39"/>
                <a:gd name="T1" fmla="*/ 0 h 40"/>
                <a:gd name="T2" fmla="*/ 39 w 39"/>
                <a:gd name="T3" fmla="*/ 39 h 40"/>
                <a:gd name="T4" fmla="*/ 36 w 39"/>
                <a:gd name="T5" fmla="*/ 40 h 40"/>
                <a:gd name="T6" fmla="*/ 0 w 39"/>
                <a:gd name="T7" fmla="*/ 1 h 40"/>
                <a:gd name="T8" fmla="*/ 3 w 39"/>
                <a:gd name="T9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40">
                  <a:moveTo>
                    <a:pt x="3" y="0"/>
                  </a:moveTo>
                  <a:lnTo>
                    <a:pt x="39" y="39"/>
                  </a:lnTo>
                  <a:lnTo>
                    <a:pt x="36" y="40"/>
                  </a:lnTo>
                  <a:lnTo>
                    <a:pt x="0" y="1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8C62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3" name="Freeform 34"/>
            <p:cNvSpPr>
              <a:spLocks/>
            </p:cNvSpPr>
            <p:nvPr/>
          </p:nvSpPr>
          <p:spPr bwMode="auto">
            <a:xfrm>
              <a:off x="1947863" y="1120775"/>
              <a:ext cx="52388" cy="53975"/>
            </a:xfrm>
            <a:custGeom>
              <a:avLst/>
              <a:gdLst>
                <a:gd name="T0" fmla="*/ 3 w 33"/>
                <a:gd name="T1" fmla="*/ 0 h 34"/>
                <a:gd name="T2" fmla="*/ 33 w 33"/>
                <a:gd name="T3" fmla="*/ 33 h 34"/>
                <a:gd name="T4" fmla="*/ 30 w 33"/>
                <a:gd name="T5" fmla="*/ 34 h 34"/>
                <a:gd name="T6" fmla="*/ 0 w 33"/>
                <a:gd name="T7" fmla="*/ 1 h 34"/>
                <a:gd name="T8" fmla="*/ 3 w 33"/>
                <a:gd name="T9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34">
                  <a:moveTo>
                    <a:pt x="3" y="0"/>
                  </a:moveTo>
                  <a:lnTo>
                    <a:pt x="33" y="33"/>
                  </a:lnTo>
                  <a:lnTo>
                    <a:pt x="30" y="34"/>
                  </a:lnTo>
                  <a:lnTo>
                    <a:pt x="0" y="1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8C62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4" name="Freeform 35"/>
            <p:cNvSpPr>
              <a:spLocks/>
            </p:cNvSpPr>
            <p:nvPr/>
          </p:nvSpPr>
          <p:spPr bwMode="auto">
            <a:xfrm>
              <a:off x="1974850" y="1106488"/>
              <a:ext cx="41275" cy="46038"/>
            </a:xfrm>
            <a:custGeom>
              <a:avLst/>
              <a:gdLst>
                <a:gd name="T0" fmla="*/ 2 w 26"/>
                <a:gd name="T1" fmla="*/ 0 h 29"/>
                <a:gd name="T2" fmla="*/ 26 w 26"/>
                <a:gd name="T3" fmla="*/ 26 h 29"/>
                <a:gd name="T4" fmla="*/ 24 w 26"/>
                <a:gd name="T5" fmla="*/ 29 h 29"/>
                <a:gd name="T6" fmla="*/ 0 w 26"/>
                <a:gd name="T7" fmla="*/ 2 h 29"/>
                <a:gd name="T8" fmla="*/ 2 w 26"/>
                <a:gd name="T9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29">
                  <a:moveTo>
                    <a:pt x="2" y="0"/>
                  </a:moveTo>
                  <a:lnTo>
                    <a:pt x="26" y="26"/>
                  </a:lnTo>
                  <a:lnTo>
                    <a:pt x="24" y="29"/>
                  </a:lnTo>
                  <a:lnTo>
                    <a:pt x="0" y="2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8C62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5" name="Freeform 36"/>
            <p:cNvSpPr>
              <a:spLocks/>
            </p:cNvSpPr>
            <p:nvPr/>
          </p:nvSpPr>
          <p:spPr bwMode="auto">
            <a:xfrm>
              <a:off x="1998663" y="1092200"/>
              <a:ext cx="33338" cy="38100"/>
            </a:xfrm>
            <a:custGeom>
              <a:avLst/>
              <a:gdLst>
                <a:gd name="T0" fmla="*/ 3 w 21"/>
                <a:gd name="T1" fmla="*/ 0 h 24"/>
                <a:gd name="T2" fmla="*/ 21 w 21"/>
                <a:gd name="T3" fmla="*/ 21 h 24"/>
                <a:gd name="T4" fmla="*/ 19 w 21"/>
                <a:gd name="T5" fmla="*/ 24 h 24"/>
                <a:gd name="T6" fmla="*/ 0 w 21"/>
                <a:gd name="T7" fmla="*/ 2 h 24"/>
                <a:gd name="T8" fmla="*/ 3 w 21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24">
                  <a:moveTo>
                    <a:pt x="3" y="0"/>
                  </a:moveTo>
                  <a:lnTo>
                    <a:pt x="21" y="21"/>
                  </a:lnTo>
                  <a:lnTo>
                    <a:pt x="19" y="24"/>
                  </a:lnTo>
                  <a:lnTo>
                    <a:pt x="0" y="2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8C62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6" name="Freeform 37"/>
            <p:cNvSpPr>
              <a:spLocks noEditPoints="1"/>
            </p:cNvSpPr>
            <p:nvPr/>
          </p:nvSpPr>
          <p:spPr bwMode="auto">
            <a:xfrm>
              <a:off x="2092325" y="1039813"/>
              <a:ext cx="182563" cy="195263"/>
            </a:xfrm>
            <a:custGeom>
              <a:avLst/>
              <a:gdLst>
                <a:gd name="T0" fmla="*/ 0 w 115"/>
                <a:gd name="T1" fmla="*/ 0 h 123"/>
                <a:gd name="T2" fmla="*/ 115 w 115"/>
                <a:gd name="T3" fmla="*/ 80 h 123"/>
                <a:gd name="T4" fmla="*/ 68 w 115"/>
                <a:gd name="T5" fmla="*/ 123 h 123"/>
                <a:gd name="T6" fmla="*/ 0 w 115"/>
                <a:gd name="T7" fmla="*/ 0 h 123"/>
                <a:gd name="T8" fmla="*/ 109 w 115"/>
                <a:gd name="T9" fmla="*/ 81 h 123"/>
                <a:gd name="T10" fmla="*/ 10 w 115"/>
                <a:gd name="T11" fmla="*/ 12 h 123"/>
                <a:gd name="T12" fmla="*/ 68 w 115"/>
                <a:gd name="T13" fmla="*/ 119 h 123"/>
                <a:gd name="T14" fmla="*/ 109 w 115"/>
                <a:gd name="T15" fmla="*/ 81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5" h="123">
                  <a:moveTo>
                    <a:pt x="0" y="0"/>
                  </a:moveTo>
                  <a:lnTo>
                    <a:pt x="115" y="80"/>
                  </a:lnTo>
                  <a:lnTo>
                    <a:pt x="68" y="123"/>
                  </a:lnTo>
                  <a:lnTo>
                    <a:pt x="0" y="0"/>
                  </a:lnTo>
                  <a:close/>
                  <a:moveTo>
                    <a:pt x="109" y="81"/>
                  </a:moveTo>
                  <a:lnTo>
                    <a:pt x="10" y="12"/>
                  </a:lnTo>
                  <a:lnTo>
                    <a:pt x="68" y="119"/>
                  </a:lnTo>
                  <a:lnTo>
                    <a:pt x="109" y="81"/>
                  </a:lnTo>
                  <a:close/>
                </a:path>
              </a:pathLst>
            </a:custGeom>
            <a:solidFill>
              <a:srgbClr val="8C62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7" name="Freeform 38"/>
            <p:cNvSpPr>
              <a:spLocks/>
            </p:cNvSpPr>
            <p:nvPr/>
          </p:nvSpPr>
          <p:spPr bwMode="auto">
            <a:xfrm>
              <a:off x="2098675" y="1047750"/>
              <a:ext cx="158750" cy="152400"/>
            </a:xfrm>
            <a:custGeom>
              <a:avLst/>
              <a:gdLst>
                <a:gd name="T0" fmla="*/ 2 w 100"/>
                <a:gd name="T1" fmla="*/ 0 h 96"/>
                <a:gd name="T2" fmla="*/ 100 w 100"/>
                <a:gd name="T3" fmla="*/ 83 h 96"/>
                <a:gd name="T4" fmla="*/ 97 w 100"/>
                <a:gd name="T5" fmla="*/ 86 h 96"/>
                <a:gd name="T6" fmla="*/ 19 w 100"/>
                <a:gd name="T7" fmla="*/ 18 h 96"/>
                <a:gd name="T8" fmla="*/ 87 w 100"/>
                <a:gd name="T9" fmla="*/ 95 h 96"/>
                <a:gd name="T10" fmla="*/ 85 w 100"/>
                <a:gd name="T11" fmla="*/ 96 h 96"/>
                <a:gd name="T12" fmla="*/ 0 w 100"/>
                <a:gd name="T13" fmla="*/ 3 h 96"/>
                <a:gd name="T14" fmla="*/ 2 w 100"/>
                <a:gd name="T15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0" h="96">
                  <a:moveTo>
                    <a:pt x="2" y="0"/>
                  </a:moveTo>
                  <a:lnTo>
                    <a:pt x="100" y="83"/>
                  </a:lnTo>
                  <a:lnTo>
                    <a:pt x="97" y="86"/>
                  </a:lnTo>
                  <a:lnTo>
                    <a:pt x="19" y="18"/>
                  </a:lnTo>
                  <a:lnTo>
                    <a:pt x="87" y="95"/>
                  </a:lnTo>
                  <a:lnTo>
                    <a:pt x="85" y="96"/>
                  </a:lnTo>
                  <a:lnTo>
                    <a:pt x="0" y="3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8C62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8" name="Freeform 39"/>
            <p:cNvSpPr>
              <a:spLocks/>
            </p:cNvSpPr>
            <p:nvPr/>
          </p:nvSpPr>
          <p:spPr bwMode="auto">
            <a:xfrm>
              <a:off x="2103438" y="1054100"/>
              <a:ext cx="114300" cy="165100"/>
            </a:xfrm>
            <a:custGeom>
              <a:avLst/>
              <a:gdLst>
                <a:gd name="T0" fmla="*/ 0 w 72"/>
                <a:gd name="T1" fmla="*/ 1 h 104"/>
                <a:gd name="T2" fmla="*/ 3 w 72"/>
                <a:gd name="T3" fmla="*/ 0 h 104"/>
                <a:gd name="T4" fmla="*/ 72 w 72"/>
                <a:gd name="T5" fmla="*/ 101 h 104"/>
                <a:gd name="T6" fmla="*/ 69 w 72"/>
                <a:gd name="T7" fmla="*/ 104 h 104"/>
                <a:gd name="T8" fmla="*/ 0 w 72"/>
                <a:gd name="T9" fmla="*/ 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104">
                  <a:moveTo>
                    <a:pt x="0" y="1"/>
                  </a:moveTo>
                  <a:lnTo>
                    <a:pt x="3" y="0"/>
                  </a:lnTo>
                  <a:lnTo>
                    <a:pt x="72" y="101"/>
                  </a:lnTo>
                  <a:lnTo>
                    <a:pt x="69" y="104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8C62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9" name="Freeform 40"/>
            <p:cNvSpPr>
              <a:spLocks/>
            </p:cNvSpPr>
            <p:nvPr/>
          </p:nvSpPr>
          <p:spPr bwMode="auto">
            <a:xfrm>
              <a:off x="2185988" y="1152525"/>
              <a:ext cx="66675" cy="60325"/>
            </a:xfrm>
            <a:custGeom>
              <a:avLst/>
              <a:gdLst>
                <a:gd name="T0" fmla="*/ 0 w 42"/>
                <a:gd name="T1" fmla="*/ 35 h 38"/>
                <a:gd name="T2" fmla="*/ 40 w 42"/>
                <a:gd name="T3" fmla="*/ 0 h 38"/>
                <a:gd name="T4" fmla="*/ 42 w 42"/>
                <a:gd name="T5" fmla="*/ 1 h 38"/>
                <a:gd name="T6" fmla="*/ 3 w 42"/>
                <a:gd name="T7" fmla="*/ 38 h 38"/>
                <a:gd name="T8" fmla="*/ 0 w 42"/>
                <a:gd name="T9" fmla="*/ 3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38">
                  <a:moveTo>
                    <a:pt x="0" y="35"/>
                  </a:moveTo>
                  <a:lnTo>
                    <a:pt x="40" y="0"/>
                  </a:lnTo>
                  <a:lnTo>
                    <a:pt x="42" y="1"/>
                  </a:lnTo>
                  <a:lnTo>
                    <a:pt x="3" y="38"/>
                  </a:lnTo>
                  <a:lnTo>
                    <a:pt x="0" y="35"/>
                  </a:lnTo>
                  <a:close/>
                </a:path>
              </a:pathLst>
            </a:custGeom>
            <a:solidFill>
              <a:srgbClr val="8C62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0" name="Freeform 41"/>
            <p:cNvSpPr>
              <a:spLocks/>
            </p:cNvSpPr>
            <p:nvPr/>
          </p:nvSpPr>
          <p:spPr bwMode="auto">
            <a:xfrm>
              <a:off x="2171700" y="1133475"/>
              <a:ext cx="55563" cy="50800"/>
            </a:xfrm>
            <a:custGeom>
              <a:avLst/>
              <a:gdLst>
                <a:gd name="T0" fmla="*/ 0 w 35"/>
                <a:gd name="T1" fmla="*/ 31 h 32"/>
                <a:gd name="T2" fmla="*/ 33 w 35"/>
                <a:gd name="T3" fmla="*/ 0 h 32"/>
                <a:gd name="T4" fmla="*/ 35 w 35"/>
                <a:gd name="T5" fmla="*/ 3 h 32"/>
                <a:gd name="T6" fmla="*/ 2 w 35"/>
                <a:gd name="T7" fmla="*/ 32 h 32"/>
                <a:gd name="T8" fmla="*/ 0 w 35"/>
                <a:gd name="T9" fmla="*/ 31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32">
                  <a:moveTo>
                    <a:pt x="0" y="31"/>
                  </a:moveTo>
                  <a:lnTo>
                    <a:pt x="33" y="0"/>
                  </a:lnTo>
                  <a:lnTo>
                    <a:pt x="35" y="3"/>
                  </a:lnTo>
                  <a:lnTo>
                    <a:pt x="2" y="32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8C62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1" name="Freeform 42"/>
            <p:cNvSpPr>
              <a:spLocks/>
            </p:cNvSpPr>
            <p:nvPr/>
          </p:nvSpPr>
          <p:spPr bwMode="auto">
            <a:xfrm>
              <a:off x="2159000" y="1117600"/>
              <a:ext cx="42863" cy="41275"/>
            </a:xfrm>
            <a:custGeom>
              <a:avLst/>
              <a:gdLst>
                <a:gd name="T0" fmla="*/ 0 w 27"/>
                <a:gd name="T1" fmla="*/ 23 h 26"/>
                <a:gd name="T2" fmla="*/ 26 w 27"/>
                <a:gd name="T3" fmla="*/ 0 h 26"/>
                <a:gd name="T4" fmla="*/ 27 w 27"/>
                <a:gd name="T5" fmla="*/ 2 h 26"/>
                <a:gd name="T6" fmla="*/ 1 w 27"/>
                <a:gd name="T7" fmla="*/ 26 h 26"/>
                <a:gd name="T8" fmla="*/ 0 w 27"/>
                <a:gd name="T9" fmla="*/ 2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26">
                  <a:moveTo>
                    <a:pt x="0" y="23"/>
                  </a:moveTo>
                  <a:lnTo>
                    <a:pt x="26" y="0"/>
                  </a:lnTo>
                  <a:lnTo>
                    <a:pt x="27" y="2"/>
                  </a:lnTo>
                  <a:lnTo>
                    <a:pt x="1" y="26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rgbClr val="8C62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2" name="Freeform 43"/>
            <p:cNvSpPr>
              <a:spLocks/>
            </p:cNvSpPr>
            <p:nvPr/>
          </p:nvSpPr>
          <p:spPr bwMode="auto">
            <a:xfrm>
              <a:off x="2144713" y="1101725"/>
              <a:ext cx="34925" cy="31750"/>
            </a:xfrm>
            <a:custGeom>
              <a:avLst/>
              <a:gdLst>
                <a:gd name="T0" fmla="*/ 0 w 22"/>
                <a:gd name="T1" fmla="*/ 19 h 20"/>
                <a:gd name="T2" fmla="*/ 20 w 22"/>
                <a:gd name="T3" fmla="*/ 0 h 20"/>
                <a:gd name="T4" fmla="*/ 22 w 22"/>
                <a:gd name="T5" fmla="*/ 2 h 20"/>
                <a:gd name="T6" fmla="*/ 2 w 22"/>
                <a:gd name="T7" fmla="*/ 20 h 20"/>
                <a:gd name="T8" fmla="*/ 0 w 22"/>
                <a:gd name="T9" fmla="*/ 1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20">
                  <a:moveTo>
                    <a:pt x="0" y="19"/>
                  </a:moveTo>
                  <a:lnTo>
                    <a:pt x="20" y="0"/>
                  </a:lnTo>
                  <a:lnTo>
                    <a:pt x="22" y="2"/>
                  </a:lnTo>
                  <a:lnTo>
                    <a:pt x="2" y="20"/>
                  </a:lnTo>
                  <a:lnTo>
                    <a:pt x="0" y="19"/>
                  </a:lnTo>
                  <a:close/>
                </a:path>
              </a:pathLst>
            </a:custGeom>
            <a:solidFill>
              <a:srgbClr val="8C62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3" name="Freeform 44"/>
            <p:cNvSpPr>
              <a:spLocks noEditPoints="1"/>
            </p:cNvSpPr>
            <p:nvPr/>
          </p:nvSpPr>
          <p:spPr bwMode="auto">
            <a:xfrm>
              <a:off x="2092325" y="858838"/>
              <a:ext cx="193675" cy="180975"/>
            </a:xfrm>
            <a:custGeom>
              <a:avLst/>
              <a:gdLst>
                <a:gd name="T0" fmla="*/ 0 w 122"/>
                <a:gd name="T1" fmla="*/ 114 h 114"/>
                <a:gd name="T2" fmla="*/ 79 w 122"/>
                <a:gd name="T3" fmla="*/ 0 h 114"/>
                <a:gd name="T4" fmla="*/ 122 w 122"/>
                <a:gd name="T5" fmla="*/ 48 h 114"/>
                <a:gd name="T6" fmla="*/ 0 w 122"/>
                <a:gd name="T7" fmla="*/ 114 h 114"/>
                <a:gd name="T8" fmla="*/ 79 w 122"/>
                <a:gd name="T9" fmla="*/ 5 h 114"/>
                <a:gd name="T10" fmla="*/ 10 w 122"/>
                <a:gd name="T11" fmla="*/ 106 h 114"/>
                <a:gd name="T12" fmla="*/ 117 w 122"/>
                <a:gd name="T13" fmla="*/ 46 h 114"/>
                <a:gd name="T14" fmla="*/ 79 w 122"/>
                <a:gd name="T15" fmla="*/ 5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2" h="114">
                  <a:moveTo>
                    <a:pt x="0" y="114"/>
                  </a:moveTo>
                  <a:lnTo>
                    <a:pt x="79" y="0"/>
                  </a:lnTo>
                  <a:lnTo>
                    <a:pt x="122" y="48"/>
                  </a:lnTo>
                  <a:lnTo>
                    <a:pt x="0" y="114"/>
                  </a:lnTo>
                  <a:close/>
                  <a:moveTo>
                    <a:pt x="79" y="5"/>
                  </a:moveTo>
                  <a:lnTo>
                    <a:pt x="10" y="106"/>
                  </a:lnTo>
                  <a:lnTo>
                    <a:pt x="117" y="46"/>
                  </a:lnTo>
                  <a:lnTo>
                    <a:pt x="79" y="5"/>
                  </a:lnTo>
                  <a:close/>
                </a:path>
              </a:pathLst>
            </a:custGeom>
            <a:solidFill>
              <a:srgbClr val="8C62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4" name="Freeform 45"/>
            <p:cNvSpPr>
              <a:spLocks/>
            </p:cNvSpPr>
            <p:nvPr/>
          </p:nvSpPr>
          <p:spPr bwMode="auto">
            <a:xfrm>
              <a:off x="2098675" y="877888"/>
              <a:ext cx="153988" cy="157163"/>
            </a:xfrm>
            <a:custGeom>
              <a:avLst/>
              <a:gdLst>
                <a:gd name="T0" fmla="*/ 0 w 97"/>
                <a:gd name="T1" fmla="*/ 97 h 99"/>
                <a:gd name="T2" fmla="*/ 84 w 97"/>
                <a:gd name="T3" fmla="*/ 0 h 99"/>
                <a:gd name="T4" fmla="*/ 85 w 97"/>
                <a:gd name="T5" fmla="*/ 1 h 99"/>
                <a:gd name="T6" fmla="*/ 19 w 97"/>
                <a:gd name="T7" fmla="*/ 81 h 99"/>
                <a:gd name="T8" fmla="*/ 94 w 97"/>
                <a:gd name="T9" fmla="*/ 11 h 99"/>
                <a:gd name="T10" fmla="*/ 97 w 97"/>
                <a:gd name="T11" fmla="*/ 14 h 99"/>
                <a:gd name="T12" fmla="*/ 3 w 97"/>
                <a:gd name="T13" fmla="*/ 99 h 99"/>
                <a:gd name="T14" fmla="*/ 0 w 97"/>
                <a:gd name="T15" fmla="*/ 97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7" h="99">
                  <a:moveTo>
                    <a:pt x="0" y="97"/>
                  </a:moveTo>
                  <a:lnTo>
                    <a:pt x="84" y="0"/>
                  </a:lnTo>
                  <a:lnTo>
                    <a:pt x="85" y="1"/>
                  </a:lnTo>
                  <a:lnTo>
                    <a:pt x="19" y="81"/>
                  </a:lnTo>
                  <a:lnTo>
                    <a:pt x="94" y="11"/>
                  </a:lnTo>
                  <a:lnTo>
                    <a:pt x="97" y="14"/>
                  </a:lnTo>
                  <a:lnTo>
                    <a:pt x="3" y="99"/>
                  </a:lnTo>
                  <a:lnTo>
                    <a:pt x="0" y="97"/>
                  </a:lnTo>
                  <a:close/>
                </a:path>
              </a:pathLst>
            </a:custGeom>
            <a:solidFill>
              <a:srgbClr val="8C62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5" name="Freeform 46"/>
            <p:cNvSpPr>
              <a:spLocks/>
            </p:cNvSpPr>
            <p:nvPr/>
          </p:nvSpPr>
          <p:spPr bwMode="auto">
            <a:xfrm>
              <a:off x="2106613" y="915988"/>
              <a:ext cx="161925" cy="115888"/>
            </a:xfrm>
            <a:custGeom>
              <a:avLst/>
              <a:gdLst>
                <a:gd name="T0" fmla="*/ 1 w 102"/>
                <a:gd name="T1" fmla="*/ 73 h 73"/>
                <a:gd name="T2" fmla="*/ 0 w 102"/>
                <a:gd name="T3" fmla="*/ 70 h 73"/>
                <a:gd name="T4" fmla="*/ 100 w 102"/>
                <a:gd name="T5" fmla="*/ 0 h 73"/>
                <a:gd name="T6" fmla="*/ 102 w 102"/>
                <a:gd name="T7" fmla="*/ 2 h 73"/>
                <a:gd name="T8" fmla="*/ 1 w 102"/>
                <a:gd name="T9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2" h="73">
                  <a:moveTo>
                    <a:pt x="1" y="73"/>
                  </a:moveTo>
                  <a:lnTo>
                    <a:pt x="0" y="70"/>
                  </a:lnTo>
                  <a:lnTo>
                    <a:pt x="100" y="0"/>
                  </a:lnTo>
                  <a:lnTo>
                    <a:pt x="102" y="2"/>
                  </a:lnTo>
                  <a:lnTo>
                    <a:pt x="1" y="73"/>
                  </a:lnTo>
                  <a:close/>
                </a:path>
              </a:pathLst>
            </a:custGeom>
            <a:solidFill>
              <a:srgbClr val="8C62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6" name="Freeform 47"/>
            <p:cNvSpPr>
              <a:spLocks/>
            </p:cNvSpPr>
            <p:nvPr/>
          </p:nvSpPr>
          <p:spPr bwMode="auto">
            <a:xfrm>
              <a:off x="2201863" y="879475"/>
              <a:ext cx="61913" cy="66675"/>
            </a:xfrm>
            <a:custGeom>
              <a:avLst/>
              <a:gdLst>
                <a:gd name="T0" fmla="*/ 36 w 39"/>
                <a:gd name="T1" fmla="*/ 42 h 42"/>
                <a:gd name="T2" fmla="*/ 0 w 39"/>
                <a:gd name="T3" fmla="*/ 3 h 42"/>
                <a:gd name="T4" fmla="*/ 3 w 39"/>
                <a:gd name="T5" fmla="*/ 0 h 42"/>
                <a:gd name="T6" fmla="*/ 39 w 39"/>
                <a:gd name="T7" fmla="*/ 41 h 42"/>
                <a:gd name="T8" fmla="*/ 36 w 39"/>
                <a:gd name="T9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42">
                  <a:moveTo>
                    <a:pt x="36" y="42"/>
                  </a:moveTo>
                  <a:lnTo>
                    <a:pt x="0" y="3"/>
                  </a:lnTo>
                  <a:lnTo>
                    <a:pt x="3" y="0"/>
                  </a:lnTo>
                  <a:lnTo>
                    <a:pt x="39" y="41"/>
                  </a:lnTo>
                  <a:lnTo>
                    <a:pt x="36" y="42"/>
                  </a:lnTo>
                  <a:close/>
                </a:path>
              </a:pathLst>
            </a:custGeom>
            <a:solidFill>
              <a:srgbClr val="8C62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7" name="Freeform 48"/>
            <p:cNvSpPr>
              <a:spLocks/>
            </p:cNvSpPr>
            <p:nvPr/>
          </p:nvSpPr>
          <p:spPr bwMode="auto">
            <a:xfrm>
              <a:off x="2185988" y="908050"/>
              <a:ext cx="50800" cy="53975"/>
            </a:xfrm>
            <a:custGeom>
              <a:avLst/>
              <a:gdLst>
                <a:gd name="T0" fmla="*/ 29 w 32"/>
                <a:gd name="T1" fmla="*/ 34 h 34"/>
                <a:gd name="T2" fmla="*/ 0 w 32"/>
                <a:gd name="T3" fmla="*/ 1 h 34"/>
                <a:gd name="T4" fmla="*/ 1 w 32"/>
                <a:gd name="T5" fmla="*/ 0 h 34"/>
                <a:gd name="T6" fmla="*/ 32 w 32"/>
                <a:gd name="T7" fmla="*/ 33 h 34"/>
                <a:gd name="T8" fmla="*/ 29 w 32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34">
                  <a:moveTo>
                    <a:pt x="29" y="34"/>
                  </a:moveTo>
                  <a:lnTo>
                    <a:pt x="0" y="1"/>
                  </a:lnTo>
                  <a:lnTo>
                    <a:pt x="1" y="0"/>
                  </a:lnTo>
                  <a:lnTo>
                    <a:pt x="32" y="33"/>
                  </a:lnTo>
                  <a:lnTo>
                    <a:pt x="29" y="34"/>
                  </a:lnTo>
                  <a:close/>
                </a:path>
              </a:pathLst>
            </a:custGeom>
            <a:solidFill>
              <a:srgbClr val="8C62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8" name="Freeform 49"/>
            <p:cNvSpPr>
              <a:spLocks/>
            </p:cNvSpPr>
            <p:nvPr/>
          </p:nvSpPr>
          <p:spPr bwMode="auto">
            <a:xfrm>
              <a:off x="2170113" y="930275"/>
              <a:ext cx="41275" cy="46038"/>
            </a:xfrm>
            <a:custGeom>
              <a:avLst/>
              <a:gdLst>
                <a:gd name="T0" fmla="*/ 23 w 26"/>
                <a:gd name="T1" fmla="*/ 29 h 29"/>
                <a:gd name="T2" fmla="*/ 0 w 26"/>
                <a:gd name="T3" fmla="*/ 3 h 29"/>
                <a:gd name="T4" fmla="*/ 1 w 26"/>
                <a:gd name="T5" fmla="*/ 0 h 29"/>
                <a:gd name="T6" fmla="*/ 26 w 26"/>
                <a:gd name="T7" fmla="*/ 27 h 29"/>
                <a:gd name="T8" fmla="*/ 23 w 26"/>
                <a:gd name="T9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29">
                  <a:moveTo>
                    <a:pt x="23" y="29"/>
                  </a:moveTo>
                  <a:lnTo>
                    <a:pt x="0" y="3"/>
                  </a:lnTo>
                  <a:lnTo>
                    <a:pt x="1" y="0"/>
                  </a:lnTo>
                  <a:lnTo>
                    <a:pt x="26" y="27"/>
                  </a:lnTo>
                  <a:lnTo>
                    <a:pt x="23" y="29"/>
                  </a:lnTo>
                  <a:close/>
                </a:path>
              </a:pathLst>
            </a:custGeom>
            <a:solidFill>
              <a:srgbClr val="8C62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9" name="Freeform 50"/>
            <p:cNvSpPr>
              <a:spLocks/>
            </p:cNvSpPr>
            <p:nvPr/>
          </p:nvSpPr>
          <p:spPr bwMode="auto">
            <a:xfrm>
              <a:off x="2154238" y="952500"/>
              <a:ext cx="31750" cy="38100"/>
            </a:xfrm>
            <a:custGeom>
              <a:avLst/>
              <a:gdLst>
                <a:gd name="T0" fmla="*/ 17 w 20"/>
                <a:gd name="T1" fmla="*/ 24 h 24"/>
                <a:gd name="T2" fmla="*/ 0 w 20"/>
                <a:gd name="T3" fmla="*/ 3 h 24"/>
                <a:gd name="T4" fmla="*/ 1 w 20"/>
                <a:gd name="T5" fmla="*/ 0 h 24"/>
                <a:gd name="T6" fmla="*/ 20 w 20"/>
                <a:gd name="T7" fmla="*/ 21 h 24"/>
                <a:gd name="T8" fmla="*/ 17 w 20"/>
                <a:gd name="T9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24">
                  <a:moveTo>
                    <a:pt x="17" y="24"/>
                  </a:moveTo>
                  <a:lnTo>
                    <a:pt x="0" y="3"/>
                  </a:lnTo>
                  <a:lnTo>
                    <a:pt x="1" y="0"/>
                  </a:lnTo>
                  <a:lnTo>
                    <a:pt x="20" y="21"/>
                  </a:lnTo>
                  <a:lnTo>
                    <a:pt x="17" y="24"/>
                  </a:lnTo>
                  <a:close/>
                </a:path>
              </a:pathLst>
            </a:custGeom>
            <a:solidFill>
              <a:srgbClr val="8C62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0" name="Freeform 51"/>
            <p:cNvSpPr>
              <a:spLocks/>
            </p:cNvSpPr>
            <p:nvPr/>
          </p:nvSpPr>
          <p:spPr bwMode="auto">
            <a:xfrm>
              <a:off x="2065338" y="1012825"/>
              <a:ext cx="57150" cy="57150"/>
            </a:xfrm>
            <a:custGeom>
              <a:avLst/>
              <a:gdLst>
                <a:gd name="T0" fmla="*/ 4 w 25"/>
                <a:gd name="T1" fmla="*/ 20 h 25"/>
                <a:gd name="T2" fmla="*/ 5 w 25"/>
                <a:gd name="T3" fmla="*/ 4 h 25"/>
                <a:gd name="T4" fmla="*/ 20 w 25"/>
                <a:gd name="T5" fmla="*/ 5 h 25"/>
                <a:gd name="T6" fmla="*/ 20 w 25"/>
                <a:gd name="T7" fmla="*/ 21 h 25"/>
                <a:gd name="T8" fmla="*/ 4 w 25"/>
                <a:gd name="T9" fmla="*/ 2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25">
                  <a:moveTo>
                    <a:pt x="4" y="20"/>
                  </a:moveTo>
                  <a:cubicBezTo>
                    <a:pt x="0" y="15"/>
                    <a:pt x="0" y="8"/>
                    <a:pt x="5" y="4"/>
                  </a:cubicBezTo>
                  <a:cubicBezTo>
                    <a:pt x="9" y="0"/>
                    <a:pt x="16" y="0"/>
                    <a:pt x="20" y="5"/>
                  </a:cubicBezTo>
                  <a:cubicBezTo>
                    <a:pt x="25" y="10"/>
                    <a:pt x="24" y="17"/>
                    <a:pt x="20" y="21"/>
                  </a:cubicBezTo>
                  <a:cubicBezTo>
                    <a:pt x="15" y="25"/>
                    <a:pt x="8" y="25"/>
                    <a:pt x="4" y="20"/>
                  </a:cubicBezTo>
                  <a:close/>
                </a:path>
              </a:pathLst>
            </a:custGeom>
            <a:solidFill>
              <a:srgbClr val="8C62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1" name="Freeform 52"/>
            <p:cNvSpPr>
              <a:spLocks/>
            </p:cNvSpPr>
            <p:nvPr/>
          </p:nvSpPr>
          <p:spPr bwMode="auto">
            <a:xfrm>
              <a:off x="1992313" y="1074738"/>
              <a:ext cx="184150" cy="138113"/>
            </a:xfrm>
            <a:custGeom>
              <a:avLst/>
              <a:gdLst>
                <a:gd name="T0" fmla="*/ 61 w 116"/>
                <a:gd name="T1" fmla="*/ 0 h 87"/>
                <a:gd name="T2" fmla="*/ 0 w 116"/>
                <a:gd name="T3" fmla="*/ 81 h 87"/>
                <a:gd name="T4" fmla="*/ 59 w 116"/>
                <a:gd name="T5" fmla="*/ 84 h 87"/>
                <a:gd name="T6" fmla="*/ 116 w 116"/>
                <a:gd name="T7" fmla="*/ 87 h 87"/>
                <a:gd name="T8" fmla="*/ 61 w 116"/>
                <a:gd name="T9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6" h="87">
                  <a:moveTo>
                    <a:pt x="61" y="0"/>
                  </a:moveTo>
                  <a:lnTo>
                    <a:pt x="0" y="81"/>
                  </a:lnTo>
                  <a:lnTo>
                    <a:pt x="59" y="84"/>
                  </a:lnTo>
                  <a:lnTo>
                    <a:pt x="116" y="87"/>
                  </a:lnTo>
                  <a:lnTo>
                    <a:pt x="61" y="0"/>
                  </a:lnTo>
                  <a:close/>
                </a:path>
              </a:pathLst>
            </a:custGeom>
            <a:solidFill>
              <a:srgbClr val="8C62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2" name="Freeform 53"/>
            <p:cNvSpPr>
              <a:spLocks/>
            </p:cNvSpPr>
            <p:nvPr/>
          </p:nvSpPr>
          <p:spPr bwMode="auto">
            <a:xfrm>
              <a:off x="2052638" y="1244600"/>
              <a:ext cx="55563" cy="69850"/>
            </a:xfrm>
            <a:custGeom>
              <a:avLst/>
              <a:gdLst>
                <a:gd name="T0" fmla="*/ 13 w 24"/>
                <a:gd name="T1" fmla="*/ 0 h 31"/>
                <a:gd name="T2" fmla="*/ 1 w 24"/>
                <a:gd name="T3" fmla="*/ 12 h 31"/>
                <a:gd name="T4" fmla="*/ 0 w 24"/>
                <a:gd name="T5" fmla="*/ 30 h 31"/>
                <a:gd name="T6" fmla="*/ 11 w 24"/>
                <a:gd name="T7" fmla="*/ 31 h 31"/>
                <a:gd name="T8" fmla="*/ 22 w 24"/>
                <a:gd name="T9" fmla="*/ 31 h 31"/>
                <a:gd name="T10" fmla="*/ 23 w 24"/>
                <a:gd name="T11" fmla="*/ 13 h 31"/>
                <a:gd name="T12" fmla="*/ 13 w 24"/>
                <a:gd name="T13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31">
                  <a:moveTo>
                    <a:pt x="13" y="0"/>
                  </a:moveTo>
                  <a:cubicBezTo>
                    <a:pt x="1" y="0"/>
                    <a:pt x="1" y="12"/>
                    <a:pt x="1" y="12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22" y="31"/>
                    <a:pt x="22" y="31"/>
                    <a:pt x="22" y="31"/>
                  </a:cubicBezTo>
                  <a:cubicBezTo>
                    <a:pt x="23" y="13"/>
                    <a:pt x="23" y="13"/>
                    <a:pt x="23" y="13"/>
                  </a:cubicBezTo>
                  <a:cubicBezTo>
                    <a:pt x="23" y="13"/>
                    <a:pt x="24" y="1"/>
                    <a:pt x="13" y="0"/>
                  </a:cubicBezTo>
                  <a:close/>
                </a:path>
              </a:pathLst>
            </a:custGeom>
            <a:solidFill>
              <a:srgbClr val="4F38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3" name="Freeform 54"/>
            <p:cNvSpPr>
              <a:spLocks/>
            </p:cNvSpPr>
            <p:nvPr/>
          </p:nvSpPr>
          <p:spPr bwMode="auto">
            <a:xfrm>
              <a:off x="342900" y="336550"/>
              <a:ext cx="363538" cy="365125"/>
            </a:xfrm>
            <a:custGeom>
              <a:avLst/>
              <a:gdLst>
                <a:gd name="T0" fmla="*/ 10 w 159"/>
                <a:gd name="T1" fmla="*/ 99 h 159"/>
                <a:gd name="T2" fmla="*/ 60 w 159"/>
                <a:gd name="T3" fmla="*/ 10 h 159"/>
                <a:gd name="T4" fmla="*/ 148 w 159"/>
                <a:gd name="T5" fmla="*/ 60 h 159"/>
                <a:gd name="T6" fmla="*/ 99 w 159"/>
                <a:gd name="T7" fmla="*/ 148 h 159"/>
                <a:gd name="T8" fmla="*/ 10 w 159"/>
                <a:gd name="T9" fmla="*/ 99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9" h="159">
                  <a:moveTo>
                    <a:pt x="10" y="99"/>
                  </a:moveTo>
                  <a:cubicBezTo>
                    <a:pt x="0" y="61"/>
                    <a:pt x="22" y="21"/>
                    <a:pt x="60" y="10"/>
                  </a:cubicBezTo>
                  <a:cubicBezTo>
                    <a:pt x="98" y="0"/>
                    <a:pt x="137" y="22"/>
                    <a:pt x="148" y="60"/>
                  </a:cubicBezTo>
                  <a:cubicBezTo>
                    <a:pt x="159" y="98"/>
                    <a:pt x="136" y="137"/>
                    <a:pt x="99" y="148"/>
                  </a:cubicBezTo>
                  <a:cubicBezTo>
                    <a:pt x="61" y="159"/>
                    <a:pt x="21" y="137"/>
                    <a:pt x="10" y="99"/>
                  </a:cubicBezTo>
                  <a:close/>
                </a:path>
              </a:pathLst>
            </a:custGeom>
            <a:solidFill>
              <a:srgbClr val="FFE1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4" name="Freeform 55"/>
            <p:cNvSpPr>
              <a:spLocks/>
            </p:cNvSpPr>
            <p:nvPr/>
          </p:nvSpPr>
          <p:spPr bwMode="auto">
            <a:xfrm>
              <a:off x="404813" y="88900"/>
              <a:ext cx="131763" cy="266700"/>
            </a:xfrm>
            <a:custGeom>
              <a:avLst/>
              <a:gdLst>
                <a:gd name="T0" fmla="*/ 3 w 83"/>
                <a:gd name="T1" fmla="*/ 168 h 168"/>
                <a:gd name="T2" fmla="*/ 0 w 83"/>
                <a:gd name="T3" fmla="*/ 0 h 168"/>
                <a:gd name="T4" fmla="*/ 83 w 83"/>
                <a:gd name="T5" fmla="*/ 145 h 168"/>
                <a:gd name="T6" fmla="*/ 3 w 83"/>
                <a:gd name="T7" fmla="*/ 168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3" h="168">
                  <a:moveTo>
                    <a:pt x="3" y="168"/>
                  </a:moveTo>
                  <a:lnTo>
                    <a:pt x="0" y="0"/>
                  </a:lnTo>
                  <a:lnTo>
                    <a:pt x="83" y="145"/>
                  </a:lnTo>
                  <a:lnTo>
                    <a:pt x="3" y="168"/>
                  </a:lnTo>
                  <a:close/>
                </a:path>
              </a:pathLst>
            </a:custGeom>
            <a:solidFill>
              <a:srgbClr val="FFE1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5" name="Freeform 56"/>
            <p:cNvSpPr>
              <a:spLocks/>
            </p:cNvSpPr>
            <p:nvPr/>
          </p:nvSpPr>
          <p:spPr bwMode="auto">
            <a:xfrm>
              <a:off x="136525" y="300038"/>
              <a:ext cx="254000" cy="184150"/>
            </a:xfrm>
            <a:custGeom>
              <a:avLst/>
              <a:gdLst>
                <a:gd name="T0" fmla="*/ 120 w 160"/>
                <a:gd name="T1" fmla="*/ 116 h 116"/>
                <a:gd name="T2" fmla="*/ 0 w 160"/>
                <a:gd name="T3" fmla="*/ 0 h 116"/>
                <a:gd name="T4" fmla="*/ 160 w 160"/>
                <a:gd name="T5" fmla="*/ 43 h 116"/>
                <a:gd name="T6" fmla="*/ 120 w 160"/>
                <a:gd name="T7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0" h="116">
                  <a:moveTo>
                    <a:pt x="120" y="116"/>
                  </a:moveTo>
                  <a:lnTo>
                    <a:pt x="0" y="0"/>
                  </a:lnTo>
                  <a:lnTo>
                    <a:pt x="160" y="43"/>
                  </a:lnTo>
                  <a:lnTo>
                    <a:pt x="120" y="116"/>
                  </a:lnTo>
                  <a:close/>
                </a:path>
              </a:pathLst>
            </a:custGeom>
            <a:solidFill>
              <a:srgbClr val="FFE1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6" name="Freeform 57"/>
            <p:cNvSpPr>
              <a:spLocks/>
            </p:cNvSpPr>
            <p:nvPr/>
          </p:nvSpPr>
          <p:spPr bwMode="auto">
            <a:xfrm>
              <a:off x="95250" y="506413"/>
              <a:ext cx="266700" cy="133350"/>
            </a:xfrm>
            <a:custGeom>
              <a:avLst/>
              <a:gdLst>
                <a:gd name="T0" fmla="*/ 168 w 168"/>
                <a:gd name="T1" fmla="*/ 79 h 84"/>
                <a:gd name="T2" fmla="*/ 0 w 168"/>
                <a:gd name="T3" fmla="*/ 84 h 84"/>
                <a:gd name="T4" fmla="*/ 145 w 168"/>
                <a:gd name="T5" fmla="*/ 0 h 84"/>
                <a:gd name="T6" fmla="*/ 168 w 168"/>
                <a:gd name="T7" fmla="*/ 79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8" h="84">
                  <a:moveTo>
                    <a:pt x="168" y="79"/>
                  </a:moveTo>
                  <a:lnTo>
                    <a:pt x="0" y="84"/>
                  </a:lnTo>
                  <a:lnTo>
                    <a:pt x="145" y="0"/>
                  </a:lnTo>
                  <a:lnTo>
                    <a:pt x="168" y="79"/>
                  </a:lnTo>
                  <a:close/>
                </a:path>
              </a:pathLst>
            </a:custGeom>
            <a:solidFill>
              <a:srgbClr val="FFE1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7" name="Freeform 58"/>
            <p:cNvSpPr>
              <a:spLocks/>
            </p:cNvSpPr>
            <p:nvPr/>
          </p:nvSpPr>
          <p:spPr bwMode="auto">
            <a:xfrm>
              <a:off x="306388" y="650875"/>
              <a:ext cx="182563" cy="257175"/>
            </a:xfrm>
            <a:custGeom>
              <a:avLst/>
              <a:gdLst>
                <a:gd name="T0" fmla="*/ 115 w 115"/>
                <a:gd name="T1" fmla="*/ 40 h 162"/>
                <a:gd name="T2" fmla="*/ 0 w 115"/>
                <a:gd name="T3" fmla="*/ 162 h 162"/>
                <a:gd name="T4" fmla="*/ 43 w 115"/>
                <a:gd name="T5" fmla="*/ 0 h 162"/>
                <a:gd name="T6" fmla="*/ 115 w 115"/>
                <a:gd name="T7" fmla="*/ 40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5" h="162">
                  <a:moveTo>
                    <a:pt x="115" y="40"/>
                  </a:moveTo>
                  <a:lnTo>
                    <a:pt x="0" y="162"/>
                  </a:lnTo>
                  <a:lnTo>
                    <a:pt x="43" y="0"/>
                  </a:lnTo>
                  <a:lnTo>
                    <a:pt x="115" y="40"/>
                  </a:lnTo>
                  <a:close/>
                </a:path>
              </a:pathLst>
            </a:custGeom>
            <a:solidFill>
              <a:srgbClr val="FFE1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8" name="Freeform 59"/>
            <p:cNvSpPr>
              <a:spLocks/>
            </p:cNvSpPr>
            <p:nvPr/>
          </p:nvSpPr>
          <p:spPr bwMode="auto">
            <a:xfrm>
              <a:off x="512763" y="682625"/>
              <a:ext cx="131763" cy="263525"/>
            </a:xfrm>
            <a:custGeom>
              <a:avLst/>
              <a:gdLst>
                <a:gd name="T0" fmla="*/ 79 w 83"/>
                <a:gd name="T1" fmla="*/ 0 h 166"/>
                <a:gd name="T2" fmla="*/ 83 w 83"/>
                <a:gd name="T3" fmla="*/ 166 h 166"/>
                <a:gd name="T4" fmla="*/ 0 w 83"/>
                <a:gd name="T5" fmla="*/ 22 h 166"/>
                <a:gd name="T6" fmla="*/ 79 w 83"/>
                <a:gd name="T7" fmla="*/ 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3" h="166">
                  <a:moveTo>
                    <a:pt x="79" y="0"/>
                  </a:moveTo>
                  <a:lnTo>
                    <a:pt x="83" y="166"/>
                  </a:lnTo>
                  <a:lnTo>
                    <a:pt x="0" y="22"/>
                  </a:lnTo>
                  <a:lnTo>
                    <a:pt x="79" y="0"/>
                  </a:lnTo>
                  <a:close/>
                </a:path>
              </a:pathLst>
            </a:custGeom>
            <a:solidFill>
              <a:srgbClr val="F3CB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9" name="Freeform 60"/>
            <p:cNvSpPr>
              <a:spLocks/>
            </p:cNvSpPr>
            <p:nvPr/>
          </p:nvSpPr>
          <p:spPr bwMode="auto">
            <a:xfrm>
              <a:off x="655638" y="552450"/>
              <a:ext cx="257175" cy="182563"/>
            </a:xfrm>
            <a:custGeom>
              <a:avLst/>
              <a:gdLst>
                <a:gd name="T0" fmla="*/ 41 w 162"/>
                <a:gd name="T1" fmla="*/ 0 h 115"/>
                <a:gd name="T2" fmla="*/ 162 w 162"/>
                <a:gd name="T3" fmla="*/ 115 h 115"/>
                <a:gd name="T4" fmla="*/ 0 w 162"/>
                <a:gd name="T5" fmla="*/ 72 h 115"/>
                <a:gd name="T6" fmla="*/ 41 w 162"/>
                <a:gd name="T7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2" h="115">
                  <a:moveTo>
                    <a:pt x="41" y="0"/>
                  </a:moveTo>
                  <a:lnTo>
                    <a:pt x="162" y="115"/>
                  </a:lnTo>
                  <a:lnTo>
                    <a:pt x="0" y="72"/>
                  </a:lnTo>
                  <a:lnTo>
                    <a:pt x="41" y="0"/>
                  </a:lnTo>
                  <a:close/>
                </a:path>
              </a:pathLst>
            </a:custGeom>
            <a:solidFill>
              <a:srgbClr val="FFE1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0" name="Freeform 61"/>
            <p:cNvSpPr>
              <a:spLocks/>
            </p:cNvSpPr>
            <p:nvPr/>
          </p:nvSpPr>
          <p:spPr bwMode="auto">
            <a:xfrm>
              <a:off x="688975" y="398463"/>
              <a:ext cx="261938" cy="133350"/>
            </a:xfrm>
            <a:custGeom>
              <a:avLst/>
              <a:gdLst>
                <a:gd name="T0" fmla="*/ 0 w 165"/>
                <a:gd name="T1" fmla="*/ 3 h 84"/>
                <a:gd name="T2" fmla="*/ 165 w 165"/>
                <a:gd name="T3" fmla="*/ 0 h 84"/>
                <a:gd name="T4" fmla="*/ 21 w 165"/>
                <a:gd name="T5" fmla="*/ 84 h 84"/>
                <a:gd name="T6" fmla="*/ 0 w 165"/>
                <a:gd name="T7" fmla="*/ 3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5" h="84">
                  <a:moveTo>
                    <a:pt x="0" y="3"/>
                  </a:moveTo>
                  <a:lnTo>
                    <a:pt x="165" y="0"/>
                  </a:lnTo>
                  <a:lnTo>
                    <a:pt x="21" y="84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FFE1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1" name="Freeform 62"/>
            <p:cNvSpPr>
              <a:spLocks/>
            </p:cNvSpPr>
            <p:nvPr/>
          </p:nvSpPr>
          <p:spPr bwMode="auto">
            <a:xfrm>
              <a:off x="557213" y="130175"/>
              <a:ext cx="184150" cy="254000"/>
            </a:xfrm>
            <a:custGeom>
              <a:avLst/>
              <a:gdLst>
                <a:gd name="T0" fmla="*/ 0 w 116"/>
                <a:gd name="T1" fmla="*/ 120 h 160"/>
                <a:gd name="T2" fmla="*/ 116 w 116"/>
                <a:gd name="T3" fmla="*/ 0 h 160"/>
                <a:gd name="T4" fmla="*/ 72 w 116"/>
                <a:gd name="T5" fmla="*/ 160 h 160"/>
                <a:gd name="T6" fmla="*/ 0 w 116"/>
                <a:gd name="T7" fmla="*/ 12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6" h="160">
                  <a:moveTo>
                    <a:pt x="0" y="120"/>
                  </a:moveTo>
                  <a:lnTo>
                    <a:pt x="116" y="0"/>
                  </a:lnTo>
                  <a:lnTo>
                    <a:pt x="72" y="160"/>
                  </a:lnTo>
                  <a:lnTo>
                    <a:pt x="0" y="120"/>
                  </a:lnTo>
                  <a:close/>
                </a:path>
              </a:pathLst>
            </a:custGeom>
            <a:solidFill>
              <a:srgbClr val="FFE1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2" name="Freeform 63"/>
            <p:cNvSpPr>
              <a:spLocks/>
            </p:cNvSpPr>
            <p:nvPr/>
          </p:nvSpPr>
          <p:spPr bwMode="auto">
            <a:xfrm>
              <a:off x="285750" y="487363"/>
              <a:ext cx="788988" cy="479425"/>
            </a:xfrm>
            <a:custGeom>
              <a:avLst/>
              <a:gdLst>
                <a:gd name="T0" fmla="*/ 0 w 345"/>
                <a:gd name="T1" fmla="*/ 155 h 209"/>
                <a:gd name="T2" fmla="*/ 54 w 345"/>
                <a:gd name="T3" fmla="*/ 102 h 209"/>
                <a:gd name="T4" fmla="*/ 69 w 345"/>
                <a:gd name="T5" fmla="*/ 104 h 209"/>
                <a:gd name="T6" fmla="*/ 120 w 345"/>
                <a:gd name="T7" fmla="*/ 57 h 209"/>
                <a:gd name="T8" fmla="*/ 147 w 345"/>
                <a:gd name="T9" fmla="*/ 65 h 209"/>
                <a:gd name="T10" fmla="*/ 215 w 345"/>
                <a:gd name="T11" fmla="*/ 0 h 209"/>
                <a:gd name="T12" fmla="*/ 283 w 345"/>
                <a:gd name="T13" fmla="*/ 69 h 209"/>
                <a:gd name="T14" fmla="*/ 272 w 345"/>
                <a:gd name="T15" fmla="*/ 105 h 209"/>
                <a:gd name="T16" fmla="*/ 291 w 345"/>
                <a:gd name="T17" fmla="*/ 102 h 209"/>
                <a:gd name="T18" fmla="*/ 345 w 345"/>
                <a:gd name="T19" fmla="*/ 155 h 209"/>
                <a:gd name="T20" fmla="*/ 291 w 345"/>
                <a:gd name="T21" fmla="*/ 209 h 209"/>
                <a:gd name="T22" fmla="*/ 290 w 345"/>
                <a:gd name="T23" fmla="*/ 209 h 209"/>
                <a:gd name="T24" fmla="*/ 290 w 345"/>
                <a:gd name="T25" fmla="*/ 209 h 209"/>
                <a:gd name="T26" fmla="*/ 50 w 345"/>
                <a:gd name="T27" fmla="*/ 209 h 209"/>
                <a:gd name="T28" fmla="*/ 50 w 345"/>
                <a:gd name="T29" fmla="*/ 209 h 209"/>
                <a:gd name="T30" fmla="*/ 0 w 345"/>
                <a:gd name="T31" fmla="*/ 155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45" h="209">
                  <a:moveTo>
                    <a:pt x="0" y="155"/>
                  </a:moveTo>
                  <a:cubicBezTo>
                    <a:pt x="0" y="126"/>
                    <a:pt x="24" y="102"/>
                    <a:pt x="54" y="102"/>
                  </a:cubicBezTo>
                  <a:cubicBezTo>
                    <a:pt x="59" y="102"/>
                    <a:pt x="64" y="103"/>
                    <a:pt x="69" y="104"/>
                  </a:cubicBezTo>
                  <a:cubicBezTo>
                    <a:pt x="71" y="78"/>
                    <a:pt x="93" y="57"/>
                    <a:pt x="120" y="57"/>
                  </a:cubicBezTo>
                  <a:cubicBezTo>
                    <a:pt x="130" y="57"/>
                    <a:pt x="139" y="60"/>
                    <a:pt x="147" y="65"/>
                  </a:cubicBezTo>
                  <a:cubicBezTo>
                    <a:pt x="148" y="29"/>
                    <a:pt x="178" y="0"/>
                    <a:pt x="215" y="0"/>
                  </a:cubicBezTo>
                  <a:cubicBezTo>
                    <a:pt x="252" y="0"/>
                    <a:pt x="283" y="31"/>
                    <a:pt x="283" y="69"/>
                  </a:cubicBezTo>
                  <a:cubicBezTo>
                    <a:pt x="283" y="82"/>
                    <a:pt x="279" y="95"/>
                    <a:pt x="272" y="105"/>
                  </a:cubicBezTo>
                  <a:cubicBezTo>
                    <a:pt x="278" y="103"/>
                    <a:pt x="284" y="102"/>
                    <a:pt x="291" y="102"/>
                  </a:cubicBezTo>
                  <a:cubicBezTo>
                    <a:pt x="321" y="102"/>
                    <a:pt x="345" y="126"/>
                    <a:pt x="345" y="155"/>
                  </a:cubicBezTo>
                  <a:cubicBezTo>
                    <a:pt x="345" y="185"/>
                    <a:pt x="321" y="209"/>
                    <a:pt x="291" y="209"/>
                  </a:cubicBezTo>
                  <a:cubicBezTo>
                    <a:pt x="291" y="209"/>
                    <a:pt x="290" y="209"/>
                    <a:pt x="290" y="209"/>
                  </a:cubicBezTo>
                  <a:cubicBezTo>
                    <a:pt x="290" y="209"/>
                    <a:pt x="290" y="209"/>
                    <a:pt x="290" y="209"/>
                  </a:cubicBezTo>
                  <a:cubicBezTo>
                    <a:pt x="50" y="209"/>
                    <a:pt x="50" y="209"/>
                    <a:pt x="50" y="209"/>
                  </a:cubicBezTo>
                  <a:cubicBezTo>
                    <a:pt x="50" y="209"/>
                    <a:pt x="50" y="209"/>
                    <a:pt x="50" y="209"/>
                  </a:cubicBezTo>
                  <a:cubicBezTo>
                    <a:pt x="22" y="207"/>
                    <a:pt x="0" y="184"/>
                    <a:pt x="0" y="155"/>
                  </a:cubicBezTo>
                  <a:close/>
                </a:path>
              </a:pathLst>
            </a:custGeom>
            <a:solidFill>
              <a:srgbClr val="F8FC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3" name="Freeform 64"/>
            <p:cNvSpPr>
              <a:spLocks/>
            </p:cNvSpPr>
            <p:nvPr/>
          </p:nvSpPr>
          <p:spPr bwMode="auto">
            <a:xfrm>
              <a:off x="949325" y="966788"/>
              <a:ext cx="1588" cy="0"/>
            </a:xfrm>
            <a:custGeom>
              <a:avLst/>
              <a:gdLst>
                <a:gd name="T0" fmla="*/ 1 w 1"/>
                <a:gd name="T1" fmla="*/ 0 w 1"/>
                <a:gd name="T2" fmla="*/ 1 w 1"/>
                <a:gd name="T3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1975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4" name="Freeform 65"/>
            <p:cNvSpPr>
              <a:spLocks/>
            </p:cNvSpPr>
            <p:nvPr/>
          </p:nvSpPr>
          <p:spPr bwMode="auto">
            <a:xfrm>
              <a:off x="4651375" y="1668463"/>
              <a:ext cx="2359025" cy="476250"/>
            </a:xfrm>
            <a:custGeom>
              <a:avLst/>
              <a:gdLst>
                <a:gd name="T0" fmla="*/ 1032 w 1032"/>
                <a:gd name="T1" fmla="*/ 42 h 208"/>
                <a:gd name="T2" fmla="*/ 0 w 1032"/>
                <a:gd name="T3" fmla="*/ 208 h 208"/>
                <a:gd name="T4" fmla="*/ 1032 w 1032"/>
                <a:gd name="T5" fmla="*/ 208 h 208"/>
                <a:gd name="T6" fmla="*/ 1032 w 1032"/>
                <a:gd name="T7" fmla="*/ 42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32" h="208">
                  <a:moveTo>
                    <a:pt x="1032" y="42"/>
                  </a:moveTo>
                  <a:cubicBezTo>
                    <a:pt x="1032" y="42"/>
                    <a:pt x="229" y="0"/>
                    <a:pt x="0" y="208"/>
                  </a:cubicBezTo>
                  <a:cubicBezTo>
                    <a:pt x="1032" y="208"/>
                    <a:pt x="1032" y="208"/>
                    <a:pt x="1032" y="208"/>
                  </a:cubicBezTo>
                  <a:lnTo>
                    <a:pt x="1032" y="42"/>
                  </a:lnTo>
                  <a:close/>
                </a:path>
              </a:pathLst>
            </a:custGeom>
            <a:solidFill>
              <a:srgbClr val="09B89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5" name="Freeform 66"/>
            <p:cNvSpPr>
              <a:spLocks/>
            </p:cNvSpPr>
            <p:nvPr/>
          </p:nvSpPr>
          <p:spPr bwMode="auto">
            <a:xfrm>
              <a:off x="8316913" y="852488"/>
              <a:ext cx="801688" cy="854075"/>
            </a:xfrm>
            <a:custGeom>
              <a:avLst/>
              <a:gdLst>
                <a:gd name="T0" fmla="*/ 505 w 505"/>
                <a:gd name="T1" fmla="*/ 538 h 538"/>
                <a:gd name="T2" fmla="*/ 442 w 505"/>
                <a:gd name="T3" fmla="*/ 323 h 538"/>
                <a:gd name="T4" fmla="*/ 371 w 505"/>
                <a:gd name="T5" fmla="*/ 364 h 538"/>
                <a:gd name="T6" fmla="*/ 296 w 505"/>
                <a:gd name="T7" fmla="*/ 117 h 538"/>
                <a:gd name="T8" fmla="*/ 239 w 505"/>
                <a:gd name="T9" fmla="*/ 117 h 538"/>
                <a:gd name="T10" fmla="*/ 204 w 505"/>
                <a:gd name="T11" fmla="*/ 0 h 538"/>
                <a:gd name="T12" fmla="*/ 125 w 505"/>
                <a:gd name="T13" fmla="*/ 244 h 538"/>
                <a:gd name="T14" fmla="*/ 82 w 505"/>
                <a:gd name="T15" fmla="*/ 244 h 538"/>
                <a:gd name="T16" fmla="*/ 0 w 505"/>
                <a:gd name="T17" fmla="*/ 538 h 538"/>
                <a:gd name="T18" fmla="*/ 505 w 505"/>
                <a:gd name="T19" fmla="*/ 538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5" h="538">
                  <a:moveTo>
                    <a:pt x="505" y="538"/>
                  </a:moveTo>
                  <a:lnTo>
                    <a:pt x="442" y="323"/>
                  </a:lnTo>
                  <a:lnTo>
                    <a:pt x="371" y="364"/>
                  </a:lnTo>
                  <a:lnTo>
                    <a:pt x="296" y="117"/>
                  </a:lnTo>
                  <a:lnTo>
                    <a:pt x="239" y="117"/>
                  </a:lnTo>
                  <a:lnTo>
                    <a:pt x="204" y="0"/>
                  </a:lnTo>
                  <a:lnTo>
                    <a:pt x="125" y="244"/>
                  </a:lnTo>
                  <a:lnTo>
                    <a:pt x="82" y="244"/>
                  </a:lnTo>
                  <a:lnTo>
                    <a:pt x="0" y="538"/>
                  </a:lnTo>
                  <a:lnTo>
                    <a:pt x="505" y="538"/>
                  </a:lnTo>
                  <a:close/>
                </a:path>
              </a:pathLst>
            </a:custGeom>
            <a:solidFill>
              <a:srgbClr val="3285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6" name="Freeform 67"/>
            <p:cNvSpPr>
              <a:spLocks/>
            </p:cNvSpPr>
            <p:nvPr/>
          </p:nvSpPr>
          <p:spPr bwMode="auto">
            <a:xfrm>
              <a:off x="8551863" y="1168400"/>
              <a:ext cx="427038" cy="538163"/>
            </a:xfrm>
            <a:custGeom>
              <a:avLst/>
              <a:gdLst>
                <a:gd name="T0" fmla="*/ 259 w 269"/>
                <a:gd name="T1" fmla="*/ 305 h 339"/>
                <a:gd name="T2" fmla="*/ 230 w 269"/>
                <a:gd name="T3" fmla="*/ 212 h 339"/>
                <a:gd name="T4" fmla="*/ 173 w 269"/>
                <a:gd name="T5" fmla="*/ 235 h 339"/>
                <a:gd name="T6" fmla="*/ 104 w 269"/>
                <a:gd name="T7" fmla="*/ 0 h 339"/>
                <a:gd name="T8" fmla="*/ 75 w 269"/>
                <a:gd name="T9" fmla="*/ 181 h 339"/>
                <a:gd name="T10" fmla="*/ 32 w 269"/>
                <a:gd name="T11" fmla="*/ 153 h 339"/>
                <a:gd name="T12" fmla="*/ 0 w 269"/>
                <a:gd name="T13" fmla="*/ 339 h 339"/>
                <a:gd name="T14" fmla="*/ 269 w 269"/>
                <a:gd name="T15" fmla="*/ 339 h 339"/>
                <a:gd name="T16" fmla="*/ 259 w 269"/>
                <a:gd name="T17" fmla="*/ 305 h 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9" h="339">
                  <a:moveTo>
                    <a:pt x="259" y="305"/>
                  </a:moveTo>
                  <a:lnTo>
                    <a:pt x="230" y="212"/>
                  </a:lnTo>
                  <a:lnTo>
                    <a:pt x="173" y="235"/>
                  </a:lnTo>
                  <a:lnTo>
                    <a:pt x="104" y="0"/>
                  </a:lnTo>
                  <a:lnTo>
                    <a:pt x="75" y="181"/>
                  </a:lnTo>
                  <a:lnTo>
                    <a:pt x="32" y="153"/>
                  </a:lnTo>
                  <a:lnTo>
                    <a:pt x="0" y="339"/>
                  </a:lnTo>
                  <a:lnTo>
                    <a:pt x="269" y="339"/>
                  </a:lnTo>
                  <a:lnTo>
                    <a:pt x="259" y="305"/>
                  </a:lnTo>
                  <a:close/>
                </a:path>
              </a:pathLst>
            </a:custGeom>
            <a:solidFill>
              <a:srgbClr val="5AC4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7" name="Freeform 68"/>
            <p:cNvSpPr>
              <a:spLocks/>
            </p:cNvSpPr>
            <p:nvPr/>
          </p:nvSpPr>
          <p:spPr bwMode="auto">
            <a:xfrm>
              <a:off x="7419975" y="854075"/>
              <a:ext cx="725488" cy="852488"/>
            </a:xfrm>
            <a:custGeom>
              <a:avLst/>
              <a:gdLst>
                <a:gd name="T0" fmla="*/ 0 w 457"/>
                <a:gd name="T1" fmla="*/ 537 h 537"/>
                <a:gd name="T2" fmla="*/ 72 w 457"/>
                <a:gd name="T3" fmla="*/ 218 h 537"/>
                <a:gd name="T4" fmla="*/ 154 w 457"/>
                <a:gd name="T5" fmla="*/ 269 h 537"/>
                <a:gd name="T6" fmla="*/ 215 w 457"/>
                <a:gd name="T7" fmla="*/ 0 h 537"/>
                <a:gd name="T8" fmla="*/ 255 w 457"/>
                <a:gd name="T9" fmla="*/ 142 h 537"/>
                <a:gd name="T10" fmla="*/ 288 w 457"/>
                <a:gd name="T11" fmla="*/ 104 h 537"/>
                <a:gd name="T12" fmla="*/ 341 w 457"/>
                <a:gd name="T13" fmla="*/ 283 h 537"/>
                <a:gd name="T14" fmla="*/ 399 w 457"/>
                <a:gd name="T15" fmla="*/ 283 h 537"/>
                <a:gd name="T16" fmla="*/ 457 w 457"/>
                <a:gd name="T17" fmla="*/ 537 h 537"/>
                <a:gd name="T18" fmla="*/ 0 w 457"/>
                <a:gd name="T19" fmla="*/ 537 h 5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57" h="537">
                  <a:moveTo>
                    <a:pt x="0" y="537"/>
                  </a:moveTo>
                  <a:lnTo>
                    <a:pt x="72" y="218"/>
                  </a:lnTo>
                  <a:lnTo>
                    <a:pt x="154" y="269"/>
                  </a:lnTo>
                  <a:lnTo>
                    <a:pt x="215" y="0"/>
                  </a:lnTo>
                  <a:lnTo>
                    <a:pt x="255" y="142"/>
                  </a:lnTo>
                  <a:lnTo>
                    <a:pt x="288" y="104"/>
                  </a:lnTo>
                  <a:lnTo>
                    <a:pt x="341" y="283"/>
                  </a:lnTo>
                  <a:lnTo>
                    <a:pt x="399" y="283"/>
                  </a:lnTo>
                  <a:lnTo>
                    <a:pt x="457" y="537"/>
                  </a:lnTo>
                  <a:lnTo>
                    <a:pt x="0" y="537"/>
                  </a:lnTo>
                  <a:close/>
                </a:path>
              </a:pathLst>
            </a:custGeom>
            <a:solidFill>
              <a:srgbClr val="3285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8" name="Freeform 69"/>
            <p:cNvSpPr>
              <a:spLocks/>
            </p:cNvSpPr>
            <p:nvPr/>
          </p:nvSpPr>
          <p:spPr bwMode="auto">
            <a:xfrm>
              <a:off x="7419975" y="903288"/>
              <a:ext cx="1465263" cy="803275"/>
            </a:xfrm>
            <a:custGeom>
              <a:avLst/>
              <a:gdLst>
                <a:gd name="T0" fmla="*/ 923 w 923"/>
                <a:gd name="T1" fmla="*/ 506 h 506"/>
                <a:gd name="T2" fmla="*/ 805 w 923"/>
                <a:gd name="T3" fmla="*/ 506 h 506"/>
                <a:gd name="T4" fmla="*/ 700 w 923"/>
                <a:gd name="T5" fmla="*/ 322 h 506"/>
                <a:gd name="T6" fmla="*/ 637 w 923"/>
                <a:gd name="T7" fmla="*/ 382 h 506"/>
                <a:gd name="T8" fmla="*/ 461 w 923"/>
                <a:gd name="T9" fmla="*/ 99 h 506"/>
                <a:gd name="T10" fmla="*/ 331 w 923"/>
                <a:gd name="T11" fmla="*/ 366 h 506"/>
                <a:gd name="T12" fmla="*/ 277 w 923"/>
                <a:gd name="T13" fmla="*/ 254 h 506"/>
                <a:gd name="T14" fmla="*/ 192 w 923"/>
                <a:gd name="T15" fmla="*/ 506 h 506"/>
                <a:gd name="T16" fmla="*/ 0 w 923"/>
                <a:gd name="T17" fmla="*/ 506 h 506"/>
                <a:gd name="T18" fmla="*/ 144 w 923"/>
                <a:gd name="T19" fmla="*/ 300 h 506"/>
                <a:gd name="T20" fmla="*/ 223 w 923"/>
                <a:gd name="T21" fmla="*/ 300 h 506"/>
                <a:gd name="T22" fmla="*/ 341 w 923"/>
                <a:gd name="T23" fmla="*/ 128 h 506"/>
                <a:gd name="T24" fmla="*/ 395 w 923"/>
                <a:gd name="T25" fmla="*/ 128 h 506"/>
                <a:gd name="T26" fmla="*/ 461 w 923"/>
                <a:gd name="T27" fmla="*/ 0 h 506"/>
                <a:gd name="T28" fmla="*/ 560 w 923"/>
                <a:gd name="T29" fmla="*/ 169 h 506"/>
                <a:gd name="T30" fmla="*/ 629 w 923"/>
                <a:gd name="T31" fmla="*/ 169 h 506"/>
                <a:gd name="T32" fmla="*/ 753 w 923"/>
                <a:gd name="T33" fmla="*/ 329 h 506"/>
                <a:gd name="T34" fmla="*/ 795 w 923"/>
                <a:gd name="T35" fmla="*/ 306 h 506"/>
                <a:gd name="T36" fmla="*/ 923 w 923"/>
                <a:gd name="T37" fmla="*/ 506 h 5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23" h="506">
                  <a:moveTo>
                    <a:pt x="923" y="506"/>
                  </a:moveTo>
                  <a:lnTo>
                    <a:pt x="805" y="506"/>
                  </a:lnTo>
                  <a:lnTo>
                    <a:pt x="700" y="322"/>
                  </a:lnTo>
                  <a:lnTo>
                    <a:pt x="637" y="382"/>
                  </a:lnTo>
                  <a:lnTo>
                    <a:pt x="461" y="99"/>
                  </a:lnTo>
                  <a:lnTo>
                    <a:pt x="331" y="366"/>
                  </a:lnTo>
                  <a:lnTo>
                    <a:pt x="277" y="254"/>
                  </a:lnTo>
                  <a:lnTo>
                    <a:pt x="192" y="506"/>
                  </a:lnTo>
                  <a:lnTo>
                    <a:pt x="0" y="506"/>
                  </a:lnTo>
                  <a:lnTo>
                    <a:pt x="144" y="300"/>
                  </a:lnTo>
                  <a:lnTo>
                    <a:pt x="223" y="300"/>
                  </a:lnTo>
                  <a:lnTo>
                    <a:pt x="341" y="128"/>
                  </a:lnTo>
                  <a:lnTo>
                    <a:pt x="395" y="128"/>
                  </a:lnTo>
                  <a:lnTo>
                    <a:pt x="461" y="0"/>
                  </a:lnTo>
                  <a:lnTo>
                    <a:pt x="560" y="169"/>
                  </a:lnTo>
                  <a:lnTo>
                    <a:pt x="629" y="169"/>
                  </a:lnTo>
                  <a:lnTo>
                    <a:pt x="753" y="329"/>
                  </a:lnTo>
                  <a:lnTo>
                    <a:pt x="795" y="306"/>
                  </a:lnTo>
                  <a:lnTo>
                    <a:pt x="923" y="506"/>
                  </a:lnTo>
                  <a:close/>
                </a:path>
              </a:pathLst>
            </a:custGeom>
            <a:solidFill>
              <a:srgbClr val="42B1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9" name="Freeform 70"/>
            <p:cNvSpPr>
              <a:spLocks/>
            </p:cNvSpPr>
            <p:nvPr/>
          </p:nvSpPr>
          <p:spPr bwMode="auto">
            <a:xfrm>
              <a:off x="7724775" y="1060450"/>
              <a:ext cx="973138" cy="646113"/>
            </a:xfrm>
            <a:custGeom>
              <a:avLst/>
              <a:gdLst>
                <a:gd name="T0" fmla="*/ 613 w 613"/>
                <a:gd name="T1" fmla="*/ 407 h 407"/>
                <a:gd name="T2" fmla="*/ 0 w 613"/>
                <a:gd name="T3" fmla="*/ 407 h 407"/>
                <a:gd name="T4" fmla="*/ 85 w 613"/>
                <a:gd name="T5" fmla="*/ 155 h 407"/>
                <a:gd name="T6" fmla="*/ 139 w 613"/>
                <a:gd name="T7" fmla="*/ 267 h 407"/>
                <a:gd name="T8" fmla="*/ 269 w 613"/>
                <a:gd name="T9" fmla="*/ 0 h 407"/>
                <a:gd name="T10" fmla="*/ 445 w 613"/>
                <a:gd name="T11" fmla="*/ 283 h 407"/>
                <a:gd name="T12" fmla="*/ 508 w 613"/>
                <a:gd name="T13" fmla="*/ 223 h 407"/>
                <a:gd name="T14" fmla="*/ 613 w 613"/>
                <a:gd name="T15" fmla="*/ 407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13" h="407">
                  <a:moveTo>
                    <a:pt x="613" y="407"/>
                  </a:moveTo>
                  <a:lnTo>
                    <a:pt x="0" y="407"/>
                  </a:lnTo>
                  <a:lnTo>
                    <a:pt x="85" y="155"/>
                  </a:lnTo>
                  <a:lnTo>
                    <a:pt x="139" y="267"/>
                  </a:lnTo>
                  <a:lnTo>
                    <a:pt x="269" y="0"/>
                  </a:lnTo>
                  <a:lnTo>
                    <a:pt x="445" y="283"/>
                  </a:lnTo>
                  <a:lnTo>
                    <a:pt x="508" y="223"/>
                  </a:lnTo>
                  <a:lnTo>
                    <a:pt x="613" y="407"/>
                  </a:lnTo>
                  <a:close/>
                </a:path>
              </a:pathLst>
            </a:custGeom>
            <a:solidFill>
              <a:srgbClr val="5AC4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0" name="Freeform 71"/>
            <p:cNvSpPr>
              <a:spLocks/>
            </p:cNvSpPr>
            <p:nvPr/>
          </p:nvSpPr>
          <p:spPr bwMode="auto">
            <a:xfrm>
              <a:off x="1677988" y="1265238"/>
              <a:ext cx="3441700" cy="879475"/>
            </a:xfrm>
            <a:custGeom>
              <a:avLst/>
              <a:gdLst>
                <a:gd name="T0" fmla="*/ 0 w 1505"/>
                <a:gd name="T1" fmla="*/ 10 h 384"/>
                <a:gd name="T2" fmla="*/ 1505 w 1505"/>
                <a:gd name="T3" fmla="*/ 384 h 384"/>
                <a:gd name="T4" fmla="*/ 0 w 1505"/>
                <a:gd name="T5" fmla="*/ 384 h 384"/>
                <a:gd name="T6" fmla="*/ 0 w 1505"/>
                <a:gd name="T7" fmla="*/ 10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05" h="384">
                  <a:moveTo>
                    <a:pt x="0" y="10"/>
                  </a:moveTo>
                  <a:cubicBezTo>
                    <a:pt x="0" y="10"/>
                    <a:pt x="745" y="0"/>
                    <a:pt x="1505" y="384"/>
                  </a:cubicBezTo>
                  <a:cubicBezTo>
                    <a:pt x="0" y="384"/>
                    <a:pt x="0" y="384"/>
                    <a:pt x="0" y="384"/>
                  </a:cubicBezTo>
                  <a:lnTo>
                    <a:pt x="0" y="10"/>
                  </a:lnTo>
                  <a:close/>
                </a:path>
              </a:pathLst>
            </a:custGeom>
            <a:solidFill>
              <a:srgbClr val="5EC3A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330" name="Group 329"/>
            <p:cNvGrpSpPr/>
            <p:nvPr/>
          </p:nvGrpSpPr>
          <p:grpSpPr>
            <a:xfrm>
              <a:off x="5437188" y="1333500"/>
              <a:ext cx="1638300" cy="541338"/>
              <a:chOff x="5437188" y="1333500"/>
              <a:chExt cx="1638300" cy="541338"/>
            </a:xfrm>
          </p:grpSpPr>
          <p:sp>
            <p:nvSpPr>
              <p:cNvPr id="181" name="Freeform 72"/>
              <p:cNvSpPr>
                <a:spLocks/>
              </p:cNvSpPr>
              <p:nvPr/>
            </p:nvSpPr>
            <p:spPr bwMode="auto">
              <a:xfrm>
                <a:off x="6505575" y="1549400"/>
                <a:ext cx="119063" cy="180975"/>
              </a:xfrm>
              <a:custGeom>
                <a:avLst/>
                <a:gdLst>
                  <a:gd name="T0" fmla="*/ 41 w 52"/>
                  <a:gd name="T1" fmla="*/ 37 h 79"/>
                  <a:gd name="T2" fmla="*/ 32 w 52"/>
                  <a:gd name="T3" fmla="*/ 24 h 79"/>
                  <a:gd name="T4" fmla="*/ 24 w 52"/>
                  <a:gd name="T5" fmla="*/ 15 h 79"/>
                  <a:gd name="T6" fmla="*/ 10 w 52"/>
                  <a:gd name="T7" fmla="*/ 7 h 79"/>
                  <a:gd name="T8" fmla="*/ 10 w 52"/>
                  <a:gd name="T9" fmla="*/ 31 h 79"/>
                  <a:gd name="T10" fmla="*/ 18 w 52"/>
                  <a:gd name="T11" fmla="*/ 52 h 79"/>
                  <a:gd name="T12" fmla="*/ 23 w 52"/>
                  <a:gd name="T13" fmla="*/ 65 h 79"/>
                  <a:gd name="T14" fmla="*/ 32 w 52"/>
                  <a:gd name="T15" fmla="*/ 79 h 79"/>
                  <a:gd name="T16" fmla="*/ 38 w 52"/>
                  <a:gd name="T17" fmla="*/ 68 h 79"/>
                  <a:gd name="T18" fmla="*/ 41 w 52"/>
                  <a:gd name="T19" fmla="*/ 52 h 79"/>
                  <a:gd name="T20" fmla="*/ 41 w 52"/>
                  <a:gd name="T21" fmla="*/ 37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2" h="79">
                    <a:moveTo>
                      <a:pt x="41" y="37"/>
                    </a:moveTo>
                    <a:cubicBezTo>
                      <a:pt x="47" y="20"/>
                      <a:pt x="32" y="24"/>
                      <a:pt x="32" y="24"/>
                    </a:cubicBezTo>
                    <a:cubicBezTo>
                      <a:pt x="33" y="14"/>
                      <a:pt x="24" y="15"/>
                      <a:pt x="24" y="15"/>
                    </a:cubicBezTo>
                    <a:cubicBezTo>
                      <a:pt x="22" y="0"/>
                      <a:pt x="10" y="7"/>
                      <a:pt x="10" y="7"/>
                    </a:cubicBezTo>
                    <a:cubicBezTo>
                      <a:pt x="4" y="11"/>
                      <a:pt x="10" y="31"/>
                      <a:pt x="10" y="31"/>
                    </a:cubicBezTo>
                    <a:cubicBezTo>
                      <a:pt x="0" y="39"/>
                      <a:pt x="18" y="52"/>
                      <a:pt x="18" y="52"/>
                    </a:cubicBezTo>
                    <a:cubicBezTo>
                      <a:pt x="10" y="61"/>
                      <a:pt x="23" y="65"/>
                      <a:pt x="23" y="65"/>
                    </a:cubicBezTo>
                    <a:cubicBezTo>
                      <a:pt x="21" y="78"/>
                      <a:pt x="32" y="79"/>
                      <a:pt x="32" y="79"/>
                    </a:cubicBezTo>
                    <a:cubicBezTo>
                      <a:pt x="40" y="78"/>
                      <a:pt x="38" y="68"/>
                      <a:pt x="38" y="68"/>
                    </a:cubicBezTo>
                    <a:cubicBezTo>
                      <a:pt x="51" y="63"/>
                      <a:pt x="41" y="52"/>
                      <a:pt x="41" y="52"/>
                    </a:cubicBezTo>
                    <a:cubicBezTo>
                      <a:pt x="52" y="44"/>
                      <a:pt x="41" y="37"/>
                      <a:pt x="41" y="37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2" name="Freeform 73"/>
              <p:cNvSpPr>
                <a:spLocks/>
              </p:cNvSpPr>
              <p:nvPr/>
            </p:nvSpPr>
            <p:spPr bwMode="auto">
              <a:xfrm>
                <a:off x="6511925" y="1757363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3" name="Freeform 74"/>
              <p:cNvSpPr>
                <a:spLocks/>
              </p:cNvSpPr>
              <p:nvPr/>
            </p:nvSpPr>
            <p:spPr bwMode="auto">
              <a:xfrm>
                <a:off x="6478588" y="1714500"/>
                <a:ext cx="53975" cy="150813"/>
              </a:xfrm>
              <a:custGeom>
                <a:avLst/>
                <a:gdLst>
                  <a:gd name="T0" fmla="*/ 22 w 24"/>
                  <a:gd name="T1" fmla="*/ 6 h 66"/>
                  <a:gd name="T2" fmla="*/ 15 w 24"/>
                  <a:gd name="T3" fmla="*/ 19 h 66"/>
                  <a:gd name="T4" fmla="*/ 15 w 24"/>
                  <a:gd name="T5" fmla="*/ 19 h 66"/>
                  <a:gd name="T6" fmla="*/ 15 w 24"/>
                  <a:gd name="T7" fmla="*/ 19 h 66"/>
                  <a:gd name="T8" fmla="*/ 13 w 24"/>
                  <a:gd name="T9" fmla="*/ 0 h 66"/>
                  <a:gd name="T10" fmla="*/ 9 w 24"/>
                  <a:gd name="T11" fmla="*/ 3 h 66"/>
                  <a:gd name="T12" fmla="*/ 12 w 24"/>
                  <a:gd name="T13" fmla="*/ 22 h 66"/>
                  <a:gd name="T14" fmla="*/ 12 w 24"/>
                  <a:gd name="T15" fmla="*/ 23 h 66"/>
                  <a:gd name="T16" fmla="*/ 12 w 24"/>
                  <a:gd name="T17" fmla="*/ 22 h 66"/>
                  <a:gd name="T18" fmla="*/ 0 w 24"/>
                  <a:gd name="T19" fmla="*/ 3 h 66"/>
                  <a:gd name="T20" fmla="*/ 0 w 24"/>
                  <a:gd name="T21" fmla="*/ 10 h 66"/>
                  <a:gd name="T22" fmla="*/ 9 w 24"/>
                  <a:gd name="T23" fmla="*/ 31 h 66"/>
                  <a:gd name="T24" fmla="*/ 8 w 24"/>
                  <a:gd name="T25" fmla="*/ 66 h 66"/>
                  <a:gd name="T26" fmla="*/ 21 w 24"/>
                  <a:gd name="T27" fmla="*/ 66 h 66"/>
                  <a:gd name="T28" fmla="*/ 22 w 24"/>
                  <a:gd name="T29" fmla="*/ 66 h 66"/>
                  <a:gd name="T30" fmla="*/ 19 w 24"/>
                  <a:gd name="T31" fmla="*/ 39 h 66"/>
                  <a:gd name="T32" fmla="*/ 24 w 24"/>
                  <a:gd name="T33" fmla="*/ 12 h 66"/>
                  <a:gd name="T34" fmla="*/ 22 w 24"/>
                  <a:gd name="T35" fmla="*/ 6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4" h="66">
                    <a:moveTo>
                      <a:pt x="22" y="6"/>
                    </a:moveTo>
                    <a:cubicBezTo>
                      <a:pt x="18" y="10"/>
                      <a:pt x="16" y="17"/>
                      <a:pt x="15" y="19"/>
                    </a:cubicBezTo>
                    <a:cubicBezTo>
                      <a:pt x="15" y="19"/>
                      <a:pt x="15" y="19"/>
                      <a:pt x="15" y="19"/>
                    </a:cubicBezTo>
                    <a:cubicBezTo>
                      <a:pt x="15" y="19"/>
                      <a:pt x="15" y="19"/>
                      <a:pt x="15" y="19"/>
                    </a:cubicBezTo>
                    <a:cubicBezTo>
                      <a:pt x="15" y="16"/>
                      <a:pt x="13" y="0"/>
                      <a:pt x="13" y="0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11" y="6"/>
                      <a:pt x="11" y="19"/>
                      <a:pt x="12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2"/>
                    </a:cubicBezTo>
                    <a:cubicBezTo>
                      <a:pt x="11" y="14"/>
                      <a:pt x="0" y="3"/>
                      <a:pt x="0" y="3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3" y="11"/>
                      <a:pt x="7" y="20"/>
                      <a:pt x="9" y="31"/>
                    </a:cubicBezTo>
                    <a:cubicBezTo>
                      <a:pt x="11" y="41"/>
                      <a:pt x="8" y="66"/>
                      <a:pt x="8" y="66"/>
                    </a:cubicBezTo>
                    <a:cubicBezTo>
                      <a:pt x="21" y="66"/>
                      <a:pt x="21" y="66"/>
                      <a:pt x="21" y="66"/>
                    </a:cubicBezTo>
                    <a:cubicBezTo>
                      <a:pt x="22" y="66"/>
                      <a:pt x="22" y="66"/>
                      <a:pt x="22" y="66"/>
                    </a:cubicBezTo>
                    <a:cubicBezTo>
                      <a:pt x="21" y="63"/>
                      <a:pt x="19" y="39"/>
                      <a:pt x="19" y="39"/>
                    </a:cubicBezTo>
                    <a:cubicBezTo>
                      <a:pt x="18" y="18"/>
                      <a:pt x="24" y="12"/>
                      <a:pt x="24" y="12"/>
                    </a:cubicBezTo>
                    <a:lnTo>
                      <a:pt x="22" y="6"/>
                    </a:ln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4" name="Freeform 75"/>
              <p:cNvSpPr>
                <a:spLocks/>
              </p:cNvSpPr>
              <p:nvPr/>
            </p:nvSpPr>
            <p:spPr bwMode="auto">
              <a:xfrm>
                <a:off x="6505575" y="1763713"/>
                <a:ext cx="0" cy="3175"/>
              </a:xfrm>
              <a:custGeom>
                <a:avLst/>
                <a:gdLst>
                  <a:gd name="T0" fmla="*/ 0 h 1"/>
                  <a:gd name="T1" fmla="*/ 1 h 1"/>
                  <a:gd name="T2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0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5" name="Freeform 76"/>
              <p:cNvSpPr>
                <a:spLocks/>
              </p:cNvSpPr>
              <p:nvPr/>
            </p:nvSpPr>
            <p:spPr bwMode="auto">
              <a:xfrm>
                <a:off x="6532563" y="1624013"/>
                <a:ext cx="60325" cy="85725"/>
              </a:xfrm>
              <a:custGeom>
                <a:avLst/>
                <a:gdLst>
                  <a:gd name="T0" fmla="*/ 18 w 26"/>
                  <a:gd name="T1" fmla="*/ 12 h 37"/>
                  <a:gd name="T2" fmla="*/ 9 w 26"/>
                  <a:gd name="T3" fmla="*/ 2 h 37"/>
                  <a:gd name="T4" fmla="*/ 11 w 26"/>
                  <a:gd name="T5" fmla="*/ 34 h 37"/>
                  <a:gd name="T6" fmla="*/ 19 w 26"/>
                  <a:gd name="T7" fmla="*/ 24 h 37"/>
                  <a:gd name="T8" fmla="*/ 18 w 26"/>
                  <a:gd name="T9" fmla="*/ 12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" h="37">
                    <a:moveTo>
                      <a:pt x="18" y="12"/>
                    </a:moveTo>
                    <a:cubicBezTo>
                      <a:pt x="23" y="0"/>
                      <a:pt x="9" y="2"/>
                      <a:pt x="9" y="2"/>
                    </a:cubicBezTo>
                    <a:cubicBezTo>
                      <a:pt x="0" y="4"/>
                      <a:pt x="11" y="34"/>
                      <a:pt x="11" y="34"/>
                    </a:cubicBezTo>
                    <a:cubicBezTo>
                      <a:pt x="24" y="37"/>
                      <a:pt x="19" y="24"/>
                      <a:pt x="19" y="24"/>
                    </a:cubicBezTo>
                    <a:cubicBezTo>
                      <a:pt x="26" y="16"/>
                      <a:pt x="18" y="12"/>
                      <a:pt x="18" y="12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6" name="Freeform 77"/>
              <p:cNvSpPr>
                <a:spLocks/>
              </p:cNvSpPr>
              <p:nvPr/>
            </p:nvSpPr>
            <p:spPr bwMode="auto">
              <a:xfrm>
                <a:off x="6527800" y="1595438"/>
                <a:ext cx="3175" cy="0"/>
              </a:xfrm>
              <a:custGeom>
                <a:avLst/>
                <a:gdLst>
                  <a:gd name="T0" fmla="*/ 1 w 1"/>
                  <a:gd name="T1" fmla="*/ 0 w 1"/>
                  <a:gd name="T2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0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7" name="Freeform 78"/>
              <p:cNvSpPr>
                <a:spLocks/>
              </p:cNvSpPr>
              <p:nvPr/>
            </p:nvSpPr>
            <p:spPr bwMode="auto">
              <a:xfrm>
                <a:off x="6459538" y="1539875"/>
                <a:ext cx="98425" cy="119063"/>
              </a:xfrm>
              <a:custGeom>
                <a:avLst/>
                <a:gdLst>
                  <a:gd name="T0" fmla="*/ 37 w 43"/>
                  <a:gd name="T1" fmla="*/ 36 h 52"/>
                  <a:gd name="T2" fmla="*/ 38 w 43"/>
                  <a:gd name="T3" fmla="*/ 28 h 52"/>
                  <a:gd name="T4" fmla="*/ 31 w 43"/>
                  <a:gd name="T5" fmla="*/ 24 h 52"/>
                  <a:gd name="T6" fmla="*/ 30 w 43"/>
                  <a:gd name="T7" fmla="*/ 24 h 52"/>
                  <a:gd name="T8" fmla="*/ 31 w 43"/>
                  <a:gd name="T9" fmla="*/ 24 h 52"/>
                  <a:gd name="T10" fmla="*/ 33 w 43"/>
                  <a:gd name="T11" fmla="*/ 16 h 52"/>
                  <a:gd name="T12" fmla="*/ 20 w 43"/>
                  <a:gd name="T13" fmla="*/ 9 h 52"/>
                  <a:gd name="T14" fmla="*/ 10 w 43"/>
                  <a:gd name="T15" fmla="*/ 1 h 52"/>
                  <a:gd name="T16" fmla="*/ 5 w 43"/>
                  <a:gd name="T17" fmla="*/ 9 h 52"/>
                  <a:gd name="T18" fmla="*/ 9 w 43"/>
                  <a:gd name="T19" fmla="*/ 19 h 52"/>
                  <a:gd name="T20" fmla="*/ 14 w 43"/>
                  <a:gd name="T21" fmla="*/ 28 h 52"/>
                  <a:gd name="T22" fmla="*/ 21 w 43"/>
                  <a:gd name="T23" fmla="*/ 39 h 52"/>
                  <a:gd name="T24" fmla="*/ 32 w 43"/>
                  <a:gd name="T25" fmla="*/ 51 h 52"/>
                  <a:gd name="T26" fmla="*/ 41 w 43"/>
                  <a:gd name="T27" fmla="*/ 45 h 52"/>
                  <a:gd name="T28" fmla="*/ 37 w 43"/>
                  <a:gd name="T29" fmla="*/ 36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3" h="52">
                    <a:moveTo>
                      <a:pt x="37" y="36"/>
                    </a:moveTo>
                    <a:cubicBezTo>
                      <a:pt x="40" y="30"/>
                      <a:pt x="38" y="28"/>
                      <a:pt x="38" y="28"/>
                    </a:cubicBezTo>
                    <a:cubicBezTo>
                      <a:pt x="37" y="24"/>
                      <a:pt x="33" y="24"/>
                      <a:pt x="31" y="24"/>
                    </a:cubicBezTo>
                    <a:cubicBezTo>
                      <a:pt x="31" y="24"/>
                      <a:pt x="30" y="24"/>
                      <a:pt x="30" y="24"/>
                    </a:cubicBezTo>
                    <a:cubicBezTo>
                      <a:pt x="30" y="24"/>
                      <a:pt x="30" y="24"/>
                      <a:pt x="31" y="24"/>
                    </a:cubicBezTo>
                    <a:cubicBezTo>
                      <a:pt x="34" y="23"/>
                      <a:pt x="33" y="16"/>
                      <a:pt x="33" y="16"/>
                    </a:cubicBezTo>
                    <a:cubicBezTo>
                      <a:pt x="31" y="4"/>
                      <a:pt x="20" y="9"/>
                      <a:pt x="20" y="9"/>
                    </a:cubicBezTo>
                    <a:cubicBezTo>
                      <a:pt x="20" y="0"/>
                      <a:pt x="10" y="1"/>
                      <a:pt x="10" y="1"/>
                    </a:cubicBezTo>
                    <a:cubicBezTo>
                      <a:pt x="5" y="1"/>
                      <a:pt x="5" y="9"/>
                      <a:pt x="5" y="9"/>
                    </a:cubicBezTo>
                    <a:cubicBezTo>
                      <a:pt x="4" y="13"/>
                      <a:pt x="9" y="19"/>
                      <a:pt x="9" y="19"/>
                    </a:cubicBezTo>
                    <a:cubicBezTo>
                      <a:pt x="0" y="32"/>
                      <a:pt x="14" y="28"/>
                      <a:pt x="14" y="28"/>
                    </a:cubicBezTo>
                    <a:cubicBezTo>
                      <a:pt x="5" y="36"/>
                      <a:pt x="21" y="39"/>
                      <a:pt x="21" y="39"/>
                    </a:cubicBezTo>
                    <a:cubicBezTo>
                      <a:pt x="18" y="52"/>
                      <a:pt x="32" y="51"/>
                      <a:pt x="32" y="51"/>
                    </a:cubicBezTo>
                    <a:cubicBezTo>
                      <a:pt x="40" y="52"/>
                      <a:pt x="41" y="45"/>
                      <a:pt x="41" y="45"/>
                    </a:cubicBezTo>
                    <a:cubicBezTo>
                      <a:pt x="43" y="40"/>
                      <a:pt x="37" y="36"/>
                      <a:pt x="37" y="36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8" name="Freeform 79"/>
              <p:cNvSpPr>
                <a:spLocks/>
              </p:cNvSpPr>
              <p:nvPr/>
            </p:nvSpPr>
            <p:spPr bwMode="auto">
              <a:xfrm>
                <a:off x="6402388" y="1550988"/>
                <a:ext cx="119063" cy="117475"/>
              </a:xfrm>
              <a:custGeom>
                <a:avLst/>
                <a:gdLst>
                  <a:gd name="T0" fmla="*/ 41 w 52"/>
                  <a:gd name="T1" fmla="*/ 17 h 51"/>
                  <a:gd name="T2" fmla="*/ 34 w 52"/>
                  <a:gd name="T3" fmla="*/ 10 h 51"/>
                  <a:gd name="T4" fmla="*/ 26 w 52"/>
                  <a:gd name="T5" fmla="*/ 1 h 51"/>
                  <a:gd name="T6" fmla="*/ 20 w 52"/>
                  <a:gd name="T7" fmla="*/ 9 h 51"/>
                  <a:gd name="T8" fmla="*/ 10 w 52"/>
                  <a:gd name="T9" fmla="*/ 18 h 51"/>
                  <a:gd name="T10" fmla="*/ 15 w 52"/>
                  <a:gd name="T11" fmla="*/ 34 h 51"/>
                  <a:gd name="T12" fmla="*/ 25 w 52"/>
                  <a:gd name="T13" fmla="*/ 42 h 51"/>
                  <a:gd name="T14" fmla="*/ 36 w 52"/>
                  <a:gd name="T15" fmla="*/ 40 h 51"/>
                  <a:gd name="T16" fmla="*/ 41 w 52"/>
                  <a:gd name="T17" fmla="*/ 27 h 51"/>
                  <a:gd name="T18" fmla="*/ 41 w 52"/>
                  <a:gd name="T19" fmla="*/ 17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2" h="51">
                    <a:moveTo>
                      <a:pt x="41" y="17"/>
                    </a:moveTo>
                    <a:cubicBezTo>
                      <a:pt x="42" y="8"/>
                      <a:pt x="34" y="10"/>
                      <a:pt x="34" y="10"/>
                    </a:cubicBezTo>
                    <a:cubicBezTo>
                      <a:pt x="32" y="0"/>
                      <a:pt x="26" y="1"/>
                      <a:pt x="26" y="1"/>
                    </a:cubicBezTo>
                    <a:cubicBezTo>
                      <a:pt x="20" y="2"/>
                      <a:pt x="20" y="9"/>
                      <a:pt x="20" y="9"/>
                    </a:cubicBezTo>
                    <a:cubicBezTo>
                      <a:pt x="8" y="9"/>
                      <a:pt x="10" y="18"/>
                      <a:pt x="10" y="18"/>
                    </a:cubicBezTo>
                    <a:cubicBezTo>
                      <a:pt x="0" y="28"/>
                      <a:pt x="15" y="34"/>
                      <a:pt x="15" y="34"/>
                    </a:cubicBezTo>
                    <a:cubicBezTo>
                      <a:pt x="12" y="47"/>
                      <a:pt x="25" y="42"/>
                      <a:pt x="25" y="42"/>
                    </a:cubicBezTo>
                    <a:cubicBezTo>
                      <a:pt x="32" y="51"/>
                      <a:pt x="36" y="40"/>
                      <a:pt x="36" y="40"/>
                    </a:cubicBezTo>
                    <a:cubicBezTo>
                      <a:pt x="44" y="40"/>
                      <a:pt x="41" y="27"/>
                      <a:pt x="41" y="27"/>
                    </a:cubicBezTo>
                    <a:cubicBezTo>
                      <a:pt x="52" y="21"/>
                      <a:pt x="41" y="17"/>
                      <a:pt x="41" y="17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9" name="Freeform 80"/>
              <p:cNvSpPr>
                <a:spLocks/>
              </p:cNvSpPr>
              <p:nvPr/>
            </p:nvSpPr>
            <p:spPr bwMode="auto">
              <a:xfrm>
                <a:off x="6370638" y="1592263"/>
                <a:ext cx="109538" cy="109538"/>
              </a:xfrm>
              <a:custGeom>
                <a:avLst/>
                <a:gdLst>
                  <a:gd name="T0" fmla="*/ 37 w 48"/>
                  <a:gd name="T1" fmla="*/ 21 h 48"/>
                  <a:gd name="T2" fmla="*/ 38 w 48"/>
                  <a:gd name="T3" fmla="*/ 12 h 48"/>
                  <a:gd name="T4" fmla="*/ 28 w 48"/>
                  <a:gd name="T5" fmla="*/ 10 h 48"/>
                  <a:gd name="T6" fmla="*/ 22 w 48"/>
                  <a:gd name="T7" fmla="*/ 0 h 48"/>
                  <a:gd name="T8" fmla="*/ 15 w 48"/>
                  <a:gd name="T9" fmla="*/ 9 h 48"/>
                  <a:gd name="T10" fmla="*/ 10 w 48"/>
                  <a:gd name="T11" fmla="*/ 19 h 48"/>
                  <a:gd name="T12" fmla="*/ 9 w 48"/>
                  <a:gd name="T13" fmla="*/ 33 h 48"/>
                  <a:gd name="T14" fmla="*/ 10 w 48"/>
                  <a:gd name="T15" fmla="*/ 33 h 48"/>
                  <a:gd name="T16" fmla="*/ 19 w 48"/>
                  <a:gd name="T17" fmla="*/ 38 h 48"/>
                  <a:gd name="T18" fmla="*/ 28 w 48"/>
                  <a:gd name="T19" fmla="*/ 37 h 48"/>
                  <a:gd name="T20" fmla="*/ 44 w 48"/>
                  <a:gd name="T21" fmla="*/ 32 h 48"/>
                  <a:gd name="T22" fmla="*/ 37 w 48"/>
                  <a:gd name="T23" fmla="*/ 21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8" h="48">
                    <a:moveTo>
                      <a:pt x="37" y="21"/>
                    </a:moveTo>
                    <a:cubicBezTo>
                      <a:pt x="42" y="19"/>
                      <a:pt x="38" y="12"/>
                      <a:pt x="38" y="12"/>
                    </a:cubicBezTo>
                    <a:cubicBezTo>
                      <a:pt x="36" y="6"/>
                      <a:pt x="28" y="10"/>
                      <a:pt x="28" y="10"/>
                    </a:cubicBezTo>
                    <a:cubicBezTo>
                      <a:pt x="32" y="0"/>
                      <a:pt x="22" y="0"/>
                      <a:pt x="22" y="0"/>
                    </a:cubicBezTo>
                    <a:cubicBezTo>
                      <a:pt x="16" y="0"/>
                      <a:pt x="15" y="9"/>
                      <a:pt x="15" y="9"/>
                    </a:cubicBezTo>
                    <a:cubicBezTo>
                      <a:pt x="5" y="10"/>
                      <a:pt x="10" y="19"/>
                      <a:pt x="10" y="19"/>
                    </a:cubicBezTo>
                    <a:cubicBezTo>
                      <a:pt x="0" y="23"/>
                      <a:pt x="9" y="33"/>
                      <a:pt x="9" y="33"/>
                    </a:cubicBezTo>
                    <a:cubicBezTo>
                      <a:pt x="9" y="34"/>
                      <a:pt x="10" y="33"/>
                      <a:pt x="10" y="33"/>
                    </a:cubicBezTo>
                    <a:cubicBezTo>
                      <a:pt x="9" y="45"/>
                      <a:pt x="19" y="38"/>
                      <a:pt x="19" y="38"/>
                    </a:cubicBezTo>
                    <a:cubicBezTo>
                      <a:pt x="20" y="44"/>
                      <a:pt x="28" y="37"/>
                      <a:pt x="28" y="37"/>
                    </a:cubicBezTo>
                    <a:cubicBezTo>
                      <a:pt x="38" y="48"/>
                      <a:pt x="44" y="32"/>
                      <a:pt x="44" y="32"/>
                    </a:cubicBezTo>
                    <a:cubicBezTo>
                      <a:pt x="48" y="22"/>
                      <a:pt x="37" y="21"/>
                      <a:pt x="37" y="21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90" name="Freeform 81"/>
              <p:cNvSpPr>
                <a:spLocks/>
              </p:cNvSpPr>
              <p:nvPr/>
            </p:nvSpPr>
            <p:spPr bwMode="auto">
              <a:xfrm>
                <a:off x="6367463" y="1649413"/>
                <a:ext cx="119063" cy="127000"/>
              </a:xfrm>
              <a:custGeom>
                <a:avLst/>
                <a:gdLst>
                  <a:gd name="T0" fmla="*/ 43 w 52"/>
                  <a:gd name="T1" fmla="*/ 18 h 55"/>
                  <a:gd name="T2" fmla="*/ 34 w 52"/>
                  <a:gd name="T3" fmla="*/ 11 h 55"/>
                  <a:gd name="T4" fmla="*/ 25 w 52"/>
                  <a:gd name="T5" fmla="*/ 5 h 55"/>
                  <a:gd name="T6" fmla="*/ 21 w 52"/>
                  <a:gd name="T7" fmla="*/ 1 h 55"/>
                  <a:gd name="T8" fmla="*/ 20 w 52"/>
                  <a:gd name="T9" fmla="*/ 1 h 55"/>
                  <a:gd name="T10" fmla="*/ 12 w 52"/>
                  <a:gd name="T11" fmla="*/ 8 h 55"/>
                  <a:gd name="T12" fmla="*/ 11 w 52"/>
                  <a:gd name="T13" fmla="*/ 20 h 55"/>
                  <a:gd name="T14" fmla="*/ 12 w 52"/>
                  <a:gd name="T15" fmla="*/ 29 h 55"/>
                  <a:gd name="T16" fmla="*/ 18 w 52"/>
                  <a:gd name="T17" fmla="*/ 36 h 55"/>
                  <a:gd name="T18" fmla="*/ 26 w 52"/>
                  <a:gd name="T19" fmla="*/ 45 h 55"/>
                  <a:gd name="T20" fmla="*/ 26 w 52"/>
                  <a:gd name="T21" fmla="*/ 45 h 55"/>
                  <a:gd name="T22" fmla="*/ 26 w 52"/>
                  <a:gd name="T23" fmla="*/ 46 h 55"/>
                  <a:gd name="T24" fmla="*/ 36 w 52"/>
                  <a:gd name="T25" fmla="*/ 46 h 55"/>
                  <a:gd name="T26" fmla="*/ 37 w 52"/>
                  <a:gd name="T27" fmla="*/ 47 h 55"/>
                  <a:gd name="T28" fmla="*/ 45 w 52"/>
                  <a:gd name="T29" fmla="*/ 41 h 55"/>
                  <a:gd name="T30" fmla="*/ 46 w 52"/>
                  <a:gd name="T31" fmla="*/ 35 h 55"/>
                  <a:gd name="T32" fmla="*/ 47 w 52"/>
                  <a:gd name="T33" fmla="*/ 26 h 55"/>
                  <a:gd name="T34" fmla="*/ 43 w 52"/>
                  <a:gd name="T35" fmla="*/ 18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2" h="55">
                    <a:moveTo>
                      <a:pt x="43" y="18"/>
                    </a:moveTo>
                    <a:cubicBezTo>
                      <a:pt x="43" y="8"/>
                      <a:pt x="34" y="11"/>
                      <a:pt x="34" y="11"/>
                    </a:cubicBezTo>
                    <a:cubicBezTo>
                      <a:pt x="31" y="0"/>
                      <a:pt x="25" y="5"/>
                      <a:pt x="25" y="5"/>
                    </a:cubicBezTo>
                    <a:cubicBezTo>
                      <a:pt x="25" y="3"/>
                      <a:pt x="21" y="1"/>
                      <a:pt x="21" y="1"/>
                    </a:cubicBezTo>
                    <a:cubicBezTo>
                      <a:pt x="21" y="1"/>
                      <a:pt x="20" y="1"/>
                      <a:pt x="20" y="1"/>
                    </a:cubicBezTo>
                    <a:cubicBezTo>
                      <a:pt x="11" y="0"/>
                      <a:pt x="12" y="8"/>
                      <a:pt x="12" y="8"/>
                    </a:cubicBezTo>
                    <a:cubicBezTo>
                      <a:pt x="0" y="13"/>
                      <a:pt x="11" y="20"/>
                      <a:pt x="11" y="20"/>
                    </a:cubicBezTo>
                    <a:cubicBezTo>
                      <a:pt x="2" y="24"/>
                      <a:pt x="12" y="29"/>
                      <a:pt x="12" y="29"/>
                    </a:cubicBezTo>
                    <a:cubicBezTo>
                      <a:pt x="10" y="40"/>
                      <a:pt x="18" y="36"/>
                      <a:pt x="18" y="36"/>
                    </a:cubicBezTo>
                    <a:cubicBezTo>
                      <a:pt x="16" y="51"/>
                      <a:pt x="26" y="45"/>
                      <a:pt x="26" y="45"/>
                    </a:cubicBezTo>
                    <a:cubicBezTo>
                      <a:pt x="26" y="45"/>
                      <a:pt x="19" y="35"/>
                      <a:pt x="26" y="45"/>
                    </a:cubicBezTo>
                    <a:cubicBezTo>
                      <a:pt x="26" y="45"/>
                      <a:pt x="26" y="45"/>
                      <a:pt x="26" y="46"/>
                    </a:cubicBezTo>
                    <a:cubicBezTo>
                      <a:pt x="33" y="55"/>
                      <a:pt x="36" y="46"/>
                      <a:pt x="36" y="46"/>
                    </a:cubicBezTo>
                    <a:cubicBezTo>
                      <a:pt x="37" y="46"/>
                      <a:pt x="37" y="46"/>
                      <a:pt x="37" y="47"/>
                    </a:cubicBezTo>
                    <a:cubicBezTo>
                      <a:pt x="48" y="53"/>
                      <a:pt x="45" y="41"/>
                      <a:pt x="45" y="41"/>
                    </a:cubicBezTo>
                    <a:cubicBezTo>
                      <a:pt x="50" y="38"/>
                      <a:pt x="46" y="35"/>
                      <a:pt x="46" y="35"/>
                    </a:cubicBezTo>
                    <a:cubicBezTo>
                      <a:pt x="52" y="33"/>
                      <a:pt x="47" y="26"/>
                      <a:pt x="47" y="26"/>
                    </a:cubicBezTo>
                    <a:cubicBezTo>
                      <a:pt x="51" y="21"/>
                      <a:pt x="43" y="18"/>
                      <a:pt x="43" y="18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91" name="Freeform 82"/>
              <p:cNvSpPr>
                <a:spLocks/>
              </p:cNvSpPr>
              <p:nvPr/>
            </p:nvSpPr>
            <p:spPr bwMode="auto">
              <a:xfrm>
                <a:off x="6465888" y="1611313"/>
                <a:ext cx="111125" cy="150813"/>
              </a:xfrm>
              <a:custGeom>
                <a:avLst/>
                <a:gdLst>
                  <a:gd name="T0" fmla="*/ 41 w 48"/>
                  <a:gd name="T1" fmla="*/ 42 h 66"/>
                  <a:gd name="T2" fmla="*/ 43 w 48"/>
                  <a:gd name="T3" fmla="*/ 34 h 66"/>
                  <a:gd name="T4" fmla="*/ 38 w 48"/>
                  <a:gd name="T5" fmla="*/ 28 h 66"/>
                  <a:gd name="T6" fmla="*/ 38 w 48"/>
                  <a:gd name="T7" fmla="*/ 20 h 66"/>
                  <a:gd name="T8" fmla="*/ 32 w 48"/>
                  <a:gd name="T9" fmla="*/ 18 h 66"/>
                  <a:gd name="T10" fmla="*/ 22 w 48"/>
                  <a:gd name="T11" fmla="*/ 7 h 66"/>
                  <a:gd name="T12" fmla="*/ 14 w 48"/>
                  <a:gd name="T13" fmla="*/ 0 h 66"/>
                  <a:gd name="T14" fmla="*/ 8 w 48"/>
                  <a:gd name="T15" fmla="*/ 11 h 66"/>
                  <a:gd name="T16" fmla="*/ 1 w 48"/>
                  <a:gd name="T17" fmla="*/ 23 h 66"/>
                  <a:gd name="T18" fmla="*/ 12 w 48"/>
                  <a:gd name="T19" fmla="*/ 38 h 66"/>
                  <a:gd name="T20" fmla="*/ 21 w 48"/>
                  <a:gd name="T21" fmla="*/ 37 h 66"/>
                  <a:gd name="T22" fmla="*/ 20 w 48"/>
                  <a:gd name="T23" fmla="*/ 37 h 66"/>
                  <a:gd name="T24" fmla="*/ 28 w 48"/>
                  <a:gd name="T25" fmla="*/ 45 h 66"/>
                  <a:gd name="T26" fmla="*/ 45 w 48"/>
                  <a:gd name="T27" fmla="*/ 50 h 66"/>
                  <a:gd name="T28" fmla="*/ 41 w 48"/>
                  <a:gd name="T29" fmla="*/ 42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8" h="66">
                    <a:moveTo>
                      <a:pt x="41" y="42"/>
                    </a:moveTo>
                    <a:cubicBezTo>
                      <a:pt x="43" y="41"/>
                      <a:pt x="43" y="34"/>
                      <a:pt x="43" y="34"/>
                    </a:cubicBezTo>
                    <a:cubicBezTo>
                      <a:pt x="43" y="29"/>
                      <a:pt x="38" y="28"/>
                      <a:pt x="38" y="28"/>
                    </a:cubicBezTo>
                    <a:cubicBezTo>
                      <a:pt x="40" y="25"/>
                      <a:pt x="38" y="20"/>
                      <a:pt x="38" y="20"/>
                    </a:cubicBezTo>
                    <a:cubicBezTo>
                      <a:pt x="36" y="17"/>
                      <a:pt x="32" y="18"/>
                      <a:pt x="32" y="18"/>
                    </a:cubicBezTo>
                    <a:cubicBezTo>
                      <a:pt x="33" y="7"/>
                      <a:pt x="22" y="7"/>
                      <a:pt x="22" y="7"/>
                    </a:cubicBezTo>
                    <a:cubicBezTo>
                      <a:pt x="22" y="1"/>
                      <a:pt x="14" y="0"/>
                      <a:pt x="14" y="0"/>
                    </a:cubicBezTo>
                    <a:cubicBezTo>
                      <a:pt x="7" y="2"/>
                      <a:pt x="8" y="11"/>
                      <a:pt x="8" y="11"/>
                    </a:cubicBezTo>
                    <a:cubicBezTo>
                      <a:pt x="0" y="12"/>
                      <a:pt x="1" y="23"/>
                      <a:pt x="1" y="23"/>
                    </a:cubicBezTo>
                    <a:cubicBezTo>
                      <a:pt x="1" y="53"/>
                      <a:pt x="12" y="38"/>
                      <a:pt x="12" y="38"/>
                    </a:cubicBezTo>
                    <a:cubicBezTo>
                      <a:pt x="15" y="43"/>
                      <a:pt x="21" y="37"/>
                      <a:pt x="21" y="37"/>
                    </a:cubicBezTo>
                    <a:cubicBezTo>
                      <a:pt x="21" y="37"/>
                      <a:pt x="20" y="37"/>
                      <a:pt x="20" y="37"/>
                    </a:cubicBezTo>
                    <a:cubicBezTo>
                      <a:pt x="17" y="47"/>
                      <a:pt x="28" y="45"/>
                      <a:pt x="28" y="45"/>
                    </a:cubicBezTo>
                    <a:cubicBezTo>
                      <a:pt x="40" y="66"/>
                      <a:pt x="45" y="50"/>
                      <a:pt x="45" y="50"/>
                    </a:cubicBezTo>
                    <a:cubicBezTo>
                      <a:pt x="48" y="45"/>
                      <a:pt x="41" y="42"/>
                      <a:pt x="41" y="42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92" name="Freeform 83"/>
              <p:cNvSpPr>
                <a:spLocks/>
              </p:cNvSpPr>
              <p:nvPr/>
            </p:nvSpPr>
            <p:spPr bwMode="auto">
              <a:xfrm>
                <a:off x="6424613" y="1631950"/>
                <a:ext cx="171450" cy="144463"/>
              </a:xfrm>
              <a:custGeom>
                <a:avLst/>
                <a:gdLst>
                  <a:gd name="T0" fmla="*/ 68 w 75"/>
                  <a:gd name="T1" fmla="*/ 46 h 63"/>
                  <a:gd name="T2" fmla="*/ 57 w 75"/>
                  <a:gd name="T3" fmla="*/ 42 h 63"/>
                  <a:gd name="T4" fmla="*/ 52 w 75"/>
                  <a:gd name="T5" fmla="*/ 35 h 63"/>
                  <a:gd name="T6" fmla="*/ 41 w 75"/>
                  <a:gd name="T7" fmla="*/ 23 h 63"/>
                  <a:gd name="T8" fmla="*/ 36 w 75"/>
                  <a:gd name="T9" fmla="*/ 15 h 63"/>
                  <a:gd name="T10" fmla="*/ 23 w 75"/>
                  <a:gd name="T11" fmla="*/ 16 h 63"/>
                  <a:gd name="T12" fmla="*/ 14 w 75"/>
                  <a:gd name="T13" fmla="*/ 22 h 63"/>
                  <a:gd name="T14" fmla="*/ 9 w 75"/>
                  <a:gd name="T15" fmla="*/ 35 h 63"/>
                  <a:gd name="T16" fmla="*/ 14 w 75"/>
                  <a:gd name="T17" fmla="*/ 46 h 63"/>
                  <a:gd name="T18" fmla="*/ 25 w 75"/>
                  <a:gd name="T19" fmla="*/ 38 h 63"/>
                  <a:gd name="T20" fmla="*/ 37 w 75"/>
                  <a:gd name="T21" fmla="*/ 38 h 63"/>
                  <a:gd name="T22" fmla="*/ 46 w 75"/>
                  <a:gd name="T23" fmla="*/ 42 h 63"/>
                  <a:gd name="T24" fmla="*/ 46 w 75"/>
                  <a:gd name="T25" fmla="*/ 42 h 63"/>
                  <a:gd name="T26" fmla="*/ 46 w 75"/>
                  <a:gd name="T27" fmla="*/ 42 h 63"/>
                  <a:gd name="T28" fmla="*/ 57 w 75"/>
                  <a:gd name="T29" fmla="*/ 52 h 63"/>
                  <a:gd name="T30" fmla="*/ 71 w 75"/>
                  <a:gd name="T31" fmla="*/ 54 h 63"/>
                  <a:gd name="T32" fmla="*/ 68 w 75"/>
                  <a:gd name="T33" fmla="*/ 46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5" h="63">
                    <a:moveTo>
                      <a:pt x="68" y="46"/>
                    </a:moveTo>
                    <a:cubicBezTo>
                      <a:pt x="68" y="46"/>
                      <a:pt x="67" y="33"/>
                      <a:pt x="57" y="42"/>
                    </a:cubicBezTo>
                    <a:cubicBezTo>
                      <a:pt x="57" y="42"/>
                      <a:pt x="60" y="35"/>
                      <a:pt x="52" y="35"/>
                    </a:cubicBezTo>
                    <a:cubicBezTo>
                      <a:pt x="52" y="35"/>
                      <a:pt x="58" y="19"/>
                      <a:pt x="41" y="23"/>
                    </a:cubicBezTo>
                    <a:cubicBezTo>
                      <a:pt x="41" y="23"/>
                      <a:pt x="47" y="13"/>
                      <a:pt x="36" y="15"/>
                    </a:cubicBezTo>
                    <a:cubicBezTo>
                      <a:pt x="36" y="15"/>
                      <a:pt x="30" y="0"/>
                      <a:pt x="23" y="16"/>
                    </a:cubicBezTo>
                    <a:cubicBezTo>
                      <a:pt x="23" y="16"/>
                      <a:pt x="12" y="11"/>
                      <a:pt x="14" y="22"/>
                    </a:cubicBezTo>
                    <a:cubicBezTo>
                      <a:pt x="14" y="22"/>
                      <a:pt x="2" y="24"/>
                      <a:pt x="9" y="35"/>
                    </a:cubicBezTo>
                    <a:cubicBezTo>
                      <a:pt x="9" y="35"/>
                      <a:pt x="0" y="49"/>
                      <a:pt x="14" y="46"/>
                    </a:cubicBezTo>
                    <a:cubicBezTo>
                      <a:pt x="14" y="46"/>
                      <a:pt x="25" y="56"/>
                      <a:pt x="25" y="38"/>
                    </a:cubicBezTo>
                    <a:cubicBezTo>
                      <a:pt x="25" y="38"/>
                      <a:pt x="32" y="51"/>
                      <a:pt x="37" y="38"/>
                    </a:cubicBezTo>
                    <a:cubicBezTo>
                      <a:pt x="37" y="38"/>
                      <a:pt x="38" y="47"/>
                      <a:pt x="46" y="42"/>
                    </a:cubicBezTo>
                    <a:cubicBezTo>
                      <a:pt x="46" y="42"/>
                      <a:pt x="46" y="42"/>
                      <a:pt x="46" y="42"/>
                    </a:cubicBezTo>
                    <a:cubicBezTo>
                      <a:pt x="55" y="36"/>
                      <a:pt x="46" y="42"/>
                      <a:pt x="46" y="42"/>
                    </a:cubicBezTo>
                    <a:cubicBezTo>
                      <a:pt x="46" y="42"/>
                      <a:pt x="44" y="61"/>
                      <a:pt x="57" y="52"/>
                    </a:cubicBezTo>
                    <a:cubicBezTo>
                      <a:pt x="57" y="52"/>
                      <a:pt x="62" y="63"/>
                      <a:pt x="71" y="54"/>
                    </a:cubicBezTo>
                    <a:cubicBezTo>
                      <a:pt x="71" y="54"/>
                      <a:pt x="75" y="47"/>
                      <a:pt x="68" y="46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93" name="Freeform 84"/>
              <p:cNvSpPr>
                <a:spLocks/>
              </p:cNvSpPr>
              <p:nvPr/>
            </p:nvSpPr>
            <p:spPr bwMode="auto">
              <a:xfrm>
                <a:off x="6178550" y="1608138"/>
                <a:ext cx="98425" cy="152400"/>
              </a:xfrm>
              <a:custGeom>
                <a:avLst/>
                <a:gdLst>
                  <a:gd name="T0" fmla="*/ 35 w 43"/>
                  <a:gd name="T1" fmla="*/ 26 h 66"/>
                  <a:gd name="T2" fmla="*/ 35 w 43"/>
                  <a:gd name="T3" fmla="*/ 6 h 66"/>
                  <a:gd name="T4" fmla="*/ 23 w 43"/>
                  <a:gd name="T5" fmla="*/ 12 h 66"/>
                  <a:gd name="T6" fmla="*/ 16 w 43"/>
                  <a:gd name="T7" fmla="*/ 20 h 66"/>
                  <a:gd name="T8" fmla="*/ 8 w 43"/>
                  <a:gd name="T9" fmla="*/ 31 h 66"/>
                  <a:gd name="T10" fmla="*/ 9 w 43"/>
                  <a:gd name="T11" fmla="*/ 44 h 66"/>
                  <a:gd name="T12" fmla="*/ 11 w 43"/>
                  <a:gd name="T13" fmla="*/ 57 h 66"/>
                  <a:gd name="T14" fmla="*/ 16 w 43"/>
                  <a:gd name="T15" fmla="*/ 66 h 66"/>
                  <a:gd name="T16" fmla="*/ 24 w 43"/>
                  <a:gd name="T17" fmla="*/ 55 h 66"/>
                  <a:gd name="T18" fmla="*/ 28 w 43"/>
                  <a:gd name="T19" fmla="*/ 44 h 66"/>
                  <a:gd name="T20" fmla="*/ 35 w 43"/>
                  <a:gd name="T21" fmla="*/ 26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3" h="66">
                    <a:moveTo>
                      <a:pt x="35" y="26"/>
                    </a:moveTo>
                    <a:cubicBezTo>
                      <a:pt x="35" y="26"/>
                      <a:pt x="40" y="10"/>
                      <a:pt x="35" y="6"/>
                    </a:cubicBezTo>
                    <a:cubicBezTo>
                      <a:pt x="35" y="6"/>
                      <a:pt x="24" y="0"/>
                      <a:pt x="23" y="12"/>
                    </a:cubicBezTo>
                    <a:cubicBezTo>
                      <a:pt x="23" y="12"/>
                      <a:pt x="15" y="12"/>
                      <a:pt x="16" y="20"/>
                    </a:cubicBezTo>
                    <a:cubicBezTo>
                      <a:pt x="16" y="20"/>
                      <a:pt x="4" y="17"/>
                      <a:pt x="8" y="31"/>
                    </a:cubicBezTo>
                    <a:cubicBezTo>
                      <a:pt x="8" y="31"/>
                      <a:pt x="0" y="37"/>
                      <a:pt x="9" y="44"/>
                    </a:cubicBezTo>
                    <a:cubicBezTo>
                      <a:pt x="9" y="44"/>
                      <a:pt x="1" y="53"/>
                      <a:pt x="11" y="57"/>
                    </a:cubicBezTo>
                    <a:cubicBezTo>
                      <a:pt x="11" y="57"/>
                      <a:pt x="9" y="65"/>
                      <a:pt x="16" y="66"/>
                    </a:cubicBezTo>
                    <a:cubicBezTo>
                      <a:pt x="16" y="66"/>
                      <a:pt x="25" y="65"/>
                      <a:pt x="24" y="55"/>
                    </a:cubicBezTo>
                    <a:cubicBezTo>
                      <a:pt x="24" y="55"/>
                      <a:pt x="35" y="51"/>
                      <a:pt x="28" y="44"/>
                    </a:cubicBezTo>
                    <a:cubicBezTo>
                      <a:pt x="28" y="44"/>
                      <a:pt x="43" y="33"/>
                      <a:pt x="35" y="26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94" name="Freeform 85"/>
              <p:cNvSpPr>
                <a:spLocks/>
              </p:cNvSpPr>
              <p:nvPr/>
            </p:nvSpPr>
            <p:spPr bwMode="auto">
              <a:xfrm>
                <a:off x="6276975" y="1789113"/>
                <a:ext cx="0" cy="3175"/>
              </a:xfrm>
              <a:custGeom>
                <a:avLst/>
                <a:gdLst>
                  <a:gd name="T0" fmla="*/ 0 h 1"/>
                  <a:gd name="T1" fmla="*/ 1 h 1"/>
                  <a:gd name="T2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0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95" name="Freeform 86"/>
              <p:cNvSpPr>
                <a:spLocks/>
              </p:cNvSpPr>
              <p:nvPr/>
            </p:nvSpPr>
            <p:spPr bwMode="auto">
              <a:xfrm>
                <a:off x="6253163" y="1747838"/>
                <a:ext cx="46038" cy="127000"/>
              </a:xfrm>
              <a:custGeom>
                <a:avLst/>
                <a:gdLst>
                  <a:gd name="T0" fmla="*/ 10 w 20"/>
                  <a:gd name="T1" fmla="*/ 18 h 55"/>
                  <a:gd name="T2" fmla="*/ 10 w 20"/>
                  <a:gd name="T3" fmla="*/ 19 h 55"/>
                  <a:gd name="T4" fmla="*/ 10 w 20"/>
                  <a:gd name="T5" fmla="*/ 18 h 55"/>
                  <a:gd name="T6" fmla="*/ 13 w 20"/>
                  <a:gd name="T7" fmla="*/ 2 h 55"/>
                  <a:gd name="T8" fmla="*/ 9 w 20"/>
                  <a:gd name="T9" fmla="*/ 0 h 55"/>
                  <a:gd name="T10" fmla="*/ 7 w 20"/>
                  <a:gd name="T11" fmla="*/ 15 h 55"/>
                  <a:gd name="T12" fmla="*/ 7 w 20"/>
                  <a:gd name="T13" fmla="*/ 15 h 55"/>
                  <a:gd name="T14" fmla="*/ 7 w 20"/>
                  <a:gd name="T15" fmla="*/ 15 h 55"/>
                  <a:gd name="T16" fmla="*/ 1 w 20"/>
                  <a:gd name="T17" fmla="*/ 5 h 55"/>
                  <a:gd name="T18" fmla="*/ 0 w 20"/>
                  <a:gd name="T19" fmla="*/ 10 h 55"/>
                  <a:gd name="T20" fmla="*/ 4 w 20"/>
                  <a:gd name="T21" fmla="*/ 32 h 55"/>
                  <a:gd name="T22" fmla="*/ 2 w 20"/>
                  <a:gd name="T23" fmla="*/ 55 h 55"/>
                  <a:gd name="T24" fmla="*/ 3 w 20"/>
                  <a:gd name="T25" fmla="*/ 55 h 55"/>
                  <a:gd name="T26" fmla="*/ 14 w 20"/>
                  <a:gd name="T27" fmla="*/ 55 h 55"/>
                  <a:gd name="T28" fmla="*/ 13 w 20"/>
                  <a:gd name="T29" fmla="*/ 25 h 55"/>
                  <a:gd name="T30" fmla="*/ 20 w 20"/>
                  <a:gd name="T31" fmla="*/ 8 h 55"/>
                  <a:gd name="T32" fmla="*/ 20 w 20"/>
                  <a:gd name="T33" fmla="*/ 2 h 55"/>
                  <a:gd name="T34" fmla="*/ 10 w 20"/>
                  <a:gd name="T35" fmla="*/ 18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0" h="55">
                    <a:moveTo>
                      <a:pt x="10" y="18"/>
                    </a:moveTo>
                    <a:cubicBezTo>
                      <a:pt x="10" y="19"/>
                      <a:pt x="10" y="19"/>
                      <a:pt x="10" y="19"/>
                    </a:cubicBezTo>
                    <a:cubicBezTo>
                      <a:pt x="10" y="19"/>
                      <a:pt x="10" y="19"/>
                      <a:pt x="10" y="18"/>
                    </a:cubicBezTo>
                    <a:cubicBezTo>
                      <a:pt x="11" y="15"/>
                      <a:pt x="11" y="4"/>
                      <a:pt x="13" y="2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9" y="0"/>
                      <a:pt x="7" y="13"/>
                      <a:pt x="7" y="15"/>
                    </a:cubicBezTo>
                    <a:cubicBezTo>
                      <a:pt x="7" y="15"/>
                      <a:pt x="7" y="15"/>
                      <a:pt x="7" y="15"/>
                    </a:cubicBezTo>
                    <a:cubicBezTo>
                      <a:pt x="7" y="15"/>
                      <a:pt x="7" y="15"/>
                      <a:pt x="7" y="15"/>
                    </a:cubicBezTo>
                    <a:cubicBezTo>
                      <a:pt x="7" y="14"/>
                      <a:pt x="5" y="8"/>
                      <a:pt x="1" y="5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10"/>
                      <a:pt x="5" y="15"/>
                      <a:pt x="4" y="32"/>
                    </a:cubicBezTo>
                    <a:cubicBezTo>
                      <a:pt x="4" y="32"/>
                      <a:pt x="3" y="52"/>
                      <a:pt x="2" y="55"/>
                    </a:cubicBezTo>
                    <a:cubicBezTo>
                      <a:pt x="3" y="55"/>
                      <a:pt x="3" y="55"/>
                      <a:pt x="3" y="55"/>
                    </a:cubicBezTo>
                    <a:cubicBezTo>
                      <a:pt x="14" y="55"/>
                      <a:pt x="14" y="55"/>
                      <a:pt x="14" y="55"/>
                    </a:cubicBezTo>
                    <a:cubicBezTo>
                      <a:pt x="14" y="55"/>
                      <a:pt x="11" y="34"/>
                      <a:pt x="13" y="25"/>
                    </a:cubicBezTo>
                    <a:cubicBezTo>
                      <a:pt x="15" y="16"/>
                      <a:pt x="18" y="8"/>
                      <a:pt x="20" y="8"/>
                    </a:cubicBezTo>
                    <a:cubicBezTo>
                      <a:pt x="20" y="2"/>
                      <a:pt x="20" y="2"/>
                      <a:pt x="20" y="2"/>
                    </a:cubicBezTo>
                    <a:cubicBezTo>
                      <a:pt x="20" y="2"/>
                      <a:pt x="11" y="11"/>
                      <a:pt x="10" y="18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96" name="Freeform 87"/>
              <p:cNvSpPr>
                <a:spLocks/>
              </p:cNvSpPr>
              <p:nvPr/>
            </p:nvSpPr>
            <p:spPr bwMode="auto">
              <a:xfrm>
                <a:off x="6269038" y="1782763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97" name="Freeform 88"/>
              <p:cNvSpPr>
                <a:spLocks/>
              </p:cNvSpPr>
              <p:nvPr/>
            </p:nvSpPr>
            <p:spPr bwMode="auto">
              <a:xfrm>
                <a:off x="6203950" y="1673225"/>
                <a:ext cx="49213" cy="69850"/>
              </a:xfrm>
              <a:custGeom>
                <a:avLst/>
                <a:gdLst>
                  <a:gd name="T0" fmla="*/ 14 w 22"/>
                  <a:gd name="T1" fmla="*/ 2 h 31"/>
                  <a:gd name="T2" fmla="*/ 7 w 22"/>
                  <a:gd name="T3" fmla="*/ 10 h 31"/>
                  <a:gd name="T4" fmla="*/ 6 w 22"/>
                  <a:gd name="T5" fmla="*/ 20 h 31"/>
                  <a:gd name="T6" fmla="*/ 13 w 22"/>
                  <a:gd name="T7" fmla="*/ 28 h 31"/>
                  <a:gd name="T8" fmla="*/ 14 w 22"/>
                  <a:gd name="T9" fmla="*/ 2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" h="31">
                    <a:moveTo>
                      <a:pt x="14" y="2"/>
                    </a:moveTo>
                    <a:cubicBezTo>
                      <a:pt x="14" y="2"/>
                      <a:pt x="3" y="0"/>
                      <a:pt x="7" y="10"/>
                    </a:cubicBezTo>
                    <a:cubicBezTo>
                      <a:pt x="7" y="10"/>
                      <a:pt x="0" y="14"/>
                      <a:pt x="6" y="20"/>
                    </a:cubicBezTo>
                    <a:cubicBezTo>
                      <a:pt x="6" y="20"/>
                      <a:pt x="2" y="31"/>
                      <a:pt x="13" y="28"/>
                    </a:cubicBezTo>
                    <a:cubicBezTo>
                      <a:pt x="13" y="28"/>
                      <a:pt x="22" y="3"/>
                      <a:pt x="14" y="2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98" name="Freeform 89"/>
              <p:cNvSpPr>
                <a:spLocks/>
              </p:cNvSpPr>
              <p:nvPr/>
            </p:nvSpPr>
            <p:spPr bwMode="auto">
              <a:xfrm>
                <a:off x="6256338" y="1647825"/>
                <a:ext cx="1588" cy="0"/>
              </a:xfrm>
              <a:custGeom>
                <a:avLst/>
                <a:gdLst>
                  <a:gd name="T0" fmla="*/ 0 w 1"/>
                  <a:gd name="T1" fmla="*/ 1 w 1"/>
                  <a:gd name="T2" fmla="*/ 0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0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99" name="Freeform 90"/>
              <p:cNvSpPr>
                <a:spLocks/>
              </p:cNvSpPr>
              <p:nvPr/>
            </p:nvSpPr>
            <p:spPr bwMode="auto">
              <a:xfrm>
                <a:off x="6232525" y="1601788"/>
                <a:ext cx="82550" cy="98425"/>
              </a:xfrm>
              <a:custGeom>
                <a:avLst/>
                <a:gdLst>
                  <a:gd name="T0" fmla="*/ 32 w 36"/>
                  <a:gd name="T1" fmla="*/ 7 h 43"/>
                  <a:gd name="T2" fmla="*/ 27 w 36"/>
                  <a:gd name="T3" fmla="*/ 1 h 43"/>
                  <a:gd name="T4" fmla="*/ 19 w 36"/>
                  <a:gd name="T5" fmla="*/ 7 h 43"/>
                  <a:gd name="T6" fmla="*/ 8 w 36"/>
                  <a:gd name="T7" fmla="*/ 13 h 43"/>
                  <a:gd name="T8" fmla="*/ 10 w 36"/>
                  <a:gd name="T9" fmla="*/ 20 h 43"/>
                  <a:gd name="T10" fmla="*/ 11 w 36"/>
                  <a:gd name="T11" fmla="*/ 20 h 43"/>
                  <a:gd name="T12" fmla="*/ 10 w 36"/>
                  <a:gd name="T13" fmla="*/ 20 h 43"/>
                  <a:gd name="T14" fmla="*/ 4 w 36"/>
                  <a:gd name="T15" fmla="*/ 23 h 43"/>
                  <a:gd name="T16" fmla="*/ 5 w 36"/>
                  <a:gd name="T17" fmla="*/ 30 h 43"/>
                  <a:gd name="T18" fmla="*/ 2 w 36"/>
                  <a:gd name="T19" fmla="*/ 37 h 43"/>
                  <a:gd name="T20" fmla="*/ 9 w 36"/>
                  <a:gd name="T21" fmla="*/ 42 h 43"/>
                  <a:gd name="T22" fmla="*/ 18 w 36"/>
                  <a:gd name="T23" fmla="*/ 33 h 43"/>
                  <a:gd name="T24" fmla="*/ 24 w 36"/>
                  <a:gd name="T25" fmla="*/ 23 h 43"/>
                  <a:gd name="T26" fmla="*/ 28 w 36"/>
                  <a:gd name="T27" fmla="*/ 15 h 43"/>
                  <a:gd name="T28" fmla="*/ 32 w 36"/>
                  <a:gd name="T29" fmla="*/ 7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6" h="43">
                    <a:moveTo>
                      <a:pt x="32" y="7"/>
                    </a:moveTo>
                    <a:cubicBezTo>
                      <a:pt x="32" y="7"/>
                      <a:pt x="32" y="1"/>
                      <a:pt x="27" y="1"/>
                    </a:cubicBezTo>
                    <a:cubicBezTo>
                      <a:pt x="27" y="1"/>
                      <a:pt x="19" y="0"/>
                      <a:pt x="19" y="7"/>
                    </a:cubicBezTo>
                    <a:cubicBezTo>
                      <a:pt x="19" y="7"/>
                      <a:pt x="9" y="3"/>
                      <a:pt x="8" y="13"/>
                    </a:cubicBezTo>
                    <a:cubicBezTo>
                      <a:pt x="8" y="13"/>
                      <a:pt x="7" y="19"/>
                      <a:pt x="10" y="20"/>
                    </a:cubicBezTo>
                    <a:cubicBezTo>
                      <a:pt x="11" y="20"/>
                      <a:pt x="11" y="20"/>
                      <a:pt x="11" y="20"/>
                    </a:cubicBezTo>
                    <a:cubicBezTo>
                      <a:pt x="11" y="20"/>
                      <a:pt x="10" y="20"/>
                      <a:pt x="10" y="20"/>
                    </a:cubicBezTo>
                    <a:cubicBezTo>
                      <a:pt x="8" y="20"/>
                      <a:pt x="5" y="20"/>
                      <a:pt x="4" y="23"/>
                    </a:cubicBezTo>
                    <a:cubicBezTo>
                      <a:pt x="4" y="23"/>
                      <a:pt x="3" y="25"/>
                      <a:pt x="5" y="30"/>
                    </a:cubicBezTo>
                    <a:cubicBezTo>
                      <a:pt x="5" y="30"/>
                      <a:pt x="0" y="33"/>
                      <a:pt x="2" y="37"/>
                    </a:cubicBezTo>
                    <a:cubicBezTo>
                      <a:pt x="2" y="37"/>
                      <a:pt x="2" y="43"/>
                      <a:pt x="9" y="42"/>
                    </a:cubicBezTo>
                    <a:cubicBezTo>
                      <a:pt x="9" y="42"/>
                      <a:pt x="21" y="43"/>
                      <a:pt x="18" y="33"/>
                    </a:cubicBezTo>
                    <a:cubicBezTo>
                      <a:pt x="18" y="33"/>
                      <a:pt x="32" y="30"/>
                      <a:pt x="24" y="23"/>
                    </a:cubicBezTo>
                    <a:cubicBezTo>
                      <a:pt x="24" y="23"/>
                      <a:pt x="36" y="27"/>
                      <a:pt x="28" y="15"/>
                    </a:cubicBezTo>
                    <a:cubicBezTo>
                      <a:pt x="28" y="15"/>
                      <a:pt x="32" y="10"/>
                      <a:pt x="32" y="7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00" name="Freeform 91"/>
              <p:cNvSpPr>
                <a:spLocks/>
              </p:cNvSpPr>
              <p:nvPr/>
            </p:nvSpPr>
            <p:spPr bwMode="auto">
              <a:xfrm>
                <a:off x="6262688" y="1611313"/>
                <a:ext cx="101600" cy="98425"/>
              </a:xfrm>
              <a:custGeom>
                <a:avLst/>
                <a:gdLst>
                  <a:gd name="T0" fmla="*/ 27 w 44"/>
                  <a:gd name="T1" fmla="*/ 8 h 43"/>
                  <a:gd name="T2" fmla="*/ 22 w 44"/>
                  <a:gd name="T3" fmla="*/ 1 h 43"/>
                  <a:gd name="T4" fmla="*/ 16 w 44"/>
                  <a:gd name="T5" fmla="*/ 8 h 43"/>
                  <a:gd name="T6" fmla="*/ 9 w 44"/>
                  <a:gd name="T7" fmla="*/ 14 h 43"/>
                  <a:gd name="T8" fmla="*/ 9 w 44"/>
                  <a:gd name="T9" fmla="*/ 22 h 43"/>
                  <a:gd name="T10" fmla="*/ 13 w 44"/>
                  <a:gd name="T11" fmla="*/ 33 h 43"/>
                  <a:gd name="T12" fmla="*/ 23 w 44"/>
                  <a:gd name="T13" fmla="*/ 35 h 43"/>
                  <a:gd name="T14" fmla="*/ 31 w 44"/>
                  <a:gd name="T15" fmla="*/ 29 h 43"/>
                  <a:gd name="T16" fmla="*/ 35 w 44"/>
                  <a:gd name="T17" fmla="*/ 15 h 43"/>
                  <a:gd name="T18" fmla="*/ 27 w 44"/>
                  <a:gd name="T19" fmla="*/ 8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4" h="43">
                    <a:moveTo>
                      <a:pt x="27" y="8"/>
                    </a:moveTo>
                    <a:cubicBezTo>
                      <a:pt x="27" y="8"/>
                      <a:pt x="27" y="1"/>
                      <a:pt x="22" y="1"/>
                    </a:cubicBezTo>
                    <a:cubicBezTo>
                      <a:pt x="22" y="1"/>
                      <a:pt x="17" y="0"/>
                      <a:pt x="16" y="8"/>
                    </a:cubicBezTo>
                    <a:cubicBezTo>
                      <a:pt x="16" y="8"/>
                      <a:pt x="9" y="7"/>
                      <a:pt x="9" y="14"/>
                    </a:cubicBezTo>
                    <a:cubicBezTo>
                      <a:pt x="9" y="14"/>
                      <a:pt x="0" y="17"/>
                      <a:pt x="9" y="22"/>
                    </a:cubicBezTo>
                    <a:cubicBezTo>
                      <a:pt x="9" y="22"/>
                      <a:pt x="7" y="34"/>
                      <a:pt x="13" y="33"/>
                    </a:cubicBezTo>
                    <a:cubicBezTo>
                      <a:pt x="13" y="33"/>
                      <a:pt x="17" y="43"/>
                      <a:pt x="23" y="35"/>
                    </a:cubicBezTo>
                    <a:cubicBezTo>
                      <a:pt x="23" y="35"/>
                      <a:pt x="33" y="39"/>
                      <a:pt x="31" y="29"/>
                    </a:cubicBezTo>
                    <a:cubicBezTo>
                      <a:pt x="31" y="29"/>
                      <a:pt x="44" y="24"/>
                      <a:pt x="35" y="15"/>
                    </a:cubicBezTo>
                    <a:cubicBezTo>
                      <a:pt x="35" y="15"/>
                      <a:pt x="37" y="8"/>
                      <a:pt x="27" y="8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01" name="Freeform 92"/>
              <p:cNvSpPr>
                <a:spLocks/>
              </p:cNvSpPr>
              <p:nvPr/>
            </p:nvSpPr>
            <p:spPr bwMode="auto">
              <a:xfrm>
                <a:off x="6297613" y="1644650"/>
                <a:ext cx="90488" cy="92075"/>
              </a:xfrm>
              <a:custGeom>
                <a:avLst/>
                <a:gdLst>
                  <a:gd name="T0" fmla="*/ 32 w 40"/>
                  <a:gd name="T1" fmla="*/ 16 h 40"/>
                  <a:gd name="T2" fmla="*/ 28 w 40"/>
                  <a:gd name="T3" fmla="*/ 8 h 40"/>
                  <a:gd name="T4" fmla="*/ 22 w 40"/>
                  <a:gd name="T5" fmla="*/ 0 h 40"/>
                  <a:gd name="T6" fmla="*/ 17 w 40"/>
                  <a:gd name="T7" fmla="*/ 9 h 40"/>
                  <a:gd name="T8" fmla="*/ 8 w 40"/>
                  <a:gd name="T9" fmla="*/ 10 h 40"/>
                  <a:gd name="T10" fmla="*/ 9 w 40"/>
                  <a:gd name="T11" fmla="*/ 17 h 40"/>
                  <a:gd name="T12" fmla="*/ 3 w 40"/>
                  <a:gd name="T13" fmla="*/ 27 h 40"/>
                  <a:gd name="T14" fmla="*/ 17 w 40"/>
                  <a:gd name="T15" fmla="*/ 31 h 40"/>
                  <a:gd name="T16" fmla="*/ 24 w 40"/>
                  <a:gd name="T17" fmla="*/ 32 h 40"/>
                  <a:gd name="T18" fmla="*/ 32 w 40"/>
                  <a:gd name="T19" fmla="*/ 28 h 40"/>
                  <a:gd name="T20" fmla="*/ 33 w 40"/>
                  <a:gd name="T21" fmla="*/ 28 h 40"/>
                  <a:gd name="T22" fmla="*/ 32 w 40"/>
                  <a:gd name="T23" fmla="*/ 1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40">
                    <a:moveTo>
                      <a:pt x="32" y="16"/>
                    </a:moveTo>
                    <a:cubicBezTo>
                      <a:pt x="32" y="16"/>
                      <a:pt x="36" y="9"/>
                      <a:pt x="28" y="8"/>
                    </a:cubicBezTo>
                    <a:cubicBezTo>
                      <a:pt x="28" y="8"/>
                      <a:pt x="27" y="0"/>
                      <a:pt x="22" y="0"/>
                    </a:cubicBezTo>
                    <a:cubicBezTo>
                      <a:pt x="22" y="0"/>
                      <a:pt x="14" y="0"/>
                      <a:pt x="17" y="9"/>
                    </a:cubicBezTo>
                    <a:cubicBezTo>
                      <a:pt x="17" y="9"/>
                      <a:pt x="10" y="5"/>
                      <a:pt x="8" y="10"/>
                    </a:cubicBezTo>
                    <a:cubicBezTo>
                      <a:pt x="8" y="10"/>
                      <a:pt x="6" y="16"/>
                      <a:pt x="9" y="17"/>
                    </a:cubicBezTo>
                    <a:cubicBezTo>
                      <a:pt x="9" y="17"/>
                      <a:pt x="0" y="19"/>
                      <a:pt x="3" y="27"/>
                    </a:cubicBezTo>
                    <a:cubicBezTo>
                      <a:pt x="3" y="27"/>
                      <a:pt x="8" y="40"/>
                      <a:pt x="17" y="31"/>
                    </a:cubicBezTo>
                    <a:cubicBezTo>
                      <a:pt x="17" y="31"/>
                      <a:pt x="24" y="37"/>
                      <a:pt x="24" y="32"/>
                    </a:cubicBezTo>
                    <a:cubicBezTo>
                      <a:pt x="24" y="32"/>
                      <a:pt x="33" y="38"/>
                      <a:pt x="32" y="28"/>
                    </a:cubicBezTo>
                    <a:cubicBezTo>
                      <a:pt x="32" y="28"/>
                      <a:pt x="33" y="28"/>
                      <a:pt x="33" y="28"/>
                    </a:cubicBezTo>
                    <a:cubicBezTo>
                      <a:pt x="33" y="28"/>
                      <a:pt x="40" y="20"/>
                      <a:pt x="32" y="16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02" name="Freeform 93"/>
              <p:cNvSpPr>
                <a:spLocks/>
              </p:cNvSpPr>
              <p:nvPr/>
            </p:nvSpPr>
            <p:spPr bwMode="auto">
              <a:xfrm>
                <a:off x="6343650" y="1771650"/>
                <a:ext cx="3175" cy="9525"/>
              </a:xfrm>
              <a:custGeom>
                <a:avLst/>
                <a:gdLst>
                  <a:gd name="T0" fmla="*/ 2 w 2"/>
                  <a:gd name="T1" fmla="*/ 0 h 4"/>
                  <a:gd name="T2" fmla="*/ 0 w 2"/>
                  <a:gd name="T3" fmla="*/ 4 h 4"/>
                  <a:gd name="T4" fmla="*/ 0 w 2"/>
                  <a:gd name="T5" fmla="*/ 4 h 4"/>
                  <a:gd name="T6" fmla="*/ 2 w 2"/>
                  <a:gd name="T7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cubicBezTo>
                      <a:pt x="2" y="0"/>
                      <a:pt x="0" y="3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1" y="1"/>
                      <a:pt x="2" y="0"/>
                      <a:pt x="2" y="0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03" name="Freeform 94"/>
              <p:cNvSpPr>
                <a:spLocks/>
              </p:cNvSpPr>
              <p:nvPr/>
            </p:nvSpPr>
            <p:spPr bwMode="auto">
              <a:xfrm>
                <a:off x="6289675" y="1693863"/>
                <a:ext cx="101600" cy="104775"/>
              </a:xfrm>
              <a:custGeom>
                <a:avLst/>
                <a:gdLst>
                  <a:gd name="T0" fmla="*/ 34 w 44"/>
                  <a:gd name="T1" fmla="*/ 7 h 46"/>
                  <a:gd name="T2" fmla="*/ 27 w 44"/>
                  <a:gd name="T3" fmla="*/ 1 h 46"/>
                  <a:gd name="T4" fmla="*/ 27 w 44"/>
                  <a:gd name="T5" fmla="*/ 1 h 46"/>
                  <a:gd name="T6" fmla="*/ 24 w 44"/>
                  <a:gd name="T7" fmla="*/ 4 h 46"/>
                  <a:gd name="T8" fmla="*/ 16 w 44"/>
                  <a:gd name="T9" fmla="*/ 10 h 46"/>
                  <a:gd name="T10" fmla="*/ 8 w 44"/>
                  <a:gd name="T11" fmla="*/ 15 h 46"/>
                  <a:gd name="T12" fmla="*/ 5 w 44"/>
                  <a:gd name="T13" fmla="*/ 22 h 46"/>
                  <a:gd name="T14" fmla="*/ 6 w 44"/>
                  <a:gd name="T15" fmla="*/ 29 h 46"/>
                  <a:gd name="T16" fmla="*/ 7 w 44"/>
                  <a:gd name="T17" fmla="*/ 34 h 46"/>
                  <a:gd name="T18" fmla="*/ 13 w 44"/>
                  <a:gd name="T19" fmla="*/ 39 h 46"/>
                  <a:gd name="T20" fmla="*/ 14 w 44"/>
                  <a:gd name="T21" fmla="*/ 39 h 46"/>
                  <a:gd name="T22" fmla="*/ 22 w 44"/>
                  <a:gd name="T23" fmla="*/ 38 h 46"/>
                  <a:gd name="T24" fmla="*/ 23 w 44"/>
                  <a:gd name="T25" fmla="*/ 38 h 46"/>
                  <a:gd name="T26" fmla="*/ 25 w 44"/>
                  <a:gd name="T27" fmla="*/ 34 h 46"/>
                  <a:gd name="T28" fmla="*/ 25 w 44"/>
                  <a:gd name="T29" fmla="*/ 34 h 46"/>
                  <a:gd name="T30" fmla="*/ 23 w 44"/>
                  <a:gd name="T31" fmla="*/ 38 h 46"/>
                  <a:gd name="T32" fmla="*/ 23 w 44"/>
                  <a:gd name="T33" fmla="*/ 38 h 46"/>
                  <a:gd name="T34" fmla="*/ 23 w 44"/>
                  <a:gd name="T35" fmla="*/ 38 h 46"/>
                  <a:gd name="T36" fmla="*/ 30 w 44"/>
                  <a:gd name="T37" fmla="*/ 30 h 46"/>
                  <a:gd name="T38" fmla="*/ 34 w 44"/>
                  <a:gd name="T39" fmla="*/ 24 h 46"/>
                  <a:gd name="T40" fmla="*/ 35 w 44"/>
                  <a:gd name="T41" fmla="*/ 16 h 46"/>
                  <a:gd name="T42" fmla="*/ 34 w 44"/>
                  <a:gd name="T43" fmla="*/ 7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4" h="46">
                    <a:moveTo>
                      <a:pt x="34" y="7"/>
                    </a:moveTo>
                    <a:cubicBezTo>
                      <a:pt x="34" y="7"/>
                      <a:pt x="35" y="0"/>
                      <a:pt x="27" y="1"/>
                    </a:cubicBezTo>
                    <a:cubicBezTo>
                      <a:pt x="27" y="1"/>
                      <a:pt x="27" y="1"/>
                      <a:pt x="27" y="1"/>
                    </a:cubicBezTo>
                    <a:cubicBezTo>
                      <a:pt x="27" y="1"/>
                      <a:pt x="24" y="2"/>
                      <a:pt x="24" y="4"/>
                    </a:cubicBezTo>
                    <a:cubicBezTo>
                      <a:pt x="24" y="4"/>
                      <a:pt x="18" y="0"/>
                      <a:pt x="16" y="10"/>
                    </a:cubicBezTo>
                    <a:cubicBezTo>
                      <a:pt x="16" y="10"/>
                      <a:pt x="8" y="6"/>
                      <a:pt x="8" y="15"/>
                    </a:cubicBezTo>
                    <a:cubicBezTo>
                      <a:pt x="8" y="15"/>
                      <a:pt x="2" y="17"/>
                      <a:pt x="5" y="22"/>
                    </a:cubicBezTo>
                    <a:cubicBezTo>
                      <a:pt x="5" y="22"/>
                      <a:pt x="0" y="28"/>
                      <a:pt x="6" y="29"/>
                    </a:cubicBezTo>
                    <a:cubicBezTo>
                      <a:pt x="6" y="29"/>
                      <a:pt x="2" y="32"/>
                      <a:pt x="7" y="34"/>
                    </a:cubicBezTo>
                    <a:cubicBezTo>
                      <a:pt x="7" y="34"/>
                      <a:pt x="4" y="45"/>
                      <a:pt x="13" y="39"/>
                    </a:cubicBezTo>
                    <a:cubicBezTo>
                      <a:pt x="14" y="39"/>
                      <a:pt x="14" y="39"/>
                      <a:pt x="14" y="39"/>
                    </a:cubicBezTo>
                    <a:cubicBezTo>
                      <a:pt x="14" y="39"/>
                      <a:pt x="17" y="46"/>
                      <a:pt x="22" y="38"/>
                    </a:cubicBezTo>
                    <a:cubicBezTo>
                      <a:pt x="22" y="38"/>
                      <a:pt x="23" y="38"/>
                      <a:pt x="23" y="38"/>
                    </a:cubicBezTo>
                    <a:cubicBezTo>
                      <a:pt x="23" y="37"/>
                      <a:pt x="25" y="34"/>
                      <a:pt x="25" y="34"/>
                    </a:cubicBezTo>
                    <a:cubicBezTo>
                      <a:pt x="25" y="34"/>
                      <a:pt x="25" y="34"/>
                      <a:pt x="25" y="34"/>
                    </a:cubicBezTo>
                    <a:cubicBezTo>
                      <a:pt x="25" y="34"/>
                      <a:pt x="24" y="35"/>
                      <a:pt x="23" y="38"/>
                    </a:cubicBezTo>
                    <a:cubicBezTo>
                      <a:pt x="23" y="38"/>
                      <a:pt x="23" y="38"/>
                      <a:pt x="23" y="38"/>
                    </a:cubicBezTo>
                    <a:cubicBezTo>
                      <a:pt x="23" y="38"/>
                      <a:pt x="23" y="38"/>
                      <a:pt x="23" y="38"/>
                    </a:cubicBezTo>
                    <a:cubicBezTo>
                      <a:pt x="23" y="38"/>
                      <a:pt x="31" y="42"/>
                      <a:pt x="30" y="30"/>
                    </a:cubicBezTo>
                    <a:cubicBezTo>
                      <a:pt x="30" y="30"/>
                      <a:pt x="36" y="33"/>
                      <a:pt x="34" y="24"/>
                    </a:cubicBezTo>
                    <a:cubicBezTo>
                      <a:pt x="34" y="24"/>
                      <a:pt x="42" y="21"/>
                      <a:pt x="35" y="16"/>
                    </a:cubicBezTo>
                    <a:cubicBezTo>
                      <a:pt x="35" y="16"/>
                      <a:pt x="44" y="11"/>
                      <a:pt x="34" y="7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04" name="Freeform 95"/>
              <p:cNvSpPr>
                <a:spLocks/>
              </p:cNvSpPr>
              <p:nvPr/>
            </p:nvSpPr>
            <p:spPr bwMode="auto">
              <a:xfrm>
                <a:off x="6216650" y="1660525"/>
                <a:ext cx="92075" cy="127000"/>
              </a:xfrm>
              <a:custGeom>
                <a:avLst/>
                <a:gdLst>
                  <a:gd name="T0" fmla="*/ 34 w 40"/>
                  <a:gd name="T1" fmla="*/ 9 h 55"/>
                  <a:gd name="T2" fmla="*/ 28 w 40"/>
                  <a:gd name="T3" fmla="*/ 0 h 55"/>
                  <a:gd name="T4" fmla="*/ 22 w 40"/>
                  <a:gd name="T5" fmla="*/ 6 h 55"/>
                  <a:gd name="T6" fmla="*/ 14 w 40"/>
                  <a:gd name="T7" fmla="*/ 15 h 55"/>
                  <a:gd name="T8" fmla="*/ 9 w 40"/>
                  <a:gd name="T9" fmla="*/ 17 h 55"/>
                  <a:gd name="T10" fmla="*/ 9 w 40"/>
                  <a:gd name="T11" fmla="*/ 23 h 55"/>
                  <a:gd name="T12" fmla="*/ 4 w 40"/>
                  <a:gd name="T13" fmla="*/ 28 h 55"/>
                  <a:gd name="T14" fmla="*/ 6 w 40"/>
                  <a:gd name="T15" fmla="*/ 35 h 55"/>
                  <a:gd name="T16" fmla="*/ 2 w 40"/>
                  <a:gd name="T17" fmla="*/ 42 h 55"/>
                  <a:gd name="T18" fmla="*/ 17 w 40"/>
                  <a:gd name="T19" fmla="*/ 37 h 55"/>
                  <a:gd name="T20" fmla="*/ 23 w 40"/>
                  <a:gd name="T21" fmla="*/ 31 h 55"/>
                  <a:gd name="T22" fmla="*/ 23 w 40"/>
                  <a:gd name="T23" fmla="*/ 31 h 55"/>
                  <a:gd name="T24" fmla="*/ 30 w 40"/>
                  <a:gd name="T25" fmla="*/ 31 h 55"/>
                  <a:gd name="T26" fmla="*/ 39 w 40"/>
                  <a:gd name="T27" fmla="*/ 19 h 55"/>
                  <a:gd name="T28" fmla="*/ 34 w 40"/>
                  <a:gd name="T29" fmla="*/ 9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0" h="55">
                    <a:moveTo>
                      <a:pt x="34" y="9"/>
                    </a:moveTo>
                    <a:cubicBezTo>
                      <a:pt x="34" y="9"/>
                      <a:pt x="35" y="1"/>
                      <a:pt x="28" y="0"/>
                    </a:cubicBezTo>
                    <a:cubicBezTo>
                      <a:pt x="28" y="0"/>
                      <a:pt x="22" y="1"/>
                      <a:pt x="22" y="6"/>
                    </a:cubicBezTo>
                    <a:cubicBezTo>
                      <a:pt x="22" y="6"/>
                      <a:pt x="13" y="5"/>
                      <a:pt x="14" y="15"/>
                    </a:cubicBezTo>
                    <a:cubicBezTo>
                      <a:pt x="14" y="15"/>
                      <a:pt x="11" y="14"/>
                      <a:pt x="9" y="17"/>
                    </a:cubicBezTo>
                    <a:cubicBezTo>
                      <a:pt x="9" y="17"/>
                      <a:pt x="7" y="21"/>
                      <a:pt x="9" y="23"/>
                    </a:cubicBezTo>
                    <a:cubicBezTo>
                      <a:pt x="9" y="23"/>
                      <a:pt x="4" y="24"/>
                      <a:pt x="4" y="28"/>
                    </a:cubicBezTo>
                    <a:cubicBezTo>
                      <a:pt x="4" y="28"/>
                      <a:pt x="4" y="34"/>
                      <a:pt x="6" y="35"/>
                    </a:cubicBezTo>
                    <a:cubicBezTo>
                      <a:pt x="6" y="35"/>
                      <a:pt x="0" y="38"/>
                      <a:pt x="2" y="42"/>
                    </a:cubicBezTo>
                    <a:cubicBezTo>
                      <a:pt x="2" y="42"/>
                      <a:pt x="7" y="55"/>
                      <a:pt x="17" y="37"/>
                    </a:cubicBezTo>
                    <a:cubicBezTo>
                      <a:pt x="17" y="37"/>
                      <a:pt x="26" y="39"/>
                      <a:pt x="23" y="31"/>
                    </a:cubicBezTo>
                    <a:cubicBezTo>
                      <a:pt x="23" y="31"/>
                      <a:pt x="23" y="31"/>
                      <a:pt x="23" y="31"/>
                    </a:cubicBezTo>
                    <a:cubicBezTo>
                      <a:pt x="23" y="31"/>
                      <a:pt x="27" y="36"/>
                      <a:pt x="30" y="31"/>
                    </a:cubicBezTo>
                    <a:cubicBezTo>
                      <a:pt x="30" y="31"/>
                      <a:pt x="40" y="44"/>
                      <a:pt x="39" y="19"/>
                    </a:cubicBezTo>
                    <a:cubicBezTo>
                      <a:pt x="39" y="19"/>
                      <a:pt x="40" y="10"/>
                      <a:pt x="34" y="9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05" name="Freeform 96"/>
              <p:cNvSpPr>
                <a:spLocks/>
              </p:cNvSpPr>
              <p:nvPr/>
            </p:nvSpPr>
            <p:spPr bwMode="auto">
              <a:xfrm>
                <a:off x="6249988" y="1752600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06" name="Freeform 97"/>
              <p:cNvSpPr>
                <a:spLocks/>
              </p:cNvSpPr>
              <p:nvPr/>
            </p:nvSpPr>
            <p:spPr bwMode="auto">
              <a:xfrm>
                <a:off x="6249988" y="1752600"/>
                <a:ext cx="0" cy="3175"/>
              </a:xfrm>
              <a:custGeom>
                <a:avLst/>
                <a:gdLst>
                  <a:gd name="T0" fmla="*/ 1 h 1"/>
                  <a:gd name="T1" fmla="*/ 0 h 1"/>
                  <a:gd name="T2" fmla="*/ 1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">
                    <a:moveTo>
                      <a:pt x="0" y="1"/>
                    </a:moveTo>
                    <a:cubicBezTo>
                      <a:pt x="0" y="1"/>
                      <a:pt x="0" y="1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07" name="Freeform 98"/>
              <p:cNvSpPr>
                <a:spLocks/>
              </p:cNvSpPr>
              <p:nvPr/>
            </p:nvSpPr>
            <p:spPr bwMode="auto">
              <a:xfrm>
                <a:off x="6200775" y="1677988"/>
                <a:ext cx="142875" cy="120650"/>
              </a:xfrm>
              <a:custGeom>
                <a:avLst/>
                <a:gdLst>
                  <a:gd name="T0" fmla="*/ 50 w 62"/>
                  <a:gd name="T1" fmla="*/ 19 h 53"/>
                  <a:gd name="T2" fmla="*/ 43 w 62"/>
                  <a:gd name="T3" fmla="*/ 13 h 53"/>
                  <a:gd name="T4" fmla="*/ 32 w 62"/>
                  <a:gd name="T5" fmla="*/ 13 h 53"/>
                  <a:gd name="T6" fmla="*/ 28 w 62"/>
                  <a:gd name="T7" fmla="*/ 20 h 53"/>
                  <a:gd name="T8" fmla="*/ 19 w 62"/>
                  <a:gd name="T9" fmla="*/ 30 h 53"/>
                  <a:gd name="T10" fmla="*/ 15 w 62"/>
                  <a:gd name="T11" fmla="*/ 36 h 53"/>
                  <a:gd name="T12" fmla="*/ 5 w 62"/>
                  <a:gd name="T13" fmla="*/ 39 h 53"/>
                  <a:gd name="T14" fmla="*/ 3 w 62"/>
                  <a:gd name="T15" fmla="*/ 46 h 53"/>
                  <a:gd name="T16" fmla="*/ 14 w 62"/>
                  <a:gd name="T17" fmla="*/ 44 h 53"/>
                  <a:gd name="T18" fmla="*/ 24 w 62"/>
                  <a:gd name="T19" fmla="*/ 35 h 53"/>
                  <a:gd name="T20" fmla="*/ 21 w 62"/>
                  <a:gd name="T21" fmla="*/ 34 h 53"/>
                  <a:gd name="T22" fmla="*/ 21 w 62"/>
                  <a:gd name="T23" fmla="*/ 33 h 53"/>
                  <a:gd name="T24" fmla="*/ 21 w 62"/>
                  <a:gd name="T25" fmla="*/ 33 h 53"/>
                  <a:gd name="T26" fmla="*/ 21 w 62"/>
                  <a:gd name="T27" fmla="*/ 33 h 53"/>
                  <a:gd name="T28" fmla="*/ 21 w 62"/>
                  <a:gd name="T29" fmla="*/ 33 h 53"/>
                  <a:gd name="T30" fmla="*/ 21 w 62"/>
                  <a:gd name="T31" fmla="*/ 34 h 53"/>
                  <a:gd name="T32" fmla="*/ 24 w 62"/>
                  <a:gd name="T33" fmla="*/ 35 h 53"/>
                  <a:gd name="T34" fmla="*/ 24 w 62"/>
                  <a:gd name="T35" fmla="*/ 36 h 53"/>
                  <a:gd name="T36" fmla="*/ 31 w 62"/>
                  <a:gd name="T37" fmla="*/ 32 h 53"/>
                  <a:gd name="T38" fmla="*/ 41 w 62"/>
                  <a:gd name="T39" fmla="*/ 32 h 53"/>
                  <a:gd name="T40" fmla="*/ 50 w 62"/>
                  <a:gd name="T41" fmla="*/ 38 h 53"/>
                  <a:gd name="T42" fmla="*/ 55 w 62"/>
                  <a:gd name="T43" fmla="*/ 30 h 53"/>
                  <a:gd name="T44" fmla="*/ 50 w 62"/>
                  <a:gd name="T45" fmla="*/ 19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62" h="53">
                    <a:moveTo>
                      <a:pt x="50" y="19"/>
                    </a:moveTo>
                    <a:cubicBezTo>
                      <a:pt x="52" y="9"/>
                      <a:pt x="43" y="13"/>
                      <a:pt x="43" y="13"/>
                    </a:cubicBezTo>
                    <a:cubicBezTo>
                      <a:pt x="38" y="0"/>
                      <a:pt x="32" y="13"/>
                      <a:pt x="32" y="13"/>
                    </a:cubicBezTo>
                    <a:cubicBezTo>
                      <a:pt x="23" y="11"/>
                      <a:pt x="28" y="20"/>
                      <a:pt x="28" y="20"/>
                    </a:cubicBezTo>
                    <a:cubicBezTo>
                      <a:pt x="14" y="16"/>
                      <a:pt x="19" y="30"/>
                      <a:pt x="19" y="30"/>
                    </a:cubicBezTo>
                    <a:cubicBezTo>
                      <a:pt x="12" y="30"/>
                      <a:pt x="15" y="36"/>
                      <a:pt x="15" y="36"/>
                    </a:cubicBezTo>
                    <a:cubicBezTo>
                      <a:pt x="7" y="28"/>
                      <a:pt x="5" y="39"/>
                      <a:pt x="5" y="39"/>
                    </a:cubicBezTo>
                    <a:cubicBezTo>
                      <a:pt x="0" y="39"/>
                      <a:pt x="3" y="46"/>
                      <a:pt x="3" y="46"/>
                    </a:cubicBezTo>
                    <a:cubicBezTo>
                      <a:pt x="10" y="53"/>
                      <a:pt x="14" y="44"/>
                      <a:pt x="14" y="44"/>
                    </a:cubicBezTo>
                    <a:cubicBezTo>
                      <a:pt x="25" y="51"/>
                      <a:pt x="24" y="35"/>
                      <a:pt x="24" y="35"/>
                    </a:cubicBezTo>
                    <a:cubicBezTo>
                      <a:pt x="24" y="35"/>
                      <a:pt x="22" y="34"/>
                      <a:pt x="21" y="34"/>
                    </a:cubicBezTo>
                    <a:cubicBezTo>
                      <a:pt x="21" y="34"/>
                      <a:pt x="21" y="34"/>
                      <a:pt x="21" y="33"/>
                    </a:cubicBezTo>
                    <a:cubicBezTo>
                      <a:pt x="21" y="33"/>
                      <a:pt x="21" y="33"/>
                      <a:pt x="21" y="33"/>
                    </a:cubicBezTo>
                    <a:cubicBezTo>
                      <a:pt x="21" y="33"/>
                      <a:pt x="21" y="33"/>
                      <a:pt x="21" y="33"/>
                    </a:cubicBezTo>
                    <a:cubicBezTo>
                      <a:pt x="21" y="33"/>
                      <a:pt x="21" y="33"/>
                      <a:pt x="21" y="33"/>
                    </a:cubicBezTo>
                    <a:cubicBezTo>
                      <a:pt x="21" y="34"/>
                      <a:pt x="21" y="34"/>
                      <a:pt x="21" y="34"/>
                    </a:cubicBezTo>
                    <a:cubicBezTo>
                      <a:pt x="22" y="34"/>
                      <a:pt x="22" y="34"/>
                      <a:pt x="24" y="35"/>
                    </a:cubicBezTo>
                    <a:cubicBezTo>
                      <a:pt x="24" y="35"/>
                      <a:pt x="24" y="36"/>
                      <a:pt x="24" y="36"/>
                    </a:cubicBezTo>
                    <a:cubicBezTo>
                      <a:pt x="31" y="40"/>
                      <a:pt x="31" y="32"/>
                      <a:pt x="31" y="32"/>
                    </a:cubicBezTo>
                    <a:cubicBezTo>
                      <a:pt x="36" y="43"/>
                      <a:pt x="41" y="32"/>
                      <a:pt x="41" y="32"/>
                    </a:cubicBezTo>
                    <a:cubicBezTo>
                      <a:pt x="41" y="47"/>
                      <a:pt x="50" y="38"/>
                      <a:pt x="50" y="38"/>
                    </a:cubicBezTo>
                    <a:cubicBezTo>
                      <a:pt x="62" y="41"/>
                      <a:pt x="55" y="30"/>
                      <a:pt x="55" y="30"/>
                    </a:cubicBezTo>
                    <a:cubicBezTo>
                      <a:pt x="61" y="21"/>
                      <a:pt x="50" y="19"/>
                      <a:pt x="50" y="19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08" name="Freeform 99"/>
              <p:cNvSpPr>
                <a:spLocks/>
              </p:cNvSpPr>
              <p:nvPr/>
            </p:nvSpPr>
            <p:spPr bwMode="auto">
              <a:xfrm>
                <a:off x="6351588" y="1716088"/>
                <a:ext cx="60325" cy="153988"/>
              </a:xfrm>
              <a:custGeom>
                <a:avLst/>
                <a:gdLst>
                  <a:gd name="T0" fmla="*/ 20 w 26"/>
                  <a:gd name="T1" fmla="*/ 5 h 67"/>
                  <a:gd name="T2" fmla="*/ 9 w 26"/>
                  <a:gd name="T3" fmla="*/ 0 h 67"/>
                  <a:gd name="T4" fmla="*/ 0 w 26"/>
                  <a:gd name="T5" fmla="*/ 61 h 67"/>
                  <a:gd name="T6" fmla="*/ 26 w 26"/>
                  <a:gd name="T7" fmla="*/ 61 h 67"/>
                  <a:gd name="T8" fmla="*/ 20 w 26"/>
                  <a:gd name="T9" fmla="*/ 5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" h="67">
                    <a:moveTo>
                      <a:pt x="20" y="5"/>
                    </a:moveTo>
                    <a:cubicBezTo>
                      <a:pt x="20" y="5"/>
                      <a:pt x="19" y="0"/>
                      <a:pt x="9" y="0"/>
                    </a:cubicBezTo>
                    <a:cubicBezTo>
                      <a:pt x="9" y="0"/>
                      <a:pt x="11" y="52"/>
                      <a:pt x="0" y="61"/>
                    </a:cubicBezTo>
                    <a:cubicBezTo>
                      <a:pt x="0" y="61"/>
                      <a:pt x="18" y="67"/>
                      <a:pt x="26" y="61"/>
                    </a:cubicBezTo>
                    <a:cubicBezTo>
                      <a:pt x="26" y="61"/>
                      <a:pt x="16" y="35"/>
                      <a:pt x="20" y="5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09" name="Freeform 100"/>
              <p:cNvSpPr>
                <a:spLocks/>
              </p:cNvSpPr>
              <p:nvPr/>
            </p:nvSpPr>
            <p:spPr bwMode="auto">
              <a:xfrm>
                <a:off x="6418263" y="1695450"/>
                <a:ext cx="60325" cy="150813"/>
              </a:xfrm>
              <a:custGeom>
                <a:avLst/>
                <a:gdLst>
                  <a:gd name="T0" fmla="*/ 20 w 26"/>
                  <a:gd name="T1" fmla="*/ 4 h 66"/>
                  <a:gd name="T2" fmla="*/ 10 w 26"/>
                  <a:gd name="T3" fmla="*/ 0 h 66"/>
                  <a:gd name="T4" fmla="*/ 0 w 26"/>
                  <a:gd name="T5" fmla="*/ 60 h 66"/>
                  <a:gd name="T6" fmla="*/ 26 w 26"/>
                  <a:gd name="T7" fmla="*/ 60 h 66"/>
                  <a:gd name="T8" fmla="*/ 20 w 26"/>
                  <a:gd name="T9" fmla="*/ 4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" h="66">
                    <a:moveTo>
                      <a:pt x="20" y="4"/>
                    </a:moveTo>
                    <a:cubicBezTo>
                      <a:pt x="20" y="4"/>
                      <a:pt x="20" y="0"/>
                      <a:pt x="10" y="0"/>
                    </a:cubicBezTo>
                    <a:cubicBezTo>
                      <a:pt x="10" y="0"/>
                      <a:pt x="12" y="51"/>
                      <a:pt x="0" y="60"/>
                    </a:cubicBezTo>
                    <a:cubicBezTo>
                      <a:pt x="0" y="60"/>
                      <a:pt x="19" y="66"/>
                      <a:pt x="26" y="60"/>
                    </a:cubicBezTo>
                    <a:cubicBezTo>
                      <a:pt x="26" y="60"/>
                      <a:pt x="16" y="34"/>
                      <a:pt x="20" y="4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10" name="Freeform 101"/>
              <p:cNvSpPr>
                <a:spLocks/>
              </p:cNvSpPr>
              <p:nvPr/>
            </p:nvSpPr>
            <p:spPr bwMode="auto">
              <a:xfrm>
                <a:off x="6330950" y="1479550"/>
                <a:ext cx="96838" cy="115888"/>
              </a:xfrm>
              <a:custGeom>
                <a:avLst/>
                <a:gdLst>
                  <a:gd name="T0" fmla="*/ 31 w 42"/>
                  <a:gd name="T1" fmla="*/ 15 h 50"/>
                  <a:gd name="T2" fmla="*/ 24 w 42"/>
                  <a:gd name="T3" fmla="*/ 0 h 50"/>
                  <a:gd name="T4" fmla="*/ 16 w 42"/>
                  <a:gd name="T5" fmla="*/ 11 h 50"/>
                  <a:gd name="T6" fmla="*/ 13 w 42"/>
                  <a:gd name="T7" fmla="*/ 28 h 50"/>
                  <a:gd name="T8" fmla="*/ 41 w 42"/>
                  <a:gd name="T9" fmla="*/ 20 h 50"/>
                  <a:gd name="T10" fmla="*/ 31 w 42"/>
                  <a:gd name="T11" fmla="*/ 15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2" h="50">
                    <a:moveTo>
                      <a:pt x="31" y="15"/>
                    </a:moveTo>
                    <a:cubicBezTo>
                      <a:pt x="33" y="0"/>
                      <a:pt x="24" y="0"/>
                      <a:pt x="24" y="0"/>
                    </a:cubicBezTo>
                    <a:cubicBezTo>
                      <a:pt x="15" y="0"/>
                      <a:pt x="16" y="11"/>
                      <a:pt x="16" y="11"/>
                    </a:cubicBezTo>
                    <a:cubicBezTo>
                      <a:pt x="0" y="20"/>
                      <a:pt x="13" y="28"/>
                      <a:pt x="13" y="28"/>
                    </a:cubicBezTo>
                    <a:cubicBezTo>
                      <a:pt x="42" y="50"/>
                      <a:pt x="41" y="20"/>
                      <a:pt x="41" y="20"/>
                    </a:cubicBezTo>
                    <a:cubicBezTo>
                      <a:pt x="39" y="10"/>
                      <a:pt x="31" y="15"/>
                      <a:pt x="31" y="15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11" name="Freeform 102"/>
              <p:cNvSpPr>
                <a:spLocks/>
              </p:cNvSpPr>
              <p:nvPr/>
            </p:nvSpPr>
            <p:spPr bwMode="auto">
              <a:xfrm>
                <a:off x="6359525" y="1550988"/>
                <a:ext cx="1588" cy="4763"/>
              </a:xfrm>
              <a:custGeom>
                <a:avLst/>
                <a:gdLst>
                  <a:gd name="T0" fmla="*/ 0 w 1"/>
                  <a:gd name="T1" fmla="*/ 0 h 2"/>
                  <a:gd name="T2" fmla="*/ 1 w 1"/>
                  <a:gd name="T3" fmla="*/ 2 h 2"/>
                  <a:gd name="T4" fmla="*/ 0 w 1"/>
                  <a:gd name="T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2">
                    <a:moveTo>
                      <a:pt x="0" y="0"/>
                    </a:moveTo>
                    <a:cubicBezTo>
                      <a:pt x="0" y="1"/>
                      <a:pt x="0" y="1"/>
                      <a:pt x="1" y="2"/>
                    </a:cubicBezTo>
                    <a:cubicBezTo>
                      <a:pt x="1" y="2"/>
                      <a:pt x="1" y="1"/>
                      <a:pt x="0" y="0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12" name="Freeform 103"/>
              <p:cNvSpPr>
                <a:spLocks/>
              </p:cNvSpPr>
              <p:nvPr/>
            </p:nvSpPr>
            <p:spPr bwMode="auto">
              <a:xfrm>
                <a:off x="6308725" y="1525588"/>
                <a:ext cx="155575" cy="214313"/>
              </a:xfrm>
              <a:custGeom>
                <a:avLst/>
                <a:gdLst>
                  <a:gd name="T0" fmla="*/ 55 w 68"/>
                  <a:gd name="T1" fmla="*/ 42 h 93"/>
                  <a:gd name="T2" fmla="*/ 54 w 68"/>
                  <a:gd name="T3" fmla="*/ 34 h 93"/>
                  <a:gd name="T4" fmla="*/ 49 w 68"/>
                  <a:gd name="T5" fmla="*/ 17 h 93"/>
                  <a:gd name="T6" fmla="*/ 46 w 68"/>
                  <a:gd name="T7" fmla="*/ 7 h 93"/>
                  <a:gd name="T8" fmla="*/ 37 w 68"/>
                  <a:gd name="T9" fmla="*/ 12 h 93"/>
                  <a:gd name="T10" fmla="*/ 28 w 68"/>
                  <a:gd name="T11" fmla="*/ 0 h 93"/>
                  <a:gd name="T12" fmla="*/ 22 w 68"/>
                  <a:gd name="T13" fmla="*/ 11 h 93"/>
                  <a:gd name="T14" fmla="*/ 23 w 68"/>
                  <a:gd name="T15" fmla="*/ 13 h 93"/>
                  <a:gd name="T16" fmla="*/ 22 w 68"/>
                  <a:gd name="T17" fmla="*/ 11 h 93"/>
                  <a:gd name="T18" fmla="*/ 17 w 68"/>
                  <a:gd name="T19" fmla="*/ 8 h 93"/>
                  <a:gd name="T20" fmla="*/ 15 w 68"/>
                  <a:gd name="T21" fmla="*/ 20 h 93"/>
                  <a:gd name="T22" fmla="*/ 10 w 68"/>
                  <a:gd name="T23" fmla="*/ 33 h 93"/>
                  <a:gd name="T24" fmla="*/ 8 w 68"/>
                  <a:gd name="T25" fmla="*/ 50 h 93"/>
                  <a:gd name="T26" fmla="*/ 12 w 68"/>
                  <a:gd name="T27" fmla="*/ 63 h 93"/>
                  <a:gd name="T28" fmla="*/ 9 w 68"/>
                  <a:gd name="T29" fmla="*/ 79 h 93"/>
                  <a:gd name="T30" fmla="*/ 31 w 68"/>
                  <a:gd name="T31" fmla="*/ 78 h 93"/>
                  <a:gd name="T32" fmla="*/ 47 w 68"/>
                  <a:gd name="T33" fmla="*/ 79 h 93"/>
                  <a:gd name="T34" fmla="*/ 59 w 68"/>
                  <a:gd name="T35" fmla="*/ 71 h 93"/>
                  <a:gd name="T36" fmla="*/ 57 w 68"/>
                  <a:gd name="T37" fmla="*/ 59 h 93"/>
                  <a:gd name="T38" fmla="*/ 55 w 68"/>
                  <a:gd name="T39" fmla="*/ 42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68" h="93">
                    <a:moveTo>
                      <a:pt x="55" y="42"/>
                    </a:moveTo>
                    <a:cubicBezTo>
                      <a:pt x="55" y="42"/>
                      <a:pt x="64" y="40"/>
                      <a:pt x="54" y="34"/>
                    </a:cubicBezTo>
                    <a:cubicBezTo>
                      <a:pt x="54" y="34"/>
                      <a:pt x="66" y="18"/>
                      <a:pt x="49" y="17"/>
                    </a:cubicBezTo>
                    <a:cubicBezTo>
                      <a:pt x="49" y="17"/>
                      <a:pt x="54" y="11"/>
                      <a:pt x="46" y="7"/>
                    </a:cubicBezTo>
                    <a:cubicBezTo>
                      <a:pt x="46" y="7"/>
                      <a:pt x="39" y="3"/>
                      <a:pt x="37" y="12"/>
                    </a:cubicBezTo>
                    <a:cubicBezTo>
                      <a:pt x="37" y="12"/>
                      <a:pt x="37" y="3"/>
                      <a:pt x="28" y="0"/>
                    </a:cubicBezTo>
                    <a:cubicBezTo>
                      <a:pt x="28" y="0"/>
                      <a:pt x="20" y="0"/>
                      <a:pt x="22" y="11"/>
                    </a:cubicBezTo>
                    <a:cubicBezTo>
                      <a:pt x="23" y="12"/>
                      <a:pt x="23" y="13"/>
                      <a:pt x="23" y="13"/>
                    </a:cubicBezTo>
                    <a:cubicBezTo>
                      <a:pt x="22" y="12"/>
                      <a:pt x="22" y="12"/>
                      <a:pt x="22" y="11"/>
                    </a:cubicBezTo>
                    <a:cubicBezTo>
                      <a:pt x="21" y="9"/>
                      <a:pt x="20" y="7"/>
                      <a:pt x="17" y="8"/>
                    </a:cubicBezTo>
                    <a:cubicBezTo>
                      <a:pt x="17" y="8"/>
                      <a:pt x="11" y="12"/>
                      <a:pt x="15" y="20"/>
                    </a:cubicBezTo>
                    <a:cubicBezTo>
                      <a:pt x="15" y="20"/>
                      <a:pt x="6" y="21"/>
                      <a:pt x="10" y="33"/>
                    </a:cubicBezTo>
                    <a:cubicBezTo>
                      <a:pt x="10" y="33"/>
                      <a:pt x="0" y="39"/>
                      <a:pt x="8" y="50"/>
                    </a:cubicBezTo>
                    <a:cubicBezTo>
                      <a:pt x="8" y="50"/>
                      <a:pt x="2" y="56"/>
                      <a:pt x="12" y="63"/>
                    </a:cubicBezTo>
                    <a:cubicBezTo>
                      <a:pt x="12" y="63"/>
                      <a:pt x="3" y="69"/>
                      <a:pt x="9" y="79"/>
                    </a:cubicBezTo>
                    <a:cubicBezTo>
                      <a:pt x="9" y="79"/>
                      <a:pt x="18" y="93"/>
                      <a:pt x="31" y="78"/>
                    </a:cubicBezTo>
                    <a:cubicBezTo>
                      <a:pt x="31" y="78"/>
                      <a:pt x="34" y="71"/>
                      <a:pt x="47" y="79"/>
                    </a:cubicBezTo>
                    <a:cubicBezTo>
                      <a:pt x="47" y="79"/>
                      <a:pt x="54" y="82"/>
                      <a:pt x="59" y="71"/>
                    </a:cubicBezTo>
                    <a:cubicBezTo>
                      <a:pt x="59" y="71"/>
                      <a:pt x="62" y="64"/>
                      <a:pt x="57" y="59"/>
                    </a:cubicBezTo>
                    <a:cubicBezTo>
                      <a:pt x="57" y="59"/>
                      <a:pt x="68" y="49"/>
                      <a:pt x="55" y="42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13" name="Freeform 104"/>
              <p:cNvSpPr>
                <a:spLocks/>
              </p:cNvSpPr>
              <p:nvPr/>
            </p:nvSpPr>
            <p:spPr bwMode="auto">
              <a:xfrm>
                <a:off x="6338888" y="1585913"/>
                <a:ext cx="103188" cy="185738"/>
              </a:xfrm>
              <a:custGeom>
                <a:avLst/>
                <a:gdLst>
                  <a:gd name="T0" fmla="*/ 33 w 45"/>
                  <a:gd name="T1" fmla="*/ 35 h 81"/>
                  <a:gd name="T2" fmla="*/ 33 w 45"/>
                  <a:gd name="T3" fmla="*/ 18 h 81"/>
                  <a:gd name="T4" fmla="*/ 29 w 45"/>
                  <a:gd name="T5" fmla="*/ 3 h 81"/>
                  <a:gd name="T6" fmla="*/ 18 w 45"/>
                  <a:gd name="T7" fmla="*/ 11 h 81"/>
                  <a:gd name="T8" fmla="*/ 6 w 45"/>
                  <a:gd name="T9" fmla="*/ 15 h 81"/>
                  <a:gd name="T10" fmla="*/ 8 w 45"/>
                  <a:gd name="T11" fmla="*/ 23 h 81"/>
                  <a:gd name="T12" fmla="*/ 6 w 45"/>
                  <a:gd name="T13" fmla="*/ 37 h 81"/>
                  <a:gd name="T14" fmla="*/ 0 w 45"/>
                  <a:gd name="T15" fmla="*/ 47 h 81"/>
                  <a:gd name="T16" fmla="*/ 6 w 45"/>
                  <a:gd name="T17" fmla="*/ 53 h 81"/>
                  <a:gd name="T18" fmla="*/ 14 w 45"/>
                  <a:gd name="T19" fmla="*/ 63 h 81"/>
                  <a:gd name="T20" fmla="*/ 31 w 45"/>
                  <a:gd name="T21" fmla="*/ 62 h 81"/>
                  <a:gd name="T22" fmla="*/ 34 w 45"/>
                  <a:gd name="T23" fmla="*/ 49 h 81"/>
                  <a:gd name="T24" fmla="*/ 33 w 45"/>
                  <a:gd name="T25" fmla="*/ 35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5" h="81">
                    <a:moveTo>
                      <a:pt x="33" y="35"/>
                    </a:moveTo>
                    <a:cubicBezTo>
                      <a:pt x="33" y="35"/>
                      <a:pt x="44" y="28"/>
                      <a:pt x="33" y="18"/>
                    </a:cubicBezTo>
                    <a:cubicBezTo>
                      <a:pt x="33" y="18"/>
                      <a:pt x="38" y="10"/>
                      <a:pt x="29" y="3"/>
                    </a:cubicBezTo>
                    <a:cubicBezTo>
                      <a:pt x="29" y="3"/>
                      <a:pt x="20" y="0"/>
                      <a:pt x="18" y="11"/>
                    </a:cubicBezTo>
                    <a:cubicBezTo>
                      <a:pt x="18" y="11"/>
                      <a:pt x="12" y="4"/>
                      <a:pt x="6" y="15"/>
                    </a:cubicBezTo>
                    <a:cubicBezTo>
                      <a:pt x="6" y="15"/>
                      <a:pt x="5" y="19"/>
                      <a:pt x="8" y="23"/>
                    </a:cubicBezTo>
                    <a:cubicBezTo>
                      <a:pt x="8" y="23"/>
                      <a:pt x="1" y="27"/>
                      <a:pt x="6" y="37"/>
                    </a:cubicBezTo>
                    <a:cubicBezTo>
                      <a:pt x="6" y="37"/>
                      <a:pt x="1" y="36"/>
                      <a:pt x="0" y="47"/>
                    </a:cubicBezTo>
                    <a:cubicBezTo>
                      <a:pt x="0" y="47"/>
                      <a:pt x="0" y="53"/>
                      <a:pt x="6" y="53"/>
                    </a:cubicBezTo>
                    <a:cubicBezTo>
                      <a:pt x="6" y="53"/>
                      <a:pt x="1" y="67"/>
                      <a:pt x="14" y="63"/>
                    </a:cubicBezTo>
                    <a:cubicBezTo>
                      <a:pt x="14" y="63"/>
                      <a:pt x="21" y="81"/>
                      <a:pt x="31" y="62"/>
                    </a:cubicBezTo>
                    <a:cubicBezTo>
                      <a:pt x="31" y="62"/>
                      <a:pt x="43" y="59"/>
                      <a:pt x="34" y="49"/>
                    </a:cubicBezTo>
                    <a:cubicBezTo>
                      <a:pt x="34" y="49"/>
                      <a:pt x="45" y="43"/>
                      <a:pt x="33" y="35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14" name="Freeform 105"/>
              <p:cNvSpPr>
                <a:spLocks/>
              </p:cNvSpPr>
              <p:nvPr/>
            </p:nvSpPr>
            <p:spPr bwMode="auto">
              <a:xfrm>
                <a:off x="6143625" y="1546225"/>
                <a:ext cx="119063" cy="180975"/>
              </a:xfrm>
              <a:custGeom>
                <a:avLst/>
                <a:gdLst>
                  <a:gd name="T0" fmla="*/ 42 w 52"/>
                  <a:gd name="T1" fmla="*/ 37 h 79"/>
                  <a:gd name="T2" fmla="*/ 32 w 52"/>
                  <a:gd name="T3" fmla="*/ 24 h 79"/>
                  <a:gd name="T4" fmla="*/ 24 w 52"/>
                  <a:gd name="T5" fmla="*/ 15 h 79"/>
                  <a:gd name="T6" fmla="*/ 10 w 52"/>
                  <a:gd name="T7" fmla="*/ 7 h 79"/>
                  <a:gd name="T8" fmla="*/ 10 w 52"/>
                  <a:gd name="T9" fmla="*/ 32 h 79"/>
                  <a:gd name="T10" fmla="*/ 18 w 52"/>
                  <a:gd name="T11" fmla="*/ 52 h 79"/>
                  <a:gd name="T12" fmla="*/ 23 w 52"/>
                  <a:gd name="T13" fmla="*/ 66 h 79"/>
                  <a:gd name="T14" fmla="*/ 32 w 52"/>
                  <a:gd name="T15" fmla="*/ 79 h 79"/>
                  <a:gd name="T16" fmla="*/ 38 w 52"/>
                  <a:gd name="T17" fmla="*/ 68 h 79"/>
                  <a:gd name="T18" fmla="*/ 42 w 52"/>
                  <a:gd name="T19" fmla="*/ 52 h 79"/>
                  <a:gd name="T20" fmla="*/ 42 w 52"/>
                  <a:gd name="T21" fmla="*/ 37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2" h="79">
                    <a:moveTo>
                      <a:pt x="42" y="37"/>
                    </a:moveTo>
                    <a:cubicBezTo>
                      <a:pt x="47" y="20"/>
                      <a:pt x="32" y="24"/>
                      <a:pt x="32" y="24"/>
                    </a:cubicBezTo>
                    <a:cubicBezTo>
                      <a:pt x="33" y="14"/>
                      <a:pt x="24" y="15"/>
                      <a:pt x="24" y="15"/>
                    </a:cubicBezTo>
                    <a:cubicBezTo>
                      <a:pt x="23" y="0"/>
                      <a:pt x="10" y="7"/>
                      <a:pt x="10" y="7"/>
                    </a:cubicBezTo>
                    <a:cubicBezTo>
                      <a:pt x="4" y="12"/>
                      <a:pt x="10" y="32"/>
                      <a:pt x="10" y="32"/>
                    </a:cubicBezTo>
                    <a:cubicBezTo>
                      <a:pt x="0" y="40"/>
                      <a:pt x="18" y="52"/>
                      <a:pt x="18" y="52"/>
                    </a:cubicBezTo>
                    <a:cubicBezTo>
                      <a:pt x="10" y="61"/>
                      <a:pt x="23" y="66"/>
                      <a:pt x="23" y="66"/>
                    </a:cubicBezTo>
                    <a:cubicBezTo>
                      <a:pt x="22" y="78"/>
                      <a:pt x="32" y="79"/>
                      <a:pt x="32" y="79"/>
                    </a:cubicBezTo>
                    <a:cubicBezTo>
                      <a:pt x="41" y="78"/>
                      <a:pt x="38" y="68"/>
                      <a:pt x="38" y="68"/>
                    </a:cubicBezTo>
                    <a:cubicBezTo>
                      <a:pt x="51" y="63"/>
                      <a:pt x="42" y="52"/>
                      <a:pt x="42" y="52"/>
                    </a:cubicBezTo>
                    <a:cubicBezTo>
                      <a:pt x="52" y="44"/>
                      <a:pt x="42" y="37"/>
                      <a:pt x="42" y="37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15" name="Freeform 106"/>
              <p:cNvSpPr>
                <a:spLocks/>
              </p:cNvSpPr>
              <p:nvPr/>
            </p:nvSpPr>
            <p:spPr bwMode="auto">
              <a:xfrm>
                <a:off x="6151563" y="1755775"/>
                <a:ext cx="1588" cy="0"/>
              </a:xfrm>
              <a:custGeom>
                <a:avLst/>
                <a:gdLst>
                  <a:gd name="T0" fmla="*/ 1 w 1"/>
                  <a:gd name="T1" fmla="*/ 0 w 1"/>
                  <a:gd name="T2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1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16" name="Freeform 107"/>
              <p:cNvSpPr>
                <a:spLocks/>
              </p:cNvSpPr>
              <p:nvPr/>
            </p:nvSpPr>
            <p:spPr bwMode="auto">
              <a:xfrm>
                <a:off x="6116638" y="1714500"/>
                <a:ext cx="57150" cy="147638"/>
              </a:xfrm>
              <a:custGeom>
                <a:avLst/>
                <a:gdLst>
                  <a:gd name="T0" fmla="*/ 23 w 25"/>
                  <a:gd name="T1" fmla="*/ 6 h 65"/>
                  <a:gd name="T2" fmla="*/ 16 w 25"/>
                  <a:gd name="T3" fmla="*/ 18 h 65"/>
                  <a:gd name="T4" fmla="*/ 15 w 25"/>
                  <a:gd name="T5" fmla="*/ 18 h 65"/>
                  <a:gd name="T6" fmla="*/ 16 w 25"/>
                  <a:gd name="T7" fmla="*/ 18 h 65"/>
                  <a:gd name="T8" fmla="*/ 13 w 25"/>
                  <a:gd name="T9" fmla="*/ 0 h 65"/>
                  <a:gd name="T10" fmla="*/ 9 w 25"/>
                  <a:gd name="T11" fmla="*/ 2 h 65"/>
                  <a:gd name="T12" fmla="*/ 12 w 25"/>
                  <a:gd name="T13" fmla="*/ 22 h 65"/>
                  <a:gd name="T14" fmla="*/ 12 w 25"/>
                  <a:gd name="T15" fmla="*/ 23 h 65"/>
                  <a:gd name="T16" fmla="*/ 12 w 25"/>
                  <a:gd name="T17" fmla="*/ 22 h 65"/>
                  <a:gd name="T18" fmla="*/ 1 w 25"/>
                  <a:gd name="T19" fmla="*/ 2 h 65"/>
                  <a:gd name="T20" fmla="*/ 0 w 25"/>
                  <a:gd name="T21" fmla="*/ 9 h 65"/>
                  <a:gd name="T22" fmla="*/ 9 w 25"/>
                  <a:gd name="T23" fmla="*/ 30 h 65"/>
                  <a:gd name="T24" fmla="*/ 8 w 25"/>
                  <a:gd name="T25" fmla="*/ 65 h 65"/>
                  <a:gd name="T26" fmla="*/ 21 w 25"/>
                  <a:gd name="T27" fmla="*/ 65 h 65"/>
                  <a:gd name="T28" fmla="*/ 22 w 25"/>
                  <a:gd name="T29" fmla="*/ 65 h 65"/>
                  <a:gd name="T30" fmla="*/ 20 w 25"/>
                  <a:gd name="T31" fmla="*/ 38 h 65"/>
                  <a:gd name="T32" fmla="*/ 25 w 25"/>
                  <a:gd name="T33" fmla="*/ 11 h 65"/>
                  <a:gd name="T34" fmla="*/ 23 w 25"/>
                  <a:gd name="T35" fmla="*/ 6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5" h="65">
                    <a:moveTo>
                      <a:pt x="23" y="6"/>
                    </a:moveTo>
                    <a:cubicBezTo>
                      <a:pt x="18" y="10"/>
                      <a:pt x="16" y="16"/>
                      <a:pt x="16" y="18"/>
                    </a:cubicBezTo>
                    <a:cubicBezTo>
                      <a:pt x="16" y="18"/>
                      <a:pt x="16" y="18"/>
                      <a:pt x="15" y="18"/>
                    </a:cubicBezTo>
                    <a:cubicBezTo>
                      <a:pt x="15" y="18"/>
                      <a:pt x="16" y="18"/>
                      <a:pt x="16" y="18"/>
                    </a:cubicBezTo>
                    <a:cubicBezTo>
                      <a:pt x="16" y="15"/>
                      <a:pt x="13" y="0"/>
                      <a:pt x="13" y="0"/>
                    </a:cubicBezTo>
                    <a:cubicBezTo>
                      <a:pt x="9" y="2"/>
                      <a:pt x="9" y="2"/>
                      <a:pt x="9" y="2"/>
                    </a:cubicBezTo>
                    <a:cubicBezTo>
                      <a:pt x="11" y="5"/>
                      <a:pt x="12" y="18"/>
                      <a:pt x="12" y="22"/>
                    </a:cubicBezTo>
                    <a:cubicBezTo>
                      <a:pt x="12" y="22"/>
                      <a:pt x="12" y="22"/>
                      <a:pt x="12" y="23"/>
                    </a:cubicBezTo>
                    <a:cubicBezTo>
                      <a:pt x="12" y="23"/>
                      <a:pt x="12" y="22"/>
                      <a:pt x="12" y="22"/>
                    </a:cubicBezTo>
                    <a:cubicBezTo>
                      <a:pt x="11" y="13"/>
                      <a:pt x="1" y="2"/>
                      <a:pt x="1" y="2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3" y="10"/>
                      <a:pt x="7" y="19"/>
                      <a:pt x="9" y="30"/>
                    </a:cubicBezTo>
                    <a:cubicBezTo>
                      <a:pt x="11" y="40"/>
                      <a:pt x="8" y="65"/>
                      <a:pt x="8" y="65"/>
                    </a:cubicBezTo>
                    <a:cubicBezTo>
                      <a:pt x="21" y="65"/>
                      <a:pt x="21" y="65"/>
                      <a:pt x="21" y="65"/>
                    </a:cubicBezTo>
                    <a:cubicBezTo>
                      <a:pt x="22" y="65"/>
                      <a:pt x="22" y="65"/>
                      <a:pt x="22" y="65"/>
                    </a:cubicBezTo>
                    <a:cubicBezTo>
                      <a:pt x="21" y="62"/>
                      <a:pt x="20" y="38"/>
                      <a:pt x="20" y="38"/>
                    </a:cubicBezTo>
                    <a:cubicBezTo>
                      <a:pt x="18" y="18"/>
                      <a:pt x="25" y="11"/>
                      <a:pt x="25" y="11"/>
                    </a:cubicBezTo>
                    <a:lnTo>
                      <a:pt x="23" y="6"/>
                    </a:ln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17" name="Freeform 108"/>
              <p:cNvSpPr>
                <a:spLocks/>
              </p:cNvSpPr>
              <p:nvPr/>
            </p:nvSpPr>
            <p:spPr bwMode="auto">
              <a:xfrm>
                <a:off x="6143625" y="1763713"/>
                <a:ext cx="0" cy="3175"/>
              </a:xfrm>
              <a:custGeom>
                <a:avLst/>
                <a:gdLst>
                  <a:gd name="T0" fmla="*/ 0 h 1"/>
                  <a:gd name="T1" fmla="*/ 1 h 1"/>
                  <a:gd name="T2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18" name="Freeform 109"/>
              <p:cNvSpPr>
                <a:spLocks/>
              </p:cNvSpPr>
              <p:nvPr/>
            </p:nvSpPr>
            <p:spPr bwMode="auto">
              <a:xfrm>
                <a:off x="6173788" y="1622425"/>
                <a:ext cx="58738" cy="84138"/>
              </a:xfrm>
              <a:custGeom>
                <a:avLst/>
                <a:gdLst>
                  <a:gd name="T0" fmla="*/ 17 w 26"/>
                  <a:gd name="T1" fmla="*/ 12 h 37"/>
                  <a:gd name="T2" fmla="*/ 9 w 26"/>
                  <a:gd name="T3" fmla="*/ 2 h 37"/>
                  <a:gd name="T4" fmla="*/ 10 w 26"/>
                  <a:gd name="T5" fmla="*/ 34 h 37"/>
                  <a:gd name="T6" fmla="*/ 18 w 26"/>
                  <a:gd name="T7" fmla="*/ 24 h 37"/>
                  <a:gd name="T8" fmla="*/ 17 w 26"/>
                  <a:gd name="T9" fmla="*/ 12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" h="37">
                    <a:moveTo>
                      <a:pt x="17" y="12"/>
                    </a:moveTo>
                    <a:cubicBezTo>
                      <a:pt x="22" y="0"/>
                      <a:pt x="9" y="2"/>
                      <a:pt x="9" y="2"/>
                    </a:cubicBezTo>
                    <a:cubicBezTo>
                      <a:pt x="0" y="4"/>
                      <a:pt x="10" y="34"/>
                      <a:pt x="10" y="34"/>
                    </a:cubicBezTo>
                    <a:cubicBezTo>
                      <a:pt x="23" y="37"/>
                      <a:pt x="18" y="24"/>
                      <a:pt x="18" y="24"/>
                    </a:cubicBezTo>
                    <a:cubicBezTo>
                      <a:pt x="26" y="17"/>
                      <a:pt x="17" y="12"/>
                      <a:pt x="17" y="12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19" name="Freeform 110"/>
              <p:cNvSpPr>
                <a:spLocks/>
              </p:cNvSpPr>
              <p:nvPr/>
            </p:nvSpPr>
            <p:spPr bwMode="auto">
              <a:xfrm>
                <a:off x="6097588" y="1538288"/>
                <a:ext cx="98425" cy="119063"/>
              </a:xfrm>
              <a:custGeom>
                <a:avLst/>
                <a:gdLst>
                  <a:gd name="T0" fmla="*/ 37 w 43"/>
                  <a:gd name="T1" fmla="*/ 36 h 52"/>
                  <a:gd name="T2" fmla="*/ 38 w 43"/>
                  <a:gd name="T3" fmla="*/ 28 h 52"/>
                  <a:gd name="T4" fmla="*/ 31 w 43"/>
                  <a:gd name="T5" fmla="*/ 24 h 52"/>
                  <a:gd name="T6" fmla="*/ 30 w 43"/>
                  <a:gd name="T7" fmla="*/ 24 h 52"/>
                  <a:gd name="T8" fmla="*/ 31 w 43"/>
                  <a:gd name="T9" fmla="*/ 24 h 52"/>
                  <a:gd name="T10" fmla="*/ 33 w 43"/>
                  <a:gd name="T11" fmla="*/ 16 h 52"/>
                  <a:gd name="T12" fmla="*/ 21 w 43"/>
                  <a:gd name="T13" fmla="*/ 9 h 52"/>
                  <a:gd name="T14" fmla="*/ 11 w 43"/>
                  <a:gd name="T15" fmla="*/ 1 h 52"/>
                  <a:gd name="T16" fmla="*/ 5 w 43"/>
                  <a:gd name="T17" fmla="*/ 9 h 52"/>
                  <a:gd name="T18" fmla="*/ 9 w 43"/>
                  <a:gd name="T19" fmla="*/ 19 h 52"/>
                  <a:gd name="T20" fmla="*/ 15 w 43"/>
                  <a:gd name="T21" fmla="*/ 28 h 52"/>
                  <a:gd name="T22" fmla="*/ 21 w 43"/>
                  <a:gd name="T23" fmla="*/ 39 h 52"/>
                  <a:gd name="T24" fmla="*/ 32 w 43"/>
                  <a:gd name="T25" fmla="*/ 51 h 52"/>
                  <a:gd name="T26" fmla="*/ 41 w 43"/>
                  <a:gd name="T27" fmla="*/ 45 h 52"/>
                  <a:gd name="T28" fmla="*/ 37 w 43"/>
                  <a:gd name="T29" fmla="*/ 36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3" h="52">
                    <a:moveTo>
                      <a:pt x="37" y="36"/>
                    </a:moveTo>
                    <a:cubicBezTo>
                      <a:pt x="40" y="30"/>
                      <a:pt x="38" y="28"/>
                      <a:pt x="38" y="28"/>
                    </a:cubicBezTo>
                    <a:cubicBezTo>
                      <a:pt x="37" y="24"/>
                      <a:pt x="33" y="24"/>
                      <a:pt x="31" y="24"/>
                    </a:cubicBezTo>
                    <a:cubicBezTo>
                      <a:pt x="31" y="24"/>
                      <a:pt x="30" y="24"/>
                      <a:pt x="30" y="24"/>
                    </a:cubicBezTo>
                    <a:cubicBezTo>
                      <a:pt x="30" y="24"/>
                      <a:pt x="31" y="24"/>
                      <a:pt x="31" y="24"/>
                    </a:cubicBezTo>
                    <a:cubicBezTo>
                      <a:pt x="34" y="23"/>
                      <a:pt x="33" y="16"/>
                      <a:pt x="33" y="16"/>
                    </a:cubicBezTo>
                    <a:cubicBezTo>
                      <a:pt x="32" y="4"/>
                      <a:pt x="21" y="9"/>
                      <a:pt x="21" y="9"/>
                    </a:cubicBezTo>
                    <a:cubicBezTo>
                      <a:pt x="20" y="0"/>
                      <a:pt x="11" y="1"/>
                      <a:pt x="11" y="1"/>
                    </a:cubicBezTo>
                    <a:cubicBezTo>
                      <a:pt x="5" y="2"/>
                      <a:pt x="5" y="9"/>
                      <a:pt x="5" y="9"/>
                    </a:cubicBezTo>
                    <a:cubicBezTo>
                      <a:pt x="4" y="13"/>
                      <a:pt x="9" y="19"/>
                      <a:pt x="9" y="19"/>
                    </a:cubicBezTo>
                    <a:cubicBezTo>
                      <a:pt x="0" y="32"/>
                      <a:pt x="15" y="28"/>
                      <a:pt x="15" y="28"/>
                    </a:cubicBezTo>
                    <a:cubicBezTo>
                      <a:pt x="5" y="36"/>
                      <a:pt x="21" y="39"/>
                      <a:pt x="21" y="39"/>
                    </a:cubicBezTo>
                    <a:cubicBezTo>
                      <a:pt x="18" y="52"/>
                      <a:pt x="32" y="51"/>
                      <a:pt x="32" y="51"/>
                    </a:cubicBezTo>
                    <a:cubicBezTo>
                      <a:pt x="41" y="52"/>
                      <a:pt x="41" y="45"/>
                      <a:pt x="41" y="45"/>
                    </a:cubicBezTo>
                    <a:cubicBezTo>
                      <a:pt x="43" y="40"/>
                      <a:pt x="37" y="36"/>
                      <a:pt x="37" y="36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20" name="Freeform 111"/>
              <p:cNvSpPr>
                <a:spLocks/>
              </p:cNvSpPr>
              <p:nvPr/>
            </p:nvSpPr>
            <p:spPr bwMode="auto">
              <a:xfrm>
                <a:off x="6167438" y="1592263"/>
                <a:ext cx="1588" cy="0"/>
              </a:xfrm>
              <a:custGeom>
                <a:avLst/>
                <a:gdLst>
                  <a:gd name="T0" fmla="*/ 1 w 1"/>
                  <a:gd name="T1" fmla="*/ 0 w 1"/>
                  <a:gd name="T2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1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0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21" name="Freeform 112"/>
              <p:cNvSpPr>
                <a:spLocks/>
              </p:cNvSpPr>
              <p:nvPr/>
            </p:nvSpPr>
            <p:spPr bwMode="auto">
              <a:xfrm>
                <a:off x="6040438" y="1549400"/>
                <a:ext cx="122238" cy="115888"/>
              </a:xfrm>
              <a:custGeom>
                <a:avLst/>
                <a:gdLst>
                  <a:gd name="T0" fmla="*/ 41 w 53"/>
                  <a:gd name="T1" fmla="*/ 17 h 51"/>
                  <a:gd name="T2" fmla="*/ 34 w 53"/>
                  <a:gd name="T3" fmla="*/ 10 h 51"/>
                  <a:gd name="T4" fmla="*/ 27 w 53"/>
                  <a:gd name="T5" fmla="*/ 1 h 51"/>
                  <a:gd name="T6" fmla="*/ 20 w 53"/>
                  <a:gd name="T7" fmla="*/ 10 h 51"/>
                  <a:gd name="T8" fmla="*/ 11 w 53"/>
                  <a:gd name="T9" fmla="*/ 18 h 51"/>
                  <a:gd name="T10" fmla="*/ 15 w 53"/>
                  <a:gd name="T11" fmla="*/ 35 h 51"/>
                  <a:gd name="T12" fmla="*/ 25 w 53"/>
                  <a:gd name="T13" fmla="*/ 42 h 51"/>
                  <a:gd name="T14" fmla="*/ 37 w 53"/>
                  <a:gd name="T15" fmla="*/ 40 h 51"/>
                  <a:gd name="T16" fmla="*/ 41 w 53"/>
                  <a:gd name="T17" fmla="*/ 27 h 51"/>
                  <a:gd name="T18" fmla="*/ 41 w 53"/>
                  <a:gd name="T19" fmla="*/ 17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3" h="51">
                    <a:moveTo>
                      <a:pt x="41" y="17"/>
                    </a:moveTo>
                    <a:cubicBezTo>
                      <a:pt x="42" y="8"/>
                      <a:pt x="34" y="10"/>
                      <a:pt x="34" y="10"/>
                    </a:cubicBezTo>
                    <a:cubicBezTo>
                      <a:pt x="33" y="0"/>
                      <a:pt x="27" y="1"/>
                      <a:pt x="27" y="1"/>
                    </a:cubicBezTo>
                    <a:cubicBezTo>
                      <a:pt x="20" y="2"/>
                      <a:pt x="20" y="10"/>
                      <a:pt x="20" y="10"/>
                    </a:cubicBezTo>
                    <a:cubicBezTo>
                      <a:pt x="8" y="9"/>
                      <a:pt x="11" y="18"/>
                      <a:pt x="11" y="18"/>
                    </a:cubicBezTo>
                    <a:cubicBezTo>
                      <a:pt x="0" y="28"/>
                      <a:pt x="15" y="35"/>
                      <a:pt x="15" y="35"/>
                    </a:cubicBezTo>
                    <a:cubicBezTo>
                      <a:pt x="13" y="47"/>
                      <a:pt x="25" y="42"/>
                      <a:pt x="25" y="42"/>
                    </a:cubicBezTo>
                    <a:cubicBezTo>
                      <a:pt x="33" y="51"/>
                      <a:pt x="37" y="40"/>
                      <a:pt x="37" y="40"/>
                    </a:cubicBezTo>
                    <a:cubicBezTo>
                      <a:pt x="44" y="41"/>
                      <a:pt x="41" y="27"/>
                      <a:pt x="41" y="27"/>
                    </a:cubicBezTo>
                    <a:cubicBezTo>
                      <a:pt x="53" y="21"/>
                      <a:pt x="41" y="17"/>
                      <a:pt x="41" y="17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22" name="Freeform 113"/>
              <p:cNvSpPr>
                <a:spLocks/>
              </p:cNvSpPr>
              <p:nvPr/>
            </p:nvSpPr>
            <p:spPr bwMode="auto">
              <a:xfrm>
                <a:off x="6008688" y="1590675"/>
                <a:ext cx="112713" cy="109538"/>
              </a:xfrm>
              <a:custGeom>
                <a:avLst/>
                <a:gdLst>
                  <a:gd name="T0" fmla="*/ 37 w 49"/>
                  <a:gd name="T1" fmla="*/ 21 h 48"/>
                  <a:gd name="T2" fmla="*/ 39 w 49"/>
                  <a:gd name="T3" fmla="*/ 12 h 48"/>
                  <a:gd name="T4" fmla="*/ 29 w 49"/>
                  <a:gd name="T5" fmla="*/ 11 h 48"/>
                  <a:gd name="T6" fmla="*/ 22 w 49"/>
                  <a:gd name="T7" fmla="*/ 0 h 48"/>
                  <a:gd name="T8" fmla="*/ 15 w 49"/>
                  <a:gd name="T9" fmla="*/ 10 h 48"/>
                  <a:gd name="T10" fmla="*/ 11 w 49"/>
                  <a:gd name="T11" fmla="*/ 19 h 48"/>
                  <a:gd name="T12" fmla="*/ 9 w 49"/>
                  <a:gd name="T13" fmla="*/ 33 h 48"/>
                  <a:gd name="T14" fmla="*/ 10 w 49"/>
                  <a:gd name="T15" fmla="*/ 33 h 48"/>
                  <a:gd name="T16" fmla="*/ 20 w 49"/>
                  <a:gd name="T17" fmla="*/ 38 h 48"/>
                  <a:gd name="T18" fmla="*/ 28 w 49"/>
                  <a:gd name="T19" fmla="*/ 38 h 48"/>
                  <a:gd name="T20" fmla="*/ 45 w 49"/>
                  <a:gd name="T21" fmla="*/ 32 h 48"/>
                  <a:gd name="T22" fmla="*/ 37 w 49"/>
                  <a:gd name="T23" fmla="*/ 21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9" h="48">
                    <a:moveTo>
                      <a:pt x="37" y="21"/>
                    </a:moveTo>
                    <a:cubicBezTo>
                      <a:pt x="42" y="20"/>
                      <a:pt x="39" y="12"/>
                      <a:pt x="39" y="12"/>
                    </a:cubicBezTo>
                    <a:cubicBezTo>
                      <a:pt x="36" y="6"/>
                      <a:pt x="29" y="11"/>
                      <a:pt x="29" y="11"/>
                    </a:cubicBezTo>
                    <a:cubicBezTo>
                      <a:pt x="32" y="0"/>
                      <a:pt x="22" y="0"/>
                      <a:pt x="22" y="0"/>
                    </a:cubicBezTo>
                    <a:cubicBezTo>
                      <a:pt x="16" y="0"/>
                      <a:pt x="15" y="10"/>
                      <a:pt x="15" y="10"/>
                    </a:cubicBezTo>
                    <a:cubicBezTo>
                      <a:pt x="5" y="11"/>
                      <a:pt x="11" y="19"/>
                      <a:pt x="11" y="19"/>
                    </a:cubicBezTo>
                    <a:cubicBezTo>
                      <a:pt x="0" y="24"/>
                      <a:pt x="9" y="33"/>
                      <a:pt x="9" y="33"/>
                    </a:cubicBezTo>
                    <a:cubicBezTo>
                      <a:pt x="9" y="34"/>
                      <a:pt x="10" y="33"/>
                      <a:pt x="10" y="33"/>
                    </a:cubicBezTo>
                    <a:cubicBezTo>
                      <a:pt x="9" y="45"/>
                      <a:pt x="20" y="38"/>
                      <a:pt x="20" y="38"/>
                    </a:cubicBezTo>
                    <a:cubicBezTo>
                      <a:pt x="20" y="44"/>
                      <a:pt x="28" y="38"/>
                      <a:pt x="28" y="38"/>
                    </a:cubicBezTo>
                    <a:cubicBezTo>
                      <a:pt x="39" y="48"/>
                      <a:pt x="45" y="32"/>
                      <a:pt x="45" y="32"/>
                    </a:cubicBezTo>
                    <a:cubicBezTo>
                      <a:pt x="49" y="22"/>
                      <a:pt x="37" y="21"/>
                      <a:pt x="37" y="21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23" name="Freeform 114"/>
              <p:cNvSpPr>
                <a:spLocks/>
              </p:cNvSpPr>
              <p:nvPr/>
            </p:nvSpPr>
            <p:spPr bwMode="auto">
              <a:xfrm>
                <a:off x="6007100" y="1647825"/>
                <a:ext cx="120650" cy="125413"/>
              </a:xfrm>
              <a:custGeom>
                <a:avLst/>
                <a:gdLst>
                  <a:gd name="T0" fmla="*/ 43 w 53"/>
                  <a:gd name="T1" fmla="*/ 18 h 55"/>
                  <a:gd name="T2" fmla="*/ 34 w 53"/>
                  <a:gd name="T3" fmla="*/ 12 h 55"/>
                  <a:gd name="T4" fmla="*/ 25 w 53"/>
                  <a:gd name="T5" fmla="*/ 5 h 55"/>
                  <a:gd name="T6" fmla="*/ 21 w 53"/>
                  <a:gd name="T7" fmla="*/ 1 h 55"/>
                  <a:gd name="T8" fmla="*/ 21 w 53"/>
                  <a:gd name="T9" fmla="*/ 1 h 55"/>
                  <a:gd name="T10" fmla="*/ 12 w 53"/>
                  <a:gd name="T11" fmla="*/ 8 h 55"/>
                  <a:gd name="T12" fmla="*/ 11 w 53"/>
                  <a:gd name="T13" fmla="*/ 20 h 55"/>
                  <a:gd name="T14" fmla="*/ 12 w 53"/>
                  <a:gd name="T15" fmla="*/ 29 h 55"/>
                  <a:gd name="T16" fmla="*/ 18 w 53"/>
                  <a:gd name="T17" fmla="*/ 36 h 55"/>
                  <a:gd name="T18" fmla="*/ 26 w 53"/>
                  <a:gd name="T19" fmla="*/ 45 h 55"/>
                  <a:gd name="T20" fmla="*/ 26 w 53"/>
                  <a:gd name="T21" fmla="*/ 45 h 55"/>
                  <a:gd name="T22" fmla="*/ 27 w 53"/>
                  <a:gd name="T23" fmla="*/ 46 h 55"/>
                  <a:gd name="T24" fmla="*/ 37 w 53"/>
                  <a:gd name="T25" fmla="*/ 47 h 55"/>
                  <a:gd name="T26" fmla="*/ 37 w 53"/>
                  <a:gd name="T27" fmla="*/ 47 h 55"/>
                  <a:gd name="T28" fmla="*/ 45 w 53"/>
                  <a:gd name="T29" fmla="*/ 41 h 55"/>
                  <a:gd name="T30" fmla="*/ 46 w 53"/>
                  <a:gd name="T31" fmla="*/ 35 h 55"/>
                  <a:gd name="T32" fmla="*/ 47 w 53"/>
                  <a:gd name="T33" fmla="*/ 26 h 55"/>
                  <a:gd name="T34" fmla="*/ 43 w 53"/>
                  <a:gd name="T35" fmla="*/ 18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3" h="55">
                    <a:moveTo>
                      <a:pt x="43" y="18"/>
                    </a:moveTo>
                    <a:cubicBezTo>
                      <a:pt x="44" y="8"/>
                      <a:pt x="34" y="12"/>
                      <a:pt x="34" y="12"/>
                    </a:cubicBezTo>
                    <a:cubicBezTo>
                      <a:pt x="32" y="1"/>
                      <a:pt x="25" y="5"/>
                      <a:pt x="25" y="5"/>
                    </a:cubicBezTo>
                    <a:cubicBezTo>
                      <a:pt x="25" y="3"/>
                      <a:pt x="21" y="1"/>
                      <a:pt x="21" y="1"/>
                    </a:cubicBezTo>
                    <a:cubicBezTo>
                      <a:pt x="21" y="1"/>
                      <a:pt x="21" y="1"/>
                      <a:pt x="21" y="1"/>
                    </a:cubicBezTo>
                    <a:cubicBezTo>
                      <a:pt x="12" y="0"/>
                      <a:pt x="12" y="8"/>
                      <a:pt x="12" y="8"/>
                    </a:cubicBezTo>
                    <a:cubicBezTo>
                      <a:pt x="0" y="14"/>
                      <a:pt x="11" y="20"/>
                      <a:pt x="11" y="20"/>
                    </a:cubicBezTo>
                    <a:cubicBezTo>
                      <a:pt x="2" y="25"/>
                      <a:pt x="12" y="29"/>
                      <a:pt x="12" y="29"/>
                    </a:cubicBezTo>
                    <a:cubicBezTo>
                      <a:pt x="10" y="40"/>
                      <a:pt x="18" y="36"/>
                      <a:pt x="18" y="36"/>
                    </a:cubicBezTo>
                    <a:cubicBezTo>
                      <a:pt x="16" y="51"/>
                      <a:pt x="26" y="45"/>
                      <a:pt x="26" y="45"/>
                    </a:cubicBezTo>
                    <a:cubicBezTo>
                      <a:pt x="26" y="45"/>
                      <a:pt x="19" y="35"/>
                      <a:pt x="26" y="45"/>
                    </a:cubicBezTo>
                    <a:cubicBezTo>
                      <a:pt x="26" y="45"/>
                      <a:pt x="26" y="46"/>
                      <a:pt x="27" y="46"/>
                    </a:cubicBezTo>
                    <a:cubicBezTo>
                      <a:pt x="33" y="55"/>
                      <a:pt x="37" y="47"/>
                      <a:pt x="37" y="47"/>
                    </a:cubicBezTo>
                    <a:cubicBezTo>
                      <a:pt x="37" y="47"/>
                      <a:pt x="37" y="47"/>
                      <a:pt x="37" y="47"/>
                    </a:cubicBezTo>
                    <a:cubicBezTo>
                      <a:pt x="48" y="54"/>
                      <a:pt x="45" y="41"/>
                      <a:pt x="45" y="41"/>
                    </a:cubicBezTo>
                    <a:cubicBezTo>
                      <a:pt x="51" y="38"/>
                      <a:pt x="46" y="35"/>
                      <a:pt x="46" y="35"/>
                    </a:cubicBezTo>
                    <a:cubicBezTo>
                      <a:pt x="53" y="33"/>
                      <a:pt x="47" y="26"/>
                      <a:pt x="47" y="26"/>
                    </a:cubicBezTo>
                    <a:cubicBezTo>
                      <a:pt x="51" y="21"/>
                      <a:pt x="43" y="18"/>
                      <a:pt x="43" y="18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24" name="Freeform 115"/>
              <p:cNvSpPr>
                <a:spLocks/>
              </p:cNvSpPr>
              <p:nvPr/>
            </p:nvSpPr>
            <p:spPr bwMode="auto">
              <a:xfrm>
                <a:off x="6107113" y="1611313"/>
                <a:ext cx="107950" cy="149225"/>
              </a:xfrm>
              <a:custGeom>
                <a:avLst/>
                <a:gdLst>
                  <a:gd name="T0" fmla="*/ 40 w 47"/>
                  <a:gd name="T1" fmla="*/ 41 h 65"/>
                  <a:gd name="T2" fmla="*/ 42 w 47"/>
                  <a:gd name="T3" fmla="*/ 33 h 65"/>
                  <a:gd name="T4" fmla="*/ 37 w 47"/>
                  <a:gd name="T5" fmla="*/ 27 h 65"/>
                  <a:gd name="T6" fmla="*/ 37 w 47"/>
                  <a:gd name="T7" fmla="*/ 19 h 65"/>
                  <a:gd name="T8" fmla="*/ 31 w 47"/>
                  <a:gd name="T9" fmla="*/ 17 h 65"/>
                  <a:gd name="T10" fmla="*/ 21 w 47"/>
                  <a:gd name="T11" fmla="*/ 6 h 65"/>
                  <a:gd name="T12" fmla="*/ 14 w 47"/>
                  <a:gd name="T13" fmla="*/ 0 h 65"/>
                  <a:gd name="T14" fmla="*/ 7 w 47"/>
                  <a:gd name="T15" fmla="*/ 10 h 65"/>
                  <a:gd name="T16" fmla="*/ 1 w 47"/>
                  <a:gd name="T17" fmla="*/ 22 h 65"/>
                  <a:gd name="T18" fmla="*/ 12 w 47"/>
                  <a:gd name="T19" fmla="*/ 37 h 65"/>
                  <a:gd name="T20" fmla="*/ 20 w 47"/>
                  <a:gd name="T21" fmla="*/ 36 h 65"/>
                  <a:gd name="T22" fmla="*/ 20 w 47"/>
                  <a:gd name="T23" fmla="*/ 36 h 65"/>
                  <a:gd name="T24" fmla="*/ 27 w 47"/>
                  <a:gd name="T25" fmla="*/ 44 h 65"/>
                  <a:gd name="T26" fmla="*/ 45 w 47"/>
                  <a:gd name="T27" fmla="*/ 49 h 65"/>
                  <a:gd name="T28" fmla="*/ 40 w 47"/>
                  <a:gd name="T29" fmla="*/ 41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7" h="65">
                    <a:moveTo>
                      <a:pt x="40" y="41"/>
                    </a:moveTo>
                    <a:cubicBezTo>
                      <a:pt x="43" y="40"/>
                      <a:pt x="42" y="33"/>
                      <a:pt x="42" y="33"/>
                    </a:cubicBezTo>
                    <a:cubicBezTo>
                      <a:pt x="43" y="28"/>
                      <a:pt x="37" y="27"/>
                      <a:pt x="37" y="27"/>
                    </a:cubicBezTo>
                    <a:cubicBezTo>
                      <a:pt x="39" y="24"/>
                      <a:pt x="37" y="19"/>
                      <a:pt x="37" y="19"/>
                    </a:cubicBezTo>
                    <a:cubicBezTo>
                      <a:pt x="35" y="16"/>
                      <a:pt x="31" y="17"/>
                      <a:pt x="31" y="17"/>
                    </a:cubicBezTo>
                    <a:cubicBezTo>
                      <a:pt x="32" y="6"/>
                      <a:pt x="21" y="6"/>
                      <a:pt x="21" y="6"/>
                    </a:cubicBezTo>
                    <a:cubicBezTo>
                      <a:pt x="21" y="0"/>
                      <a:pt x="14" y="0"/>
                      <a:pt x="14" y="0"/>
                    </a:cubicBezTo>
                    <a:cubicBezTo>
                      <a:pt x="6" y="1"/>
                      <a:pt x="7" y="10"/>
                      <a:pt x="7" y="10"/>
                    </a:cubicBezTo>
                    <a:cubicBezTo>
                      <a:pt x="0" y="11"/>
                      <a:pt x="1" y="22"/>
                      <a:pt x="1" y="22"/>
                    </a:cubicBezTo>
                    <a:cubicBezTo>
                      <a:pt x="0" y="52"/>
                      <a:pt x="12" y="37"/>
                      <a:pt x="12" y="37"/>
                    </a:cubicBezTo>
                    <a:cubicBezTo>
                      <a:pt x="15" y="42"/>
                      <a:pt x="20" y="36"/>
                      <a:pt x="20" y="36"/>
                    </a:cubicBezTo>
                    <a:cubicBezTo>
                      <a:pt x="20" y="36"/>
                      <a:pt x="20" y="36"/>
                      <a:pt x="20" y="36"/>
                    </a:cubicBezTo>
                    <a:cubicBezTo>
                      <a:pt x="16" y="46"/>
                      <a:pt x="27" y="44"/>
                      <a:pt x="27" y="44"/>
                    </a:cubicBezTo>
                    <a:cubicBezTo>
                      <a:pt x="39" y="65"/>
                      <a:pt x="45" y="49"/>
                      <a:pt x="45" y="49"/>
                    </a:cubicBezTo>
                    <a:cubicBezTo>
                      <a:pt x="47" y="45"/>
                      <a:pt x="40" y="41"/>
                      <a:pt x="40" y="41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25" name="Freeform 116"/>
              <p:cNvSpPr>
                <a:spLocks/>
              </p:cNvSpPr>
              <p:nvPr/>
            </p:nvSpPr>
            <p:spPr bwMode="auto">
              <a:xfrm>
                <a:off x="6169025" y="1714500"/>
                <a:ext cx="19050" cy="11113"/>
              </a:xfrm>
              <a:custGeom>
                <a:avLst/>
                <a:gdLst>
                  <a:gd name="T0" fmla="*/ 0 w 8"/>
                  <a:gd name="T1" fmla="*/ 5 h 5"/>
                  <a:gd name="T2" fmla="*/ 0 w 8"/>
                  <a:gd name="T3" fmla="*/ 5 h 5"/>
                  <a:gd name="T4" fmla="*/ 0 w 8"/>
                  <a:gd name="T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" h="5">
                    <a:moveTo>
                      <a:pt x="0" y="5"/>
                    </a:moveTo>
                    <a:cubicBezTo>
                      <a:pt x="0" y="5"/>
                      <a:pt x="0" y="5"/>
                      <a:pt x="0" y="5"/>
                    </a:cubicBezTo>
                    <a:cubicBezTo>
                      <a:pt x="8" y="0"/>
                      <a:pt x="2" y="4"/>
                      <a:pt x="0" y="5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26" name="Freeform 117"/>
              <p:cNvSpPr>
                <a:spLocks/>
              </p:cNvSpPr>
              <p:nvPr/>
            </p:nvSpPr>
            <p:spPr bwMode="auto">
              <a:xfrm>
                <a:off x="6064250" y="1628775"/>
                <a:ext cx="171450" cy="144463"/>
              </a:xfrm>
              <a:custGeom>
                <a:avLst/>
                <a:gdLst>
                  <a:gd name="T0" fmla="*/ 68 w 75"/>
                  <a:gd name="T1" fmla="*/ 46 h 63"/>
                  <a:gd name="T2" fmla="*/ 57 w 75"/>
                  <a:gd name="T3" fmla="*/ 43 h 63"/>
                  <a:gd name="T4" fmla="*/ 52 w 75"/>
                  <a:gd name="T5" fmla="*/ 35 h 63"/>
                  <a:gd name="T6" fmla="*/ 42 w 75"/>
                  <a:gd name="T7" fmla="*/ 23 h 63"/>
                  <a:gd name="T8" fmla="*/ 37 w 75"/>
                  <a:gd name="T9" fmla="*/ 15 h 63"/>
                  <a:gd name="T10" fmla="*/ 23 w 75"/>
                  <a:gd name="T11" fmla="*/ 16 h 63"/>
                  <a:gd name="T12" fmla="*/ 15 w 75"/>
                  <a:gd name="T13" fmla="*/ 22 h 63"/>
                  <a:gd name="T14" fmla="*/ 10 w 75"/>
                  <a:gd name="T15" fmla="*/ 35 h 63"/>
                  <a:gd name="T16" fmla="*/ 15 w 75"/>
                  <a:gd name="T17" fmla="*/ 46 h 63"/>
                  <a:gd name="T18" fmla="*/ 26 w 75"/>
                  <a:gd name="T19" fmla="*/ 38 h 63"/>
                  <a:gd name="T20" fmla="*/ 38 w 75"/>
                  <a:gd name="T21" fmla="*/ 38 h 63"/>
                  <a:gd name="T22" fmla="*/ 46 w 75"/>
                  <a:gd name="T23" fmla="*/ 42 h 63"/>
                  <a:gd name="T24" fmla="*/ 46 w 75"/>
                  <a:gd name="T25" fmla="*/ 42 h 63"/>
                  <a:gd name="T26" fmla="*/ 46 w 75"/>
                  <a:gd name="T27" fmla="*/ 42 h 63"/>
                  <a:gd name="T28" fmla="*/ 46 w 75"/>
                  <a:gd name="T29" fmla="*/ 42 h 63"/>
                  <a:gd name="T30" fmla="*/ 46 w 75"/>
                  <a:gd name="T31" fmla="*/ 42 h 63"/>
                  <a:gd name="T32" fmla="*/ 58 w 75"/>
                  <a:gd name="T33" fmla="*/ 52 h 63"/>
                  <a:gd name="T34" fmla="*/ 71 w 75"/>
                  <a:gd name="T35" fmla="*/ 55 h 63"/>
                  <a:gd name="T36" fmla="*/ 68 w 75"/>
                  <a:gd name="T37" fmla="*/ 46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5" h="63">
                    <a:moveTo>
                      <a:pt x="68" y="46"/>
                    </a:moveTo>
                    <a:cubicBezTo>
                      <a:pt x="68" y="46"/>
                      <a:pt x="67" y="33"/>
                      <a:pt x="57" y="43"/>
                    </a:cubicBezTo>
                    <a:cubicBezTo>
                      <a:pt x="57" y="43"/>
                      <a:pt x="60" y="35"/>
                      <a:pt x="52" y="35"/>
                    </a:cubicBezTo>
                    <a:cubicBezTo>
                      <a:pt x="52" y="35"/>
                      <a:pt x="58" y="19"/>
                      <a:pt x="42" y="23"/>
                    </a:cubicBezTo>
                    <a:cubicBezTo>
                      <a:pt x="42" y="23"/>
                      <a:pt x="47" y="13"/>
                      <a:pt x="37" y="15"/>
                    </a:cubicBezTo>
                    <a:cubicBezTo>
                      <a:pt x="37" y="15"/>
                      <a:pt x="30" y="0"/>
                      <a:pt x="23" y="16"/>
                    </a:cubicBezTo>
                    <a:cubicBezTo>
                      <a:pt x="23" y="16"/>
                      <a:pt x="13" y="11"/>
                      <a:pt x="15" y="22"/>
                    </a:cubicBezTo>
                    <a:cubicBezTo>
                      <a:pt x="15" y="22"/>
                      <a:pt x="2" y="25"/>
                      <a:pt x="10" y="35"/>
                    </a:cubicBezTo>
                    <a:cubicBezTo>
                      <a:pt x="10" y="35"/>
                      <a:pt x="0" y="49"/>
                      <a:pt x="15" y="46"/>
                    </a:cubicBezTo>
                    <a:cubicBezTo>
                      <a:pt x="15" y="46"/>
                      <a:pt x="25" y="56"/>
                      <a:pt x="26" y="38"/>
                    </a:cubicBezTo>
                    <a:cubicBezTo>
                      <a:pt x="26" y="38"/>
                      <a:pt x="32" y="51"/>
                      <a:pt x="38" y="38"/>
                    </a:cubicBezTo>
                    <a:cubicBezTo>
                      <a:pt x="38" y="38"/>
                      <a:pt x="38" y="47"/>
                      <a:pt x="46" y="42"/>
                    </a:cubicBezTo>
                    <a:cubicBezTo>
                      <a:pt x="46" y="42"/>
                      <a:pt x="46" y="42"/>
                      <a:pt x="46" y="42"/>
                    </a:cubicBezTo>
                    <a:cubicBezTo>
                      <a:pt x="48" y="41"/>
                      <a:pt x="54" y="37"/>
                      <a:pt x="46" y="42"/>
                    </a:cubicBezTo>
                    <a:cubicBezTo>
                      <a:pt x="46" y="42"/>
                      <a:pt x="46" y="42"/>
                      <a:pt x="46" y="42"/>
                    </a:cubicBezTo>
                    <a:cubicBezTo>
                      <a:pt x="46" y="42"/>
                      <a:pt x="46" y="42"/>
                      <a:pt x="46" y="42"/>
                    </a:cubicBezTo>
                    <a:cubicBezTo>
                      <a:pt x="46" y="42"/>
                      <a:pt x="45" y="61"/>
                      <a:pt x="58" y="52"/>
                    </a:cubicBezTo>
                    <a:cubicBezTo>
                      <a:pt x="58" y="52"/>
                      <a:pt x="63" y="63"/>
                      <a:pt x="71" y="55"/>
                    </a:cubicBezTo>
                    <a:cubicBezTo>
                      <a:pt x="71" y="55"/>
                      <a:pt x="75" y="47"/>
                      <a:pt x="68" y="46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27" name="Freeform 118"/>
              <p:cNvSpPr>
                <a:spLocks/>
              </p:cNvSpPr>
              <p:nvPr/>
            </p:nvSpPr>
            <p:spPr bwMode="auto">
              <a:xfrm>
                <a:off x="6442075" y="1447800"/>
                <a:ext cx="96838" cy="150813"/>
              </a:xfrm>
              <a:custGeom>
                <a:avLst/>
                <a:gdLst>
                  <a:gd name="T0" fmla="*/ 35 w 43"/>
                  <a:gd name="T1" fmla="*/ 26 h 66"/>
                  <a:gd name="T2" fmla="*/ 35 w 43"/>
                  <a:gd name="T3" fmla="*/ 6 h 66"/>
                  <a:gd name="T4" fmla="*/ 24 w 43"/>
                  <a:gd name="T5" fmla="*/ 12 h 66"/>
                  <a:gd name="T6" fmla="*/ 17 w 43"/>
                  <a:gd name="T7" fmla="*/ 20 h 66"/>
                  <a:gd name="T8" fmla="*/ 9 w 43"/>
                  <a:gd name="T9" fmla="*/ 31 h 66"/>
                  <a:gd name="T10" fmla="*/ 9 w 43"/>
                  <a:gd name="T11" fmla="*/ 44 h 66"/>
                  <a:gd name="T12" fmla="*/ 12 w 43"/>
                  <a:gd name="T13" fmla="*/ 57 h 66"/>
                  <a:gd name="T14" fmla="*/ 17 w 43"/>
                  <a:gd name="T15" fmla="*/ 66 h 66"/>
                  <a:gd name="T16" fmla="*/ 24 w 43"/>
                  <a:gd name="T17" fmla="*/ 55 h 66"/>
                  <a:gd name="T18" fmla="*/ 29 w 43"/>
                  <a:gd name="T19" fmla="*/ 44 h 66"/>
                  <a:gd name="T20" fmla="*/ 35 w 43"/>
                  <a:gd name="T21" fmla="*/ 26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3" h="66">
                    <a:moveTo>
                      <a:pt x="35" y="26"/>
                    </a:moveTo>
                    <a:cubicBezTo>
                      <a:pt x="35" y="26"/>
                      <a:pt x="41" y="10"/>
                      <a:pt x="35" y="6"/>
                    </a:cubicBezTo>
                    <a:cubicBezTo>
                      <a:pt x="35" y="6"/>
                      <a:pt x="25" y="0"/>
                      <a:pt x="24" y="12"/>
                    </a:cubicBezTo>
                    <a:cubicBezTo>
                      <a:pt x="24" y="12"/>
                      <a:pt x="16" y="12"/>
                      <a:pt x="17" y="20"/>
                    </a:cubicBezTo>
                    <a:cubicBezTo>
                      <a:pt x="17" y="20"/>
                      <a:pt x="4" y="17"/>
                      <a:pt x="9" y="31"/>
                    </a:cubicBezTo>
                    <a:cubicBezTo>
                      <a:pt x="9" y="31"/>
                      <a:pt x="0" y="37"/>
                      <a:pt x="9" y="44"/>
                    </a:cubicBezTo>
                    <a:cubicBezTo>
                      <a:pt x="9" y="44"/>
                      <a:pt x="1" y="53"/>
                      <a:pt x="12" y="57"/>
                    </a:cubicBezTo>
                    <a:cubicBezTo>
                      <a:pt x="12" y="57"/>
                      <a:pt x="10" y="65"/>
                      <a:pt x="17" y="66"/>
                    </a:cubicBezTo>
                    <a:cubicBezTo>
                      <a:pt x="17" y="66"/>
                      <a:pt x="26" y="65"/>
                      <a:pt x="24" y="55"/>
                    </a:cubicBezTo>
                    <a:cubicBezTo>
                      <a:pt x="24" y="55"/>
                      <a:pt x="35" y="51"/>
                      <a:pt x="29" y="44"/>
                    </a:cubicBezTo>
                    <a:cubicBezTo>
                      <a:pt x="29" y="44"/>
                      <a:pt x="43" y="33"/>
                      <a:pt x="35" y="26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28" name="Freeform 119"/>
              <p:cNvSpPr>
                <a:spLocks/>
              </p:cNvSpPr>
              <p:nvPr/>
            </p:nvSpPr>
            <p:spPr bwMode="auto">
              <a:xfrm>
                <a:off x="6542088" y="1628775"/>
                <a:ext cx="0" cy="3175"/>
              </a:xfrm>
              <a:custGeom>
                <a:avLst/>
                <a:gdLst>
                  <a:gd name="T0" fmla="*/ 0 h 1"/>
                  <a:gd name="T1" fmla="*/ 1 h 1"/>
                  <a:gd name="T2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0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29" name="Freeform 120"/>
              <p:cNvSpPr>
                <a:spLocks/>
              </p:cNvSpPr>
              <p:nvPr/>
            </p:nvSpPr>
            <p:spPr bwMode="auto">
              <a:xfrm>
                <a:off x="6535738" y="1622425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30" name="Freeform 121"/>
              <p:cNvSpPr>
                <a:spLocks/>
              </p:cNvSpPr>
              <p:nvPr/>
            </p:nvSpPr>
            <p:spPr bwMode="auto">
              <a:xfrm>
                <a:off x="6516688" y="1587500"/>
                <a:ext cx="47625" cy="127000"/>
              </a:xfrm>
              <a:custGeom>
                <a:avLst/>
                <a:gdLst>
                  <a:gd name="T0" fmla="*/ 11 w 21"/>
                  <a:gd name="T1" fmla="*/ 18 h 55"/>
                  <a:gd name="T2" fmla="*/ 11 w 21"/>
                  <a:gd name="T3" fmla="*/ 19 h 55"/>
                  <a:gd name="T4" fmla="*/ 11 w 21"/>
                  <a:gd name="T5" fmla="*/ 18 h 55"/>
                  <a:gd name="T6" fmla="*/ 13 w 21"/>
                  <a:gd name="T7" fmla="*/ 2 h 55"/>
                  <a:gd name="T8" fmla="*/ 10 w 21"/>
                  <a:gd name="T9" fmla="*/ 0 h 55"/>
                  <a:gd name="T10" fmla="*/ 8 w 21"/>
                  <a:gd name="T11" fmla="*/ 15 h 55"/>
                  <a:gd name="T12" fmla="*/ 8 w 21"/>
                  <a:gd name="T13" fmla="*/ 15 h 55"/>
                  <a:gd name="T14" fmla="*/ 8 w 21"/>
                  <a:gd name="T15" fmla="*/ 15 h 55"/>
                  <a:gd name="T16" fmla="*/ 2 w 21"/>
                  <a:gd name="T17" fmla="*/ 5 h 55"/>
                  <a:gd name="T18" fmla="*/ 0 w 21"/>
                  <a:gd name="T19" fmla="*/ 10 h 55"/>
                  <a:gd name="T20" fmla="*/ 4 w 21"/>
                  <a:gd name="T21" fmla="*/ 32 h 55"/>
                  <a:gd name="T22" fmla="*/ 2 w 21"/>
                  <a:gd name="T23" fmla="*/ 55 h 55"/>
                  <a:gd name="T24" fmla="*/ 3 w 21"/>
                  <a:gd name="T25" fmla="*/ 55 h 55"/>
                  <a:gd name="T26" fmla="*/ 14 w 21"/>
                  <a:gd name="T27" fmla="*/ 55 h 55"/>
                  <a:gd name="T28" fmla="*/ 13 w 21"/>
                  <a:gd name="T29" fmla="*/ 25 h 55"/>
                  <a:gd name="T30" fmla="*/ 21 w 21"/>
                  <a:gd name="T31" fmla="*/ 7 h 55"/>
                  <a:gd name="T32" fmla="*/ 20 w 21"/>
                  <a:gd name="T33" fmla="*/ 2 h 55"/>
                  <a:gd name="T34" fmla="*/ 11 w 21"/>
                  <a:gd name="T35" fmla="*/ 18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1" h="55">
                    <a:moveTo>
                      <a:pt x="11" y="18"/>
                    </a:moveTo>
                    <a:cubicBezTo>
                      <a:pt x="11" y="19"/>
                      <a:pt x="11" y="19"/>
                      <a:pt x="11" y="19"/>
                    </a:cubicBezTo>
                    <a:cubicBezTo>
                      <a:pt x="11" y="19"/>
                      <a:pt x="11" y="18"/>
                      <a:pt x="11" y="18"/>
                    </a:cubicBezTo>
                    <a:cubicBezTo>
                      <a:pt x="11" y="15"/>
                      <a:pt x="12" y="4"/>
                      <a:pt x="13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10" y="0"/>
                      <a:pt x="8" y="13"/>
                      <a:pt x="8" y="15"/>
                    </a:cubicBezTo>
                    <a:cubicBezTo>
                      <a:pt x="8" y="15"/>
                      <a:pt x="8" y="15"/>
                      <a:pt x="8" y="15"/>
                    </a:cubicBezTo>
                    <a:cubicBezTo>
                      <a:pt x="8" y="15"/>
                      <a:pt x="8" y="15"/>
                      <a:pt x="8" y="15"/>
                    </a:cubicBezTo>
                    <a:cubicBezTo>
                      <a:pt x="7" y="14"/>
                      <a:pt x="6" y="8"/>
                      <a:pt x="2" y="5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10"/>
                      <a:pt x="6" y="15"/>
                      <a:pt x="4" y="32"/>
                    </a:cubicBezTo>
                    <a:cubicBezTo>
                      <a:pt x="4" y="32"/>
                      <a:pt x="3" y="52"/>
                      <a:pt x="2" y="55"/>
                    </a:cubicBezTo>
                    <a:cubicBezTo>
                      <a:pt x="3" y="55"/>
                      <a:pt x="3" y="55"/>
                      <a:pt x="3" y="55"/>
                    </a:cubicBezTo>
                    <a:cubicBezTo>
                      <a:pt x="14" y="55"/>
                      <a:pt x="14" y="55"/>
                      <a:pt x="14" y="55"/>
                    </a:cubicBezTo>
                    <a:cubicBezTo>
                      <a:pt x="14" y="55"/>
                      <a:pt x="11" y="34"/>
                      <a:pt x="13" y="25"/>
                    </a:cubicBezTo>
                    <a:cubicBezTo>
                      <a:pt x="15" y="16"/>
                      <a:pt x="18" y="8"/>
                      <a:pt x="21" y="7"/>
                    </a:cubicBezTo>
                    <a:cubicBezTo>
                      <a:pt x="20" y="2"/>
                      <a:pt x="20" y="2"/>
                      <a:pt x="20" y="2"/>
                    </a:cubicBezTo>
                    <a:cubicBezTo>
                      <a:pt x="20" y="2"/>
                      <a:pt x="11" y="11"/>
                      <a:pt x="11" y="18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31" name="Freeform 122"/>
              <p:cNvSpPr>
                <a:spLocks/>
              </p:cNvSpPr>
              <p:nvPr/>
            </p:nvSpPr>
            <p:spPr bwMode="auto">
              <a:xfrm>
                <a:off x="6469063" y="1509713"/>
                <a:ext cx="47625" cy="73025"/>
              </a:xfrm>
              <a:custGeom>
                <a:avLst/>
                <a:gdLst>
                  <a:gd name="T0" fmla="*/ 14 w 21"/>
                  <a:gd name="T1" fmla="*/ 3 h 32"/>
                  <a:gd name="T2" fmla="*/ 7 w 21"/>
                  <a:gd name="T3" fmla="*/ 11 h 32"/>
                  <a:gd name="T4" fmla="*/ 6 w 21"/>
                  <a:gd name="T5" fmla="*/ 20 h 32"/>
                  <a:gd name="T6" fmla="*/ 12 w 21"/>
                  <a:gd name="T7" fmla="*/ 29 h 32"/>
                  <a:gd name="T8" fmla="*/ 14 w 21"/>
                  <a:gd name="T9" fmla="*/ 3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32">
                    <a:moveTo>
                      <a:pt x="14" y="3"/>
                    </a:moveTo>
                    <a:cubicBezTo>
                      <a:pt x="14" y="3"/>
                      <a:pt x="2" y="0"/>
                      <a:pt x="7" y="11"/>
                    </a:cubicBezTo>
                    <a:cubicBezTo>
                      <a:pt x="7" y="11"/>
                      <a:pt x="0" y="14"/>
                      <a:pt x="6" y="20"/>
                    </a:cubicBezTo>
                    <a:cubicBezTo>
                      <a:pt x="6" y="20"/>
                      <a:pt x="2" y="32"/>
                      <a:pt x="12" y="29"/>
                    </a:cubicBezTo>
                    <a:cubicBezTo>
                      <a:pt x="12" y="29"/>
                      <a:pt x="21" y="4"/>
                      <a:pt x="14" y="3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32" name="Freeform 123"/>
              <p:cNvSpPr>
                <a:spLocks/>
              </p:cNvSpPr>
              <p:nvPr/>
            </p:nvSpPr>
            <p:spPr bwMode="auto">
              <a:xfrm>
                <a:off x="6518275" y="1487488"/>
                <a:ext cx="3175" cy="0"/>
              </a:xfrm>
              <a:custGeom>
                <a:avLst/>
                <a:gdLst>
                  <a:gd name="T0" fmla="*/ 0 w 1"/>
                  <a:gd name="T1" fmla="*/ 1 w 1"/>
                  <a:gd name="T2" fmla="*/ 0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0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33" name="Freeform 124"/>
              <p:cNvSpPr>
                <a:spLocks/>
              </p:cNvSpPr>
              <p:nvPr/>
            </p:nvSpPr>
            <p:spPr bwMode="auto">
              <a:xfrm>
                <a:off x="6499225" y="1441450"/>
                <a:ext cx="79375" cy="98425"/>
              </a:xfrm>
              <a:custGeom>
                <a:avLst/>
                <a:gdLst>
                  <a:gd name="T0" fmla="*/ 31 w 35"/>
                  <a:gd name="T1" fmla="*/ 7 h 43"/>
                  <a:gd name="T2" fmla="*/ 27 w 35"/>
                  <a:gd name="T3" fmla="*/ 1 h 43"/>
                  <a:gd name="T4" fmla="*/ 18 w 35"/>
                  <a:gd name="T5" fmla="*/ 7 h 43"/>
                  <a:gd name="T6" fmla="*/ 8 w 35"/>
                  <a:gd name="T7" fmla="*/ 13 h 43"/>
                  <a:gd name="T8" fmla="*/ 9 w 35"/>
                  <a:gd name="T9" fmla="*/ 20 h 43"/>
                  <a:gd name="T10" fmla="*/ 10 w 35"/>
                  <a:gd name="T11" fmla="*/ 20 h 43"/>
                  <a:gd name="T12" fmla="*/ 9 w 35"/>
                  <a:gd name="T13" fmla="*/ 20 h 43"/>
                  <a:gd name="T14" fmla="*/ 3 w 35"/>
                  <a:gd name="T15" fmla="*/ 23 h 43"/>
                  <a:gd name="T16" fmla="*/ 5 w 35"/>
                  <a:gd name="T17" fmla="*/ 30 h 43"/>
                  <a:gd name="T18" fmla="*/ 1 w 35"/>
                  <a:gd name="T19" fmla="*/ 37 h 43"/>
                  <a:gd name="T20" fmla="*/ 9 w 35"/>
                  <a:gd name="T21" fmla="*/ 42 h 43"/>
                  <a:gd name="T22" fmla="*/ 18 w 35"/>
                  <a:gd name="T23" fmla="*/ 33 h 43"/>
                  <a:gd name="T24" fmla="*/ 23 w 35"/>
                  <a:gd name="T25" fmla="*/ 23 h 43"/>
                  <a:gd name="T26" fmla="*/ 28 w 35"/>
                  <a:gd name="T27" fmla="*/ 15 h 43"/>
                  <a:gd name="T28" fmla="*/ 31 w 35"/>
                  <a:gd name="T29" fmla="*/ 7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5" h="43">
                    <a:moveTo>
                      <a:pt x="31" y="7"/>
                    </a:moveTo>
                    <a:cubicBezTo>
                      <a:pt x="31" y="7"/>
                      <a:pt x="31" y="1"/>
                      <a:pt x="27" y="1"/>
                    </a:cubicBezTo>
                    <a:cubicBezTo>
                      <a:pt x="27" y="1"/>
                      <a:pt x="18" y="0"/>
                      <a:pt x="18" y="7"/>
                    </a:cubicBezTo>
                    <a:cubicBezTo>
                      <a:pt x="18" y="7"/>
                      <a:pt x="9" y="3"/>
                      <a:pt x="8" y="13"/>
                    </a:cubicBezTo>
                    <a:cubicBezTo>
                      <a:pt x="8" y="13"/>
                      <a:pt x="7" y="19"/>
                      <a:pt x="9" y="20"/>
                    </a:cubicBezTo>
                    <a:cubicBezTo>
                      <a:pt x="10" y="20"/>
                      <a:pt x="10" y="20"/>
                      <a:pt x="10" y="20"/>
                    </a:cubicBezTo>
                    <a:cubicBezTo>
                      <a:pt x="10" y="20"/>
                      <a:pt x="10" y="20"/>
                      <a:pt x="9" y="20"/>
                    </a:cubicBezTo>
                    <a:cubicBezTo>
                      <a:pt x="8" y="20"/>
                      <a:pt x="4" y="20"/>
                      <a:pt x="3" y="23"/>
                    </a:cubicBezTo>
                    <a:cubicBezTo>
                      <a:pt x="3" y="23"/>
                      <a:pt x="2" y="25"/>
                      <a:pt x="5" y="30"/>
                    </a:cubicBezTo>
                    <a:cubicBezTo>
                      <a:pt x="5" y="30"/>
                      <a:pt x="0" y="33"/>
                      <a:pt x="1" y="37"/>
                    </a:cubicBezTo>
                    <a:cubicBezTo>
                      <a:pt x="1" y="37"/>
                      <a:pt x="2" y="43"/>
                      <a:pt x="9" y="42"/>
                    </a:cubicBezTo>
                    <a:cubicBezTo>
                      <a:pt x="9" y="42"/>
                      <a:pt x="20" y="43"/>
                      <a:pt x="18" y="33"/>
                    </a:cubicBezTo>
                    <a:cubicBezTo>
                      <a:pt x="18" y="33"/>
                      <a:pt x="31" y="30"/>
                      <a:pt x="23" y="23"/>
                    </a:cubicBezTo>
                    <a:cubicBezTo>
                      <a:pt x="23" y="23"/>
                      <a:pt x="35" y="27"/>
                      <a:pt x="28" y="15"/>
                    </a:cubicBezTo>
                    <a:cubicBezTo>
                      <a:pt x="28" y="15"/>
                      <a:pt x="32" y="10"/>
                      <a:pt x="31" y="7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34" name="Freeform 125"/>
              <p:cNvSpPr>
                <a:spLocks/>
              </p:cNvSpPr>
              <p:nvPr/>
            </p:nvSpPr>
            <p:spPr bwMode="auto">
              <a:xfrm>
                <a:off x="6526213" y="1450975"/>
                <a:ext cx="100013" cy="98425"/>
              </a:xfrm>
              <a:custGeom>
                <a:avLst/>
                <a:gdLst>
                  <a:gd name="T0" fmla="*/ 28 w 44"/>
                  <a:gd name="T1" fmla="*/ 8 h 43"/>
                  <a:gd name="T2" fmla="*/ 22 w 44"/>
                  <a:gd name="T3" fmla="*/ 1 h 43"/>
                  <a:gd name="T4" fmla="*/ 16 w 44"/>
                  <a:gd name="T5" fmla="*/ 8 h 43"/>
                  <a:gd name="T6" fmla="*/ 10 w 44"/>
                  <a:gd name="T7" fmla="*/ 14 h 43"/>
                  <a:gd name="T8" fmla="*/ 10 w 44"/>
                  <a:gd name="T9" fmla="*/ 22 h 43"/>
                  <a:gd name="T10" fmla="*/ 14 w 44"/>
                  <a:gd name="T11" fmla="*/ 33 h 43"/>
                  <a:gd name="T12" fmla="*/ 24 w 44"/>
                  <a:gd name="T13" fmla="*/ 35 h 43"/>
                  <a:gd name="T14" fmla="*/ 31 w 44"/>
                  <a:gd name="T15" fmla="*/ 29 h 43"/>
                  <a:gd name="T16" fmla="*/ 36 w 44"/>
                  <a:gd name="T17" fmla="*/ 15 h 43"/>
                  <a:gd name="T18" fmla="*/ 28 w 44"/>
                  <a:gd name="T19" fmla="*/ 8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4" h="43">
                    <a:moveTo>
                      <a:pt x="28" y="8"/>
                    </a:moveTo>
                    <a:cubicBezTo>
                      <a:pt x="28" y="8"/>
                      <a:pt x="28" y="1"/>
                      <a:pt x="22" y="1"/>
                    </a:cubicBezTo>
                    <a:cubicBezTo>
                      <a:pt x="22" y="1"/>
                      <a:pt x="17" y="0"/>
                      <a:pt x="16" y="8"/>
                    </a:cubicBezTo>
                    <a:cubicBezTo>
                      <a:pt x="16" y="8"/>
                      <a:pt x="9" y="7"/>
                      <a:pt x="10" y="14"/>
                    </a:cubicBezTo>
                    <a:cubicBezTo>
                      <a:pt x="10" y="14"/>
                      <a:pt x="0" y="17"/>
                      <a:pt x="10" y="22"/>
                    </a:cubicBezTo>
                    <a:cubicBezTo>
                      <a:pt x="10" y="22"/>
                      <a:pt x="8" y="34"/>
                      <a:pt x="14" y="33"/>
                    </a:cubicBezTo>
                    <a:cubicBezTo>
                      <a:pt x="14" y="33"/>
                      <a:pt x="17" y="43"/>
                      <a:pt x="24" y="35"/>
                    </a:cubicBezTo>
                    <a:cubicBezTo>
                      <a:pt x="24" y="35"/>
                      <a:pt x="34" y="39"/>
                      <a:pt x="31" y="29"/>
                    </a:cubicBezTo>
                    <a:cubicBezTo>
                      <a:pt x="31" y="29"/>
                      <a:pt x="44" y="23"/>
                      <a:pt x="36" y="15"/>
                    </a:cubicBezTo>
                    <a:cubicBezTo>
                      <a:pt x="36" y="15"/>
                      <a:pt x="37" y="7"/>
                      <a:pt x="28" y="8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35" name="Freeform 126"/>
              <p:cNvSpPr>
                <a:spLocks/>
              </p:cNvSpPr>
              <p:nvPr/>
            </p:nvSpPr>
            <p:spPr bwMode="auto">
              <a:xfrm>
                <a:off x="6559550" y="1484313"/>
                <a:ext cx="93663" cy="92075"/>
              </a:xfrm>
              <a:custGeom>
                <a:avLst/>
                <a:gdLst>
                  <a:gd name="T0" fmla="*/ 32 w 41"/>
                  <a:gd name="T1" fmla="*/ 16 h 40"/>
                  <a:gd name="T2" fmla="*/ 28 w 41"/>
                  <a:gd name="T3" fmla="*/ 8 h 40"/>
                  <a:gd name="T4" fmla="*/ 23 w 41"/>
                  <a:gd name="T5" fmla="*/ 0 h 40"/>
                  <a:gd name="T6" fmla="*/ 17 w 41"/>
                  <a:gd name="T7" fmla="*/ 9 h 40"/>
                  <a:gd name="T8" fmla="*/ 9 w 41"/>
                  <a:gd name="T9" fmla="*/ 10 h 40"/>
                  <a:gd name="T10" fmla="*/ 10 w 41"/>
                  <a:gd name="T11" fmla="*/ 17 h 40"/>
                  <a:gd name="T12" fmla="*/ 4 w 41"/>
                  <a:gd name="T13" fmla="*/ 27 h 40"/>
                  <a:gd name="T14" fmla="*/ 18 w 41"/>
                  <a:gd name="T15" fmla="*/ 31 h 40"/>
                  <a:gd name="T16" fmla="*/ 25 w 41"/>
                  <a:gd name="T17" fmla="*/ 32 h 40"/>
                  <a:gd name="T18" fmla="*/ 32 w 41"/>
                  <a:gd name="T19" fmla="*/ 28 h 40"/>
                  <a:gd name="T20" fmla="*/ 34 w 41"/>
                  <a:gd name="T21" fmla="*/ 28 h 40"/>
                  <a:gd name="T22" fmla="*/ 32 w 41"/>
                  <a:gd name="T23" fmla="*/ 1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" h="40">
                    <a:moveTo>
                      <a:pt x="32" y="16"/>
                    </a:moveTo>
                    <a:cubicBezTo>
                      <a:pt x="32" y="16"/>
                      <a:pt x="37" y="9"/>
                      <a:pt x="28" y="8"/>
                    </a:cubicBezTo>
                    <a:cubicBezTo>
                      <a:pt x="28" y="8"/>
                      <a:pt x="27" y="0"/>
                      <a:pt x="23" y="0"/>
                    </a:cubicBezTo>
                    <a:cubicBezTo>
                      <a:pt x="23" y="0"/>
                      <a:pt x="14" y="0"/>
                      <a:pt x="17" y="9"/>
                    </a:cubicBezTo>
                    <a:cubicBezTo>
                      <a:pt x="17" y="9"/>
                      <a:pt x="11" y="5"/>
                      <a:pt x="9" y="10"/>
                    </a:cubicBezTo>
                    <a:cubicBezTo>
                      <a:pt x="9" y="10"/>
                      <a:pt x="6" y="16"/>
                      <a:pt x="10" y="17"/>
                    </a:cubicBezTo>
                    <a:cubicBezTo>
                      <a:pt x="10" y="17"/>
                      <a:pt x="0" y="18"/>
                      <a:pt x="4" y="27"/>
                    </a:cubicBezTo>
                    <a:cubicBezTo>
                      <a:pt x="4" y="27"/>
                      <a:pt x="9" y="40"/>
                      <a:pt x="18" y="31"/>
                    </a:cubicBezTo>
                    <a:cubicBezTo>
                      <a:pt x="18" y="31"/>
                      <a:pt x="24" y="37"/>
                      <a:pt x="25" y="32"/>
                    </a:cubicBezTo>
                    <a:cubicBezTo>
                      <a:pt x="25" y="32"/>
                      <a:pt x="33" y="37"/>
                      <a:pt x="32" y="28"/>
                    </a:cubicBezTo>
                    <a:cubicBezTo>
                      <a:pt x="32" y="28"/>
                      <a:pt x="33" y="28"/>
                      <a:pt x="34" y="28"/>
                    </a:cubicBezTo>
                    <a:cubicBezTo>
                      <a:pt x="34" y="28"/>
                      <a:pt x="41" y="20"/>
                      <a:pt x="32" y="16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36" name="Freeform 127"/>
              <p:cNvSpPr>
                <a:spLocks/>
              </p:cNvSpPr>
              <p:nvPr/>
            </p:nvSpPr>
            <p:spPr bwMode="auto">
              <a:xfrm>
                <a:off x="6556375" y="1533525"/>
                <a:ext cx="100013" cy="104775"/>
              </a:xfrm>
              <a:custGeom>
                <a:avLst/>
                <a:gdLst>
                  <a:gd name="T0" fmla="*/ 34 w 44"/>
                  <a:gd name="T1" fmla="*/ 6 h 46"/>
                  <a:gd name="T2" fmla="*/ 27 w 44"/>
                  <a:gd name="T3" fmla="*/ 1 h 46"/>
                  <a:gd name="T4" fmla="*/ 26 w 44"/>
                  <a:gd name="T5" fmla="*/ 1 h 46"/>
                  <a:gd name="T6" fmla="*/ 23 w 44"/>
                  <a:gd name="T7" fmla="*/ 4 h 46"/>
                  <a:gd name="T8" fmla="*/ 15 w 44"/>
                  <a:gd name="T9" fmla="*/ 9 h 46"/>
                  <a:gd name="T10" fmla="*/ 8 w 44"/>
                  <a:gd name="T11" fmla="*/ 15 h 46"/>
                  <a:gd name="T12" fmla="*/ 4 w 44"/>
                  <a:gd name="T13" fmla="*/ 22 h 46"/>
                  <a:gd name="T14" fmla="*/ 5 w 44"/>
                  <a:gd name="T15" fmla="*/ 29 h 46"/>
                  <a:gd name="T16" fmla="*/ 6 w 44"/>
                  <a:gd name="T17" fmla="*/ 34 h 46"/>
                  <a:gd name="T18" fmla="*/ 13 w 44"/>
                  <a:gd name="T19" fmla="*/ 39 h 46"/>
                  <a:gd name="T20" fmla="*/ 13 w 44"/>
                  <a:gd name="T21" fmla="*/ 39 h 46"/>
                  <a:gd name="T22" fmla="*/ 22 w 44"/>
                  <a:gd name="T23" fmla="*/ 38 h 46"/>
                  <a:gd name="T24" fmla="*/ 22 w 44"/>
                  <a:gd name="T25" fmla="*/ 38 h 46"/>
                  <a:gd name="T26" fmla="*/ 22 w 44"/>
                  <a:gd name="T27" fmla="*/ 38 h 46"/>
                  <a:gd name="T28" fmla="*/ 29 w 44"/>
                  <a:gd name="T29" fmla="*/ 30 h 46"/>
                  <a:gd name="T30" fmla="*/ 34 w 44"/>
                  <a:gd name="T31" fmla="*/ 24 h 46"/>
                  <a:gd name="T32" fmla="*/ 34 w 44"/>
                  <a:gd name="T33" fmla="*/ 16 h 46"/>
                  <a:gd name="T34" fmla="*/ 34 w 44"/>
                  <a:gd name="T35" fmla="*/ 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4" h="46">
                    <a:moveTo>
                      <a:pt x="34" y="6"/>
                    </a:moveTo>
                    <a:cubicBezTo>
                      <a:pt x="34" y="6"/>
                      <a:pt x="34" y="0"/>
                      <a:pt x="27" y="1"/>
                    </a:cubicBezTo>
                    <a:cubicBezTo>
                      <a:pt x="27" y="1"/>
                      <a:pt x="26" y="1"/>
                      <a:pt x="26" y="1"/>
                    </a:cubicBezTo>
                    <a:cubicBezTo>
                      <a:pt x="26" y="1"/>
                      <a:pt x="23" y="2"/>
                      <a:pt x="23" y="4"/>
                    </a:cubicBezTo>
                    <a:cubicBezTo>
                      <a:pt x="23" y="4"/>
                      <a:pt x="18" y="0"/>
                      <a:pt x="15" y="9"/>
                    </a:cubicBezTo>
                    <a:cubicBezTo>
                      <a:pt x="15" y="9"/>
                      <a:pt x="7" y="6"/>
                      <a:pt x="8" y="15"/>
                    </a:cubicBezTo>
                    <a:cubicBezTo>
                      <a:pt x="8" y="15"/>
                      <a:pt x="1" y="17"/>
                      <a:pt x="4" y="22"/>
                    </a:cubicBezTo>
                    <a:cubicBezTo>
                      <a:pt x="4" y="22"/>
                      <a:pt x="0" y="28"/>
                      <a:pt x="5" y="29"/>
                    </a:cubicBezTo>
                    <a:cubicBezTo>
                      <a:pt x="5" y="29"/>
                      <a:pt x="2" y="31"/>
                      <a:pt x="6" y="34"/>
                    </a:cubicBezTo>
                    <a:cubicBezTo>
                      <a:pt x="6" y="34"/>
                      <a:pt x="4" y="45"/>
                      <a:pt x="13" y="39"/>
                    </a:cubicBezTo>
                    <a:cubicBezTo>
                      <a:pt x="13" y="39"/>
                      <a:pt x="13" y="39"/>
                      <a:pt x="13" y="39"/>
                    </a:cubicBezTo>
                    <a:cubicBezTo>
                      <a:pt x="13" y="39"/>
                      <a:pt x="16" y="46"/>
                      <a:pt x="22" y="38"/>
                    </a:cubicBezTo>
                    <a:cubicBezTo>
                      <a:pt x="22" y="38"/>
                      <a:pt x="22" y="38"/>
                      <a:pt x="22" y="38"/>
                    </a:cubicBezTo>
                    <a:cubicBezTo>
                      <a:pt x="28" y="29"/>
                      <a:pt x="22" y="38"/>
                      <a:pt x="22" y="38"/>
                    </a:cubicBezTo>
                    <a:cubicBezTo>
                      <a:pt x="22" y="38"/>
                      <a:pt x="30" y="42"/>
                      <a:pt x="29" y="30"/>
                    </a:cubicBezTo>
                    <a:cubicBezTo>
                      <a:pt x="29" y="30"/>
                      <a:pt x="35" y="33"/>
                      <a:pt x="34" y="24"/>
                    </a:cubicBezTo>
                    <a:cubicBezTo>
                      <a:pt x="34" y="24"/>
                      <a:pt x="42" y="20"/>
                      <a:pt x="34" y="16"/>
                    </a:cubicBezTo>
                    <a:cubicBezTo>
                      <a:pt x="34" y="16"/>
                      <a:pt x="44" y="11"/>
                      <a:pt x="34" y="6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37" name="Freeform 128"/>
              <p:cNvSpPr>
                <a:spLocks/>
              </p:cNvSpPr>
              <p:nvPr/>
            </p:nvSpPr>
            <p:spPr bwMode="auto">
              <a:xfrm>
                <a:off x="6481763" y="1500188"/>
                <a:ext cx="90488" cy="127000"/>
              </a:xfrm>
              <a:custGeom>
                <a:avLst/>
                <a:gdLst>
                  <a:gd name="T0" fmla="*/ 33 w 39"/>
                  <a:gd name="T1" fmla="*/ 9 h 55"/>
                  <a:gd name="T2" fmla="*/ 28 w 39"/>
                  <a:gd name="T3" fmla="*/ 0 h 55"/>
                  <a:gd name="T4" fmla="*/ 21 w 39"/>
                  <a:gd name="T5" fmla="*/ 6 h 55"/>
                  <a:gd name="T6" fmla="*/ 13 w 39"/>
                  <a:gd name="T7" fmla="*/ 15 h 55"/>
                  <a:gd name="T8" fmla="*/ 8 w 39"/>
                  <a:gd name="T9" fmla="*/ 17 h 55"/>
                  <a:gd name="T10" fmla="*/ 8 w 39"/>
                  <a:gd name="T11" fmla="*/ 23 h 55"/>
                  <a:gd name="T12" fmla="*/ 4 w 39"/>
                  <a:gd name="T13" fmla="*/ 28 h 55"/>
                  <a:gd name="T14" fmla="*/ 5 w 39"/>
                  <a:gd name="T15" fmla="*/ 35 h 55"/>
                  <a:gd name="T16" fmla="*/ 2 w 39"/>
                  <a:gd name="T17" fmla="*/ 42 h 55"/>
                  <a:gd name="T18" fmla="*/ 17 w 39"/>
                  <a:gd name="T19" fmla="*/ 37 h 55"/>
                  <a:gd name="T20" fmla="*/ 23 w 39"/>
                  <a:gd name="T21" fmla="*/ 31 h 55"/>
                  <a:gd name="T22" fmla="*/ 23 w 39"/>
                  <a:gd name="T23" fmla="*/ 31 h 55"/>
                  <a:gd name="T24" fmla="*/ 30 w 39"/>
                  <a:gd name="T25" fmla="*/ 31 h 55"/>
                  <a:gd name="T26" fmla="*/ 38 w 39"/>
                  <a:gd name="T27" fmla="*/ 19 h 55"/>
                  <a:gd name="T28" fmla="*/ 33 w 39"/>
                  <a:gd name="T29" fmla="*/ 9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9" h="55">
                    <a:moveTo>
                      <a:pt x="33" y="9"/>
                    </a:moveTo>
                    <a:cubicBezTo>
                      <a:pt x="33" y="9"/>
                      <a:pt x="34" y="1"/>
                      <a:pt x="28" y="0"/>
                    </a:cubicBezTo>
                    <a:cubicBezTo>
                      <a:pt x="28" y="0"/>
                      <a:pt x="22" y="1"/>
                      <a:pt x="21" y="6"/>
                    </a:cubicBezTo>
                    <a:cubicBezTo>
                      <a:pt x="21" y="6"/>
                      <a:pt x="12" y="5"/>
                      <a:pt x="13" y="15"/>
                    </a:cubicBezTo>
                    <a:cubicBezTo>
                      <a:pt x="13" y="15"/>
                      <a:pt x="10" y="14"/>
                      <a:pt x="8" y="17"/>
                    </a:cubicBezTo>
                    <a:cubicBezTo>
                      <a:pt x="8" y="17"/>
                      <a:pt x="6" y="21"/>
                      <a:pt x="8" y="23"/>
                    </a:cubicBezTo>
                    <a:cubicBezTo>
                      <a:pt x="8" y="23"/>
                      <a:pt x="3" y="24"/>
                      <a:pt x="4" y="28"/>
                    </a:cubicBezTo>
                    <a:cubicBezTo>
                      <a:pt x="4" y="28"/>
                      <a:pt x="3" y="34"/>
                      <a:pt x="5" y="35"/>
                    </a:cubicBezTo>
                    <a:cubicBezTo>
                      <a:pt x="5" y="35"/>
                      <a:pt x="0" y="38"/>
                      <a:pt x="2" y="42"/>
                    </a:cubicBezTo>
                    <a:cubicBezTo>
                      <a:pt x="2" y="42"/>
                      <a:pt x="7" y="55"/>
                      <a:pt x="17" y="37"/>
                    </a:cubicBezTo>
                    <a:cubicBezTo>
                      <a:pt x="17" y="37"/>
                      <a:pt x="26" y="39"/>
                      <a:pt x="23" y="31"/>
                    </a:cubicBezTo>
                    <a:cubicBezTo>
                      <a:pt x="23" y="31"/>
                      <a:pt x="23" y="31"/>
                      <a:pt x="23" y="31"/>
                    </a:cubicBezTo>
                    <a:cubicBezTo>
                      <a:pt x="23" y="31"/>
                      <a:pt x="27" y="36"/>
                      <a:pt x="30" y="31"/>
                    </a:cubicBezTo>
                    <a:cubicBezTo>
                      <a:pt x="30" y="31"/>
                      <a:pt x="39" y="44"/>
                      <a:pt x="38" y="19"/>
                    </a:cubicBezTo>
                    <a:cubicBezTo>
                      <a:pt x="38" y="19"/>
                      <a:pt x="39" y="10"/>
                      <a:pt x="33" y="9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38" name="Freeform 129"/>
              <p:cNvSpPr>
                <a:spLocks/>
              </p:cNvSpPr>
              <p:nvPr/>
            </p:nvSpPr>
            <p:spPr bwMode="auto">
              <a:xfrm>
                <a:off x="6464300" y="1517650"/>
                <a:ext cx="144463" cy="120650"/>
              </a:xfrm>
              <a:custGeom>
                <a:avLst/>
                <a:gdLst>
                  <a:gd name="T0" fmla="*/ 51 w 63"/>
                  <a:gd name="T1" fmla="*/ 19 h 53"/>
                  <a:gd name="T2" fmla="*/ 44 w 63"/>
                  <a:gd name="T3" fmla="*/ 13 h 53"/>
                  <a:gd name="T4" fmla="*/ 32 w 63"/>
                  <a:gd name="T5" fmla="*/ 12 h 53"/>
                  <a:gd name="T6" fmla="*/ 28 w 63"/>
                  <a:gd name="T7" fmla="*/ 19 h 53"/>
                  <a:gd name="T8" fmla="*/ 19 w 63"/>
                  <a:gd name="T9" fmla="*/ 30 h 53"/>
                  <a:gd name="T10" fmla="*/ 15 w 63"/>
                  <a:gd name="T11" fmla="*/ 36 h 53"/>
                  <a:gd name="T12" fmla="*/ 6 w 63"/>
                  <a:gd name="T13" fmla="*/ 39 h 53"/>
                  <a:gd name="T14" fmla="*/ 3 w 63"/>
                  <a:gd name="T15" fmla="*/ 46 h 53"/>
                  <a:gd name="T16" fmla="*/ 15 w 63"/>
                  <a:gd name="T17" fmla="*/ 44 h 53"/>
                  <a:gd name="T18" fmla="*/ 24 w 63"/>
                  <a:gd name="T19" fmla="*/ 35 h 53"/>
                  <a:gd name="T20" fmla="*/ 24 w 63"/>
                  <a:gd name="T21" fmla="*/ 35 h 53"/>
                  <a:gd name="T22" fmla="*/ 24 w 63"/>
                  <a:gd name="T23" fmla="*/ 35 h 53"/>
                  <a:gd name="T24" fmla="*/ 24 w 63"/>
                  <a:gd name="T25" fmla="*/ 35 h 53"/>
                  <a:gd name="T26" fmla="*/ 25 w 63"/>
                  <a:gd name="T27" fmla="*/ 36 h 53"/>
                  <a:gd name="T28" fmla="*/ 32 w 63"/>
                  <a:gd name="T29" fmla="*/ 32 h 53"/>
                  <a:gd name="T30" fmla="*/ 42 w 63"/>
                  <a:gd name="T31" fmla="*/ 32 h 53"/>
                  <a:gd name="T32" fmla="*/ 51 w 63"/>
                  <a:gd name="T33" fmla="*/ 38 h 53"/>
                  <a:gd name="T34" fmla="*/ 55 w 63"/>
                  <a:gd name="T35" fmla="*/ 30 h 53"/>
                  <a:gd name="T36" fmla="*/ 51 w 63"/>
                  <a:gd name="T37" fmla="*/ 19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3" h="53">
                    <a:moveTo>
                      <a:pt x="51" y="19"/>
                    </a:moveTo>
                    <a:cubicBezTo>
                      <a:pt x="53" y="9"/>
                      <a:pt x="44" y="13"/>
                      <a:pt x="44" y="13"/>
                    </a:cubicBezTo>
                    <a:cubicBezTo>
                      <a:pt x="38" y="0"/>
                      <a:pt x="32" y="12"/>
                      <a:pt x="32" y="12"/>
                    </a:cubicBezTo>
                    <a:cubicBezTo>
                      <a:pt x="24" y="11"/>
                      <a:pt x="28" y="19"/>
                      <a:pt x="28" y="19"/>
                    </a:cubicBezTo>
                    <a:cubicBezTo>
                      <a:pt x="14" y="16"/>
                      <a:pt x="19" y="30"/>
                      <a:pt x="19" y="30"/>
                    </a:cubicBezTo>
                    <a:cubicBezTo>
                      <a:pt x="12" y="30"/>
                      <a:pt x="15" y="36"/>
                      <a:pt x="15" y="36"/>
                    </a:cubicBezTo>
                    <a:cubicBezTo>
                      <a:pt x="7" y="28"/>
                      <a:pt x="6" y="39"/>
                      <a:pt x="6" y="39"/>
                    </a:cubicBezTo>
                    <a:cubicBezTo>
                      <a:pt x="0" y="39"/>
                      <a:pt x="3" y="46"/>
                      <a:pt x="3" y="46"/>
                    </a:cubicBezTo>
                    <a:cubicBezTo>
                      <a:pt x="11" y="53"/>
                      <a:pt x="15" y="44"/>
                      <a:pt x="15" y="44"/>
                    </a:cubicBezTo>
                    <a:cubicBezTo>
                      <a:pt x="26" y="51"/>
                      <a:pt x="24" y="35"/>
                      <a:pt x="24" y="35"/>
                    </a:cubicBezTo>
                    <a:cubicBezTo>
                      <a:pt x="24" y="35"/>
                      <a:pt x="24" y="35"/>
                      <a:pt x="24" y="35"/>
                    </a:cubicBezTo>
                    <a:cubicBezTo>
                      <a:pt x="24" y="35"/>
                      <a:pt x="24" y="35"/>
                      <a:pt x="24" y="35"/>
                    </a:cubicBezTo>
                    <a:cubicBezTo>
                      <a:pt x="18" y="31"/>
                      <a:pt x="23" y="35"/>
                      <a:pt x="24" y="35"/>
                    </a:cubicBezTo>
                    <a:cubicBezTo>
                      <a:pt x="24" y="35"/>
                      <a:pt x="24" y="35"/>
                      <a:pt x="25" y="36"/>
                    </a:cubicBezTo>
                    <a:cubicBezTo>
                      <a:pt x="31" y="40"/>
                      <a:pt x="32" y="32"/>
                      <a:pt x="32" y="32"/>
                    </a:cubicBezTo>
                    <a:cubicBezTo>
                      <a:pt x="36" y="43"/>
                      <a:pt x="42" y="32"/>
                      <a:pt x="42" y="32"/>
                    </a:cubicBezTo>
                    <a:cubicBezTo>
                      <a:pt x="42" y="47"/>
                      <a:pt x="51" y="38"/>
                      <a:pt x="51" y="38"/>
                    </a:cubicBezTo>
                    <a:cubicBezTo>
                      <a:pt x="63" y="41"/>
                      <a:pt x="55" y="30"/>
                      <a:pt x="55" y="30"/>
                    </a:cubicBezTo>
                    <a:cubicBezTo>
                      <a:pt x="61" y="21"/>
                      <a:pt x="51" y="19"/>
                      <a:pt x="51" y="19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39" name="Freeform 130"/>
              <p:cNvSpPr>
                <a:spLocks/>
              </p:cNvSpPr>
              <p:nvPr/>
            </p:nvSpPr>
            <p:spPr bwMode="auto">
              <a:xfrm>
                <a:off x="6505575" y="1587500"/>
                <a:ext cx="12700" cy="9525"/>
              </a:xfrm>
              <a:custGeom>
                <a:avLst/>
                <a:gdLst>
                  <a:gd name="T0" fmla="*/ 6 w 6"/>
                  <a:gd name="T1" fmla="*/ 4 h 4"/>
                  <a:gd name="T2" fmla="*/ 6 w 6"/>
                  <a:gd name="T3" fmla="*/ 4 h 4"/>
                  <a:gd name="T4" fmla="*/ 6 w 6"/>
                  <a:gd name="T5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4">
                    <a:moveTo>
                      <a:pt x="6" y="4"/>
                    </a:moveTo>
                    <a:cubicBezTo>
                      <a:pt x="6" y="4"/>
                      <a:pt x="6" y="4"/>
                      <a:pt x="6" y="4"/>
                    </a:cubicBezTo>
                    <a:cubicBezTo>
                      <a:pt x="5" y="4"/>
                      <a:pt x="0" y="0"/>
                      <a:pt x="6" y="4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40" name="Freeform 131"/>
              <p:cNvSpPr>
                <a:spLocks/>
              </p:cNvSpPr>
              <p:nvPr/>
            </p:nvSpPr>
            <p:spPr bwMode="auto">
              <a:xfrm>
                <a:off x="5676900" y="1430338"/>
                <a:ext cx="98425" cy="150813"/>
              </a:xfrm>
              <a:custGeom>
                <a:avLst/>
                <a:gdLst>
                  <a:gd name="T0" fmla="*/ 35 w 43"/>
                  <a:gd name="T1" fmla="*/ 26 h 66"/>
                  <a:gd name="T2" fmla="*/ 35 w 43"/>
                  <a:gd name="T3" fmla="*/ 6 h 66"/>
                  <a:gd name="T4" fmla="*/ 24 w 43"/>
                  <a:gd name="T5" fmla="*/ 12 h 66"/>
                  <a:gd name="T6" fmla="*/ 17 w 43"/>
                  <a:gd name="T7" fmla="*/ 20 h 66"/>
                  <a:gd name="T8" fmla="*/ 9 w 43"/>
                  <a:gd name="T9" fmla="*/ 31 h 66"/>
                  <a:gd name="T10" fmla="*/ 9 w 43"/>
                  <a:gd name="T11" fmla="*/ 44 h 66"/>
                  <a:gd name="T12" fmla="*/ 12 w 43"/>
                  <a:gd name="T13" fmla="*/ 57 h 66"/>
                  <a:gd name="T14" fmla="*/ 17 w 43"/>
                  <a:gd name="T15" fmla="*/ 66 h 66"/>
                  <a:gd name="T16" fmla="*/ 24 w 43"/>
                  <a:gd name="T17" fmla="*/ 55 h 66"/>
                  <a:gd name="T18" fmla="*/ 29 w 43"/>
                  <a:gd name="T19" fmla="*/ 44 h 66"/>
                  <a:gd name="T20" fmla="*/ 35 w 43"/>
                  <a:gd name="T21" fmla="*/ 26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3" h="66">
                    <a:moveTo>
                      <a:pt x="35" y="26"/>
                    </a:moveTo>
                    <a:cubicBezTo>
                      <a:pt x="35" y="26"/>
                      <a:pt x="41" y="10"/>
                      <a:pt x="35" y="6"/>
                    </a:cubicBezTo>
                    <a:cubicBezTo>
                      <a:pt x="35" y="6"/>
                      <a:pt x="25" y="0"/>
                      <a:pt x="24" y="12"/>
                    </a:cubicBezTo>
                    <a:cubicBezTo>
                      <a:pt x="24" y="12"/>
                      <a:pt x="16" y="12"/>
                      <a:pt x="17" y="20"/>
                    </a:cubicBezTo>
                    <a:cubicBezTo>
                      <a:pt x="17" y="20"/>
                      <a:pt x="4" y="17"/>
                      <a:pt x="9" y="31"/>
                    </a:cubicBezTo>
                    <a:cubicBezTo>
                      <a:pt x="9" y="31"/>
                      <a:pt x="0" y="37"/>
                      <a:pt x="9" y="44"/>
                    </a:cubicBezTo>
                    <a:cubicBezTo>
                      <a:pt x="9" y="44"/>
                      <a:pt x="1" y="53"/>
                      <a:pt x="12" y="57"/>
                    </a:cubicBezTo>
                    <a:cubicBezTo>
                      <a:pt x="12" y="57"/>
                      <a:pt x="10" y="65"/>
                      <a:pt x="17" y="66"/>
                    </a:cubicBezTo>
                    <a:cubicBezTo>
                      <a:pt x="17" y="66"/>
                      <a:pt x="26" y="65"/>
                      <a:pt x="24" y="55"/>
                    </a:cubicBezTo>
                    <a:cubicBezTo>
                      <a:pt x="24" y="55"/>
                      <a:pt x="35" y="51"/>
                      <a:pt x="29" y="44"/>
                    </a:cubicBezTo>
                    <a:cubicBezTo>
                      <a:pt x="29" y="44"/>
                      <a:pt x="43" y="33"/>
                      <a:pt x="35" y="26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41" name="Freeform 132"/>
              <p:cNvSpPr>
                <a:spLocks/>
              </p:cNvSpPr>
              <p:nvPr/>
            </p:nvSpPr>
            <p:spPr bwMode="auto">
              <a:xfrm>
                <a:off x="5778500" y="1611313"/>
                <a:ext cx="0" cy="1588"/>
              </a:xfrm>
              <a:custGeom>
                <a:avLst/>
                <a:gdLst>
                  <a:gd name="T0" fmla="*/ 0 h 1"/>
                  <a:gd name="T1" fmla="*/ 1 h 1"/>
                  <a:gd name="T2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0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42" name="Freeform 133"/>
              <p:cNvSpPr>
                <a:spLocks/>
              </p:cNvSpPr>
              <p:nvPr/>
            </p:nvSpPr>
            <p:spPr bwMode="auto">
              <a:xfrm>
                <a:off x="5770563" y="1603375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43" name="Freeform 134"/>
              <p:cNvSpPr>
                <a:spLocks/>
              </p:cNvSpPr>
              <p:nvPr/>
            </p:nvSpPr>
            <p:spPr bwMode="auto">
              <a:xfrm>
                <a:off x="5753100" y="1570038"/>
                <a:ext cx="47625" cy="123825"/>
              </a:xfrm>
              <a:custGeom>
                <a:avLst/>
                <a:gdLst>
                  <a:gd name="T0" fmla="*/ 11 w 21"/>
                  <a:gd name="T1" fmla="*/ 18 h 54"/>
                  <a:gd name="T2" fmla="*/ 11 w 21"/>
                  <a:gd name="T3" fmla="*/ 19 h 54"/>
                  <a:gd name="T4" fmla="*/ 11 w 21"/>
                  <a:gd name="T5" fmla="*/ 18 h 54"/>
                  <a:gd name="T6" fmla="*/ 13 w 21"/>
                  <a:gd name="T7" fmla="*/ 2 h 54"/>
                  <a:gd name="T8" fmla="*/ 10 w 21"/>
                  <a:gd name="T9" fmla="*/ 0 h 54"/>
                  <a:gd name="T10" fmla="*/ 8 w 21"/>
                  <a:gd name="T11" fmla="*/ 15 h 54"/>
                  <a:gd name="T12" fmla="*/ 8 w 21"/>
                  <a:gd name="T13" fmla="*/ 15 h 54"/>
                  <a:gd name="T14" fmla="*/ 8 w 21"/>
                  <a:gd name="T15" fmla="*/ 15 h 54"/>
                  <a:gd name="T16" fmla="*/ 2 w 21"/>
                  <a:gd name="T17" fmla="*/ 5 h 54"/>
                  <a:gd name="T18" fmla="*/ 0 w 21"/>
                  <a:gd name="T19" fmla="*/ 10 h 54"/>
                  <a:gd name="T20" fmla="*/ 4 w 21"/>
                  <a:gd name="T21" fmla="*/ 32 h 54"/>
                  <a:gd name="T22" fmla="*/ 2 w 21"/>
                  <a:gd name="T23" fmla="*/ 54 h 54"/>
                  <a:gd name="T24" fmla="*/ 3 w 21"/>
                  <a:gd name="T25" fmla="*/ 54 h 54"/>
                  <a:gd name="T26" fmla="*/ 14 w 21"/>
                  <a:gd name="T27" fmla="*/ 54 h 54"/>
                  <a:gd name="T28" fmla="*/ 13 w 21"/>
                  <a:gd name="T29" fmla="*/ 25 h 54"/>
                  <a:gd name="T30" fmla="*/ 21 w 21"/>
                  <a:gd name="T31" fmla="*/ 7 h 54"/>
                  <a:gd name="T32" fmla="*/ 20 w 21"/>
                  <a:gd name="T33" fmla="*/ 2 h 54"/>
                  <a:gd name="T34" fmla="*/ 11 w 21"/>
                  <a:gd name="T35" fmla="*/ 18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1" h="54">
                    <a:moveTo>
                      <a:pt x="11" y="18"/>
                    </a:moveTo>
                    <a:cubicBezTo>
                      <a:pt x="11" y="19"/>
                      <a:pt x="11" y="19"/>
                      <a:pt x="11" y="19"/>
                    </a:cubicBezTo>
                    <a:cubicBezTo>
                      <a:pt x="11" y="19"/>
                      <a:pt x="11" y="18"/>
                      <a:pt x="11" y="18"/>
                    </a:cubicBezTo>
                    <a:cubicBezTo>
                      <a:pt x="11" y="15"/>
                      <a:pt x="12" y="4"/>
                      <a:pt x="13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10" y="0"/>
                      <a:pt x="8" y="13"/>
                      <a:pt x="8" y="15"/>
                    </a:cubicBezTo>
                    <a:cubicBezTo>
                      <a:pt x="8" y="15"/>
                      <a:pt x="8" y="15"/>
                      <a:pt x="8" y="15"/>
                    </a:cubicBezTo>
                    <a:cubicBezTo>
                      <a:pt x="8" y="15"/>
                      <a:pt x="8" y="15"/>
                      <a:pt x="8" y="15"/>
                    </a:cubicBezTo>
                    <a:cubicBezTo>
                      <a:pt x="7" y="14"/>
                      <a:pt x="6" y="8"/>
                      <a:pt x="2" y="5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10"/>
                      <a:pt x="6" y="15"/>
                      <a:pt x="4" y="32"/>
                    </a:cubicBezTo>
                    <a:cubicBezTo>
                      <a:pt x="4" y="32"/>
                      <a:pt x="3" y="52"/>
                      <a:pt x="2" y="54"/>
                    </a:cubicBezTo>
                    <a:cubicBezTo>
                      <a:pt x="3" y="54"/>
                      <a:pt x="3" y="54"/>
                      <a:pt x="3" y="54"/>
                    </a:cubicBezTo>
                    <a:cubicBezTo>
                      <a:pt x="14" y="54"/>
                      <a:pt x="14" y="54"/>
                      <a:pt x="14" y="54"/>
                    </a:cubicBezTo>
                    <a:cubicBezTo>
                      <a:pt x="14" y="54"/>
                      <a:pt x="11" y="34"/>
                      <a:pt x="13" y="25"/>
                    </a:cubicBezTo>
                    <a:cubicBezTo>
                      <a:pt x="15" y="16"/>
                      <a:pt x="18" y="8"/>
                      <a:pt x="21" y="7"/>
                    </a:cubicBezTo>
                    <a:cubicBezTo>
                      <a:pt x="20" y="2"/>
                      <a:pt x="20" y="2"/>
                      <a:pt x="20" y="2"/>
                    </a:cubicBezTo>
                    <a:cubicBezTo>
                      <a:pt x="20" y="2"/>
                      <a:pt x="11" y="11"/>
                      <a:pt x="11" y="18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44" name="Freeform 135"/>
              <p:cNvSpPr>
                <a:spLocks/>
              </p:cNvSpPr>
              <p:nvPr/>
            </p:nvSpPr>
            <p:spPr bwMode="auto">
              <a:xfrm>
                <a:off x="5705475" y="1492250"/>
                <a:ext cx="47625" cy="73025"/>
              </a:xfrm>
              <a:custGeom>
                <a:avLst/>
                <a:gdLst>
                  <a:gd name="T0" fmla="*/ 14 w 21"/>
                  <a:gd name="T1" fmla="*/ 3 h 32"/>
                  <a:gd name="T2" fmla="*/ 7 w 21"/>
                  <a:gd name="T3" fmla="*/ 11 h 32"/>
                  <a:gd name="T4" fmla="*/ 6 w 21"/>
                  <a:gd name="T5" fmla="*/ 20 h 32"/>
                  <a:gd name="T6" fmla="*/ 12 w 21"/>
                  <a:gd name="T7" fmla="*/ 29 h 32"/>
                  <a:gd name="T8" fmla="*/ 14 w 21"/>
                  <a:gd name="T9" fmla="*/ 3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32">
                    <a:moveTo>
                      <a:pt x="14" y="3"/>
                    </a:moveTo>
                    <a:cubicBezTo>
                      <a:pt x="14" y="3"/>
                      <a:pt x="3" y="0"/>
                      <a:pt x="7" y="11"/>
                    </a:cubicBezTo>
                    <a:cubicBezTo>
                      <a:pt x="7" y="11"/>
                      <a:pt x="0" y="14"/>
                      <a:pt x="6" y="20"/>
                    </a:cubicBezTo>
                    <a:cubicBezTo>
                      <a:pt x="6" y="20"/>
                      <a:pt x="2" y="32"/>
                      <a:pt x="12" y="29"/>
                    </a:cubicBezTo>
                    <a:cubicBezTo>
                      <a:pt x="12" y="29"/>
                      <a:pt x="21" y="4"/>
                      <a:pt x="14" y="3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45" name="Freeform 136"/>
              <p:cNvSpPr>
                <a:spLocks/>
              </p:cNvSpPr>
              <p:nvPr/>
            </p:nvSpPr>
            <p:spPr bwMode="auto">
              <a:xfrm>
                <a:off x="5754688" y="1468438"/>
                <a:ext cx="3175" cy="0"/>
              </a:xfrm>
              <a:custGeom>
                <a:avLst/>
                <a:gdLst>
                  <a:gd name="T0" fmla="*/ 0 w 1"/>
                  <a:gd name="T1" fmla="*/ 1 w 1"/>
                  <a:gd name="T2" fmla="*/ 0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0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46" name="Freeform 137"/>
              <p:cNvSpPr>
                <a:spLocks/>
              </p:cNvSpPr>
              <p:nvPr/>
            </p:nvSpPr>
            <p:spPr bwMode="auto">
              <a:xfrm>
                <a:off x="5734050" y="1422400"/>
                <a:ext cx="80963" cy="98425"/>
              </a:xfrm>
              <a:custGeom>
                <a:avLst/>
                <a:gdLst>
                  <a:gd name="T0" fmla="*/ 31 w 35"/>
                  <a:gd name="T1" fmla="*/ 7 h 43"/>
                  <a:gd name="T2" fmla="*/ 27 w 35"/>
                  <a:gd name="T3" fmla="*/ 1 h 43"/>
                  <a:gd name="T4" fmla="*/ 18 w 35"/>
                  <a:gd name="T5" fmla="*/ 7 h 43"/>
                  <a:gd name="T6" fmla="*/ 8 w 35"/>
                  <a:gd name="T7" fmla="*/ 13 h 43"/>
                  <a:gd name="T8" fmla="*/ 9 w 35"/>
                  <a:gd name="T9" fmla="*/ 20 h 43"/>
                  <a:gd name="T10" fmla="*/ 10 w 35"/>
                  <a:gd name="T11" fmla="*/ 20 h 43"/>
                  <a:gd name="T12" fmla="*/ 9 w 35"/>
                  <a:gd name="T13" fmla="*/ 20 h 43"/>
                  <a:gd name="T14" fmla="*/ 3 w 35"/>
                  <a:gd name="T15" fmla="*/ 23 h 43"/>
                  <a:gd name="T16" fmla="*/ 5 w 35"/>
                  <a:gd name="T17" fmla="*/ 30 h 43"/>
                  <a:gd name="T18" fmla="*/ 1 w 35"/>
                  <a:gd name="T19" fmla="*/ 37 h 43"/>
                  <a:gd name="T20" fmla="*/ 9 w 35"/>
                  <a:gd name="T21" fmla="*/ 42 h 43"/>
                  <a:gd name="T22" fmla="*/ 18 w 35"/>
                  <a:gd name="T23" fmla="*/ 33 h 43"/>
                  <a:gd name="T24" fmla="*/ 23 w 35"/>
                  <a:gd name="T25" fmla="*/ 23 h 43"/>
                  <a:gd name="T26" fmla="*/ 28 w 35"/>
                  <a:gd name="T27" fmla="*/ 15 h 43"/>
                  <a:gd name="T28" fmla="*/ 31 w 35"/>
                  <a:gd name="T29" fmla="*/ 7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5" h="43">
                    <a:moveTo>
                      <a:pt x="31" y="7"/>
                    </a:moveTo>
                    <a:cubicBezTo>
                      <a:pt x="31" y="7"/>
                      <a:pt x="31" y="1"/>
                      <a:pt x="27" y="1"/>
                    </a:cubicBezTo>
                    <a:cubicBezTo>
                      <a:pt x="27" y="1"/>
                      <a:pt x="18" y="0"/>
                      <a:pt x="18" y="7"/>
                    </a:cubicBezTo>
                    <a:cubicBezTo>
                      <a:pt x="18" y="7"/>
                      <a:pt x="9" y="3"/>
                      <a:pt x="8" y="13"/>
                    </a:cubicBezTo>
                    <a:cubicBezTo>
                      <a:pt x="8" y="13"/>
                      <a:pt x="7" y="19"/>
                      <a:pt x="9" y="20"/>
                    </a:cubicBezTo>
                    <a:cubicBezTo>
                      <a:pt x="10" y="20"/>
                      <a:pt x="10" y="20"/>
                      <a:pt x="10" y="20"/>
                    </a:cubicBezTo>
                    <a:cubicBezTo>
                      <a:pt x="10" y="20"/>
                      <a:pt x="10" y="20"/>
                      <a:pt x="9" y="20"/>
                    </a:cubicBezTo>
                    <a:cubicBezTo>
                      <a:pt x="8" y="20"/>
                      <a:pt x="4" y="20"/>
                      <a:pt x="3" y="23"/>
                    </a:cubicBezTo>
                    <a:cubicBezTo>
                      <a:pt x="3" y="23"/>
                      <a:pt x="2" y="25"/>
                      <a:pt x="5" y="30"/>
                    </a:cubicBezTo>
                    <a:cubicBezTo>
                      <a:pt x="5" y="30"/>
                      <a:pt x="0" y="33"/>
                      <a:pt x="1" y="37"/>
                    </a:cubicBezTo>
                    <a:cubicBezTo>
                      <a:pt x="1" y="37"/>
                      <a:pt x="2" y="43"/>
                      <a:pt x="9" y="42"/>
                    </a:cubicBezTo>
                    <a:cubicBezTo>
                      <a:pt x="9" y="42"/>
                      <a:pt x="20" y="43"/>
                      <a:pt x="18" y="33"/>
                    </a:cubicBezTo>
                    <a:cubicBezTo>
                      <a:pt x="18" y="33"/>
                      <a:pt x="31" y="30"/>
                      <a:pt x="23" y="23"/>
                    </a:cubicBezTo>
                    <a:cubicBezTo>
                      <a:pt x="23" y="23"/>
                      <a:pt x="35" y="27"/>
                      <a:pt x="28" y="15"/>
                    </a:cubicBezTo>
                    <a:cubicBezTo>
                      <a:pt x="28" y="15"/>
                      <a:pt x="32" y="10"/>
                      <a:pt x="31" y="7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47" name="Freeform 138"/>
              <p:cNvSpPr>
                <a:spLocks/>
              </p:cNvSpPr>
              <p:nvPr/>
            </p:nvSpPr>
            <p:spPr bwMode="auto">
              <a:xfrm>
                <a:off x="5762625" y="1431925"/>
                <a:ext cx="100013" cy="98425"/>
              </a:xfrm>
              <a:custGeom>
                <a:avLst/>
                <a:gdLst>
                  <a:gd name="T0" fmla="*/ 28 w 44"/>
                  <a:gd name="T1" fmla="*/ 8 h 43"/>
                  <a:gd name="T2" fmla="*/ 22 w 44"/>
                  <a:gd name="T3" fmla="*/ 1 h 43"/>
                  <a:gd name="T4" fmla="*/ 16 w 44"/>
                  <a:gd name="T5" fmla="*/ 8 h 43"/>
                  <a:gd name="T6" fmla="*/ 10 w 44"/>
                  <a:gd name="T7" fmla="*/ 14 h 43"/>
                  <a:gd name="T8" fmla="*/ 10 w 44"/>
                  <a:gd name="T9" fmla="*/ 22 h 43"/>
                  <a:gd name="T10" fmla="*/ 14 w 44"/>
                  <a:gd name="T11" fmla="*/ 33 h 43"/>
                  <a:gd name="T12" fmla="*/ 24 w 44"/>
                  <a:gd name="T13" fmla="*/ 35 h 43"/>
                  <a:gd name="T14" fmla="*/ 31 w 44"/>
                  <a:gd name="T15" fmla="*/ 29 h 43"/>
                  <a:gd name="T16" fmla="*/ 36 w 44"/>
                  <a:gd name="T17" fmla="*/ 15 h 43"/>
                  <a:gd name="T18" fmla="*/ 28 w 44"/>
                  <a:gd name="T19" fmla="*/ 8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4" h="43">
                    <a:moveTo>
                      <a:pt x="28" y="8"/>
                    </a:moveTo>
                    <a:cubicBezTo>
                      <a:pt x="28" y="8"/>
                      <a:pt x="28" y="1"/>
                      <a:pt x="22" y="1"/>
                    </a:cubicBezTo>
                    <a:cubicBezTo>
                      <a:pt x="22" y="1"/>
                      <a:pt x="17" y="0"/>
                      <a:pt x="16" y="8"/>
                    </a:cubicBezTo>
                    <a:cubicBezTo>
                      <a:pt x="16" y="8"/>
                      <a:pt x="9" y="7"/>
                      <a:pt x="10" y="14"/>
                    </a:cubicBezTo>
                    <a:cubicBezTo>
                      <a:pt x="10" y="14"/>
                      <a:pt x="0" y="17"/>
                      <a:pt x="10" y="22"/>
                    </a:cubicBezTo>
                    <a:cubicBezTo>
                      <a:pt x="10" y="22"/>
                      <a:pt x="8" y="34"/>
                      <a:pt x="14" y="33"/>
                    </a:cubicBezTo>
                    <a:cubicBezTo>
                      <a:pt x="14" y="33"/>
                      <a:pt x="17" y="43"/>
                      <a:pt x="24" y="35"/>
                    </a:cubicBezTo>
                    <a:cubicBezTo>
                      <a:pt x="24" y="35"/>
                      <a:pt x="34" y="39"/>
                      <a:pt x="31" y="29"/>
                    </a:cubicBezTo>
                    <a:cubicBezTo>
                      <a:pt x="31" y="29"/>
                      <a:pt x="44" y="23"/>
                      <a:pt x="36" y="15"/>
                    </a:cubicBezTo>
                    <a:cubicBezTo>
                      <a:pt x="36" y="15"/>
                      <a:pt x="37" y="7"/>
                      <a:pt x="28" y="8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48" name="Freeform 139"/>
              <p:cNvSpPr>
                <a:spLocks/>
              </p:cNvSpPr>
              <p:nvPr/>
            </p:nvSpPr>
            <p:spPr bwMode="auto">
              <a:xfrm>
                <a:off x="5795963" y="1466850"/>
                <a:ext cx="93663" cy="90488"/>
              </a:xfrm>
              <a:custGeom>
                <a:avLst/>
                <a:gdLst>
                  <a:gd name="T0" fmla="*/ 32 w 41"/>
                  <a:gd name="T1" fmla="*/ 16 h 40"/>
                  <a:gd name="T2" fmla="*/ 28 w 41"/>
                  <a:gd name="T3" fmla="*/ 8 h 40"/>
                  <a:gd name="T4" fmla="*/ 23 w 41"/>
                  <a:gd name="T5" fmla="*/ 0 h 40"/>
                  <a:gd name="T6" fmla="*/ 17 w 41"/>
                  <a:gd name="T7" fmla="*/ 9 h 40"/>
                  <a:gd name="T8" fmla="*/ 9 w 41"/>
                  <a:gd name="T9" fmla="*/ 10 h 40"/>
                  <a:gd name="T10" fmla="*/ 10 w 41"/>
                  <a:gd name="T11" fmla="*/ 17 h 40"/>
                  <a:gd name="T12" fmla="*/ 4 w 41"/>
                  <a:gd name="T13" fmla="*/ 27 h 40"/>
                  <a:gd name="T14" fmla="*/ 18 w 41"/>
                  <a:gd name="T15" fmla="*/ 31 h 40"/>
                  <a:gd name="T16" fmla="*/ 25 w 41"/>
                  <a:gd name="T17" fmla="*/ 31 h 40"/>
                  <a:gd name="T18" fmla="*/ 32 w 41"/>
                  <a:gd name="T19" fmla="*/ 28 h 40"/>
                  <a:gd name="T20" fmla="*/ 34 w 41"/>
                  <a:gd name="T21" fmla="*/ 28 h 40"/>
                  <a:gd name="T22" fmla="*/ 32 w 41"/>
                  <a:gd name="T23" fmla="*/ 1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" h="40">
                    <a:moveTo>
                      <a:pt x="32" y="16"/>
                    </a:moveTo>
                    <a:cubicBezTo>
                      <a:pt x="32" y="16"/>
                      <a:pt x="37" y="9"/>
                      <a:pt x="28" y="8"/>
                    </a:cubicBezTo>
                    <a:cubicBezTo>
                      <a:pt x="28" y="8"/>
                      <a:pt x="28" y="0"/>
                      <a:pt x="23" y="0"/>
                    </a:cubicBezTo>
                    <a:cubicBezTo>
                      <a:pt x="23" y="0"/>
                      <a:pt x="14" y="0"/>
                      <a:pt x="17" y="9"/>
                    </a:cubicBezTo>
                    <a:cubicBezTo>
                      <a:pt x="17" y="9"/>
                      <a:pt x="11" y="5"/>
                      <a:pt x="9" y="10"/>
                    </a:cubicBezTo>
                    <a:cubicBezTo>
                      <a:pt x="9" y="10"/>
                      <a:pt x="6" y="16"/>
                      <a:pt x="10" y="17"/>
                    </a:cubicBezTo>
                    <a:cubicBezTo>
                      <a:pt x="10" y="17"/>
                      <a:pt x="0" y="18"/>
                      <a:pt x="4" y="27"/>
                    </a:cubicBezTo>
                    <a:cubicBezTo>
                      <a:pt x="4" y="27"/>
                      <a:pt x="9" y="40"/>
                      <a:pt x="18" y="31"/>
                    </a:cubicBezTo>
                    <a:cubicBezTo>
                      <a:pt x="18" y="31"/>
                      <a:pt x="24" y="37"/>
                      <a:pt x="25" y="31"/>
                    </a:cubicBezTo>
                    <a:cubicBezTo>
                      <a:pt x="25" y="31"/>
                      <a:pt x="33" y="37"/>
                      <a:pt x="32" y="28"/>
                    </a:cubicBezTo>
                    <a:cubicBezTo>
                      <a:pt x="32" y="28"/>
                      <a:pt x="33" y="28"/>
                      <a:pt x="34" y="28"/>
                    </a:cubicBezTo>
                    <a:cubicBezTo>
                      <a:pt x="34" y="28"/>
                      <a:pt x="41" y="20"/>
                      <a:pt x="32" y="16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49" name="Rectangle 140"/>
              <p:cNvSpPr>
                <a:spLocks noChangeArrowheads="1"/>
              </p:cNvSpPr>
              <p:nvPr/>
            </p:nvSpPr>
            <p:spPr bwMode="auto">
              <a:xfrm>
                <a:off x="5848350" y="1592263"/>
                <a:ext cx="1588" cy="1588"/>
              </a:xfrm>
              <a:prstGeom prst="rect">
                <a:avLst/>
              </a:pr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50" name="Freeform 141"/>
              <p:cNvSpPr>
                <a:spLocks/>
              </p:cNvSpPr>
              <p:nvPr/>
            </p:nvSpPr>
            <p:spPr bwMode="auto">
              <a:xfrm>
                <a:off x="5791200" y="1514475"/>
                <a:ext cx="101600" cy="104775"/>
              </a:xfrm>
              <a:custGeom>
                <a:avLst/>
                <a:gdLst>
                  <a:gd name="T0" fmla="*/ 34 w 44"/>
                  <a:gd name="T1" fmla="*/ 6 h 46"/>
                  <a:gd name="T2" fmla="*/ 27 w 44"/>
                  <a:gd name="T3" fmla="*/ 1 h 46"/>
                  <a:gd name="T4" fmla="*/ 26 w 44"/>
                  <a:gd name="T5" fmla="*/ 1 h 46"/>
                  <a:gd name="T6" fmla="*/ 23 w 44"/>
                  <a:gd name="T7" fmla="*/ 4 h 46"/>
                  <a:gd name="T8" fmla="*/ 15 w 44"/>
                  <a:gd name="T9" fmla="*/ 9 h 46"/>
                  <a:gd name="T10" fmla="*/ 8 w 44"/>
                  <a:gd name="T11" fmla="*/ 15 h 46"/>
                  <a:gd name="T12" fmla="*/ 4 w 44"/>
                  <a:gd name="T13" fmla="*/ 22 h 46"/>
                  <a:gd name="T14" fmla="*/ 5 w 44"/>
                  <a:gd name="T15" fmla="*/ 29 h 46"/>
                  <a:gd name="T16" fmla="*/ 6 w 44"/>
                  <a:gd name="T17" fmla="*/ 34 h 46"/>
                  <a:gd name="T18" fmla="*/ 13 w 44"/>
                  <a:gd name="T19" fmla="*/ 39 h 46"/>
                  <a:gd name="T20" fmla="*/ 13 w 44"/>
                  <a:gd name="T21" fmla="*/ 39 h 46"/>
                  <a:gd name="T22" fmla="*/ 22 w 44"/>
                  <a:gd name="T23" fmla="*/ 38 h 46"/>
                  <a:gd name="T24" fmla="*/ 22 w 44"/>
                  <a:gd name="T25" fmla="*/ 37 h 46"/>
                  <a:gd name="T26" fmla="*/ 25 w 44"/>
                  <a:gd name="T27" fmla="*/ 34 h 46"/>
                  <a:gd name="T28" fmla="*/ 25 w 44"/>
                  <a:gd name="T29" fmla="*/ 34 h 46"/>
                  <a:gd name="T30" fmla="*/ 25 w 44"/>
                  <a:gd name="T31" fmla="*/ 34 h 46"/>
                  <a:gd name="T32" fmla="*/ 25 w 44"/>
                  <a:gd name="T33" fmla="*/ 34 h 46"/>
                  <a:gd name="T34" fmla="*/ 22 w 44"/>
                  <a:gd name="T35" fmla="*/ 38 h 46"/>
                  <a:gd name="T36" fmla="*/ 29 w 44"/>
                  <a:gd name="T37" fmla="*/ 30 h 46"/>
                  <a:gd name="T38" fmla="*/ 34 w 44"/>
                  <a:gd name="T39" fmla="*/ 24 h 46"/>
                  <a:gd name="T40" fmla="*/ 34 w 44"/>
                  <a:gd name="T41" fmla="*/ 16 h 46"/>
                  <a:gd name="T42" fmla="*/ 34 w 44"/>
                  <a:gd name="T43" fmla="*/ 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4" h="46">
                    <a:moveTo>
                      <a:pt x="34" y="6"/>
                    </a:moveTo>
                    <a:cubicBezTo>
                      <a:pt x="34" y="6"/>
                      <a:pt x="34" y="0"/>
                      <a:pt x="27" y="1"/>
                    </a:cubicBezTo>
                    <a:cubicBezTo>
                      <a:pt x="27" y="1"/>
                      <a:pt x="26" y="1"/>
                      <a:pt x="26" y="1"/>
                    </a:cubicBezTo>
                    <a:cubicBezTo>
                      <a:pt x="26" y="1"/>
                      <a:pt x="23" y="2"/>
                      <a:pt x="23" y="4"/>
                    </a:cubicBezTo>
                    <a:cubicBezTo>
                      <a:pt x="23" y="4"/>
                      <a:pt x="18" y="0"/>
                      <a:pt x="15" y="9"/>
                    </a:cubicBezTo>
                    <a:cubicBezTo>
                      <a:pt x="15" y="9"/>
                      <a:pt x="7" y="6"/>
                      <a:pt x="8" y="15"/>
                    </a:cubicBezTo>
                    <a:cubicBezTo>
                      <a:pt x="8" y="15"/>
                      <a:pt x="1" y="17"/>
                      <a:pt x="4" y="22"/>
                    </a:cubicBezTo>
                    <a:cubicBezTo>
                      <a:pt x="4" y="22"/>
                      <a:pt x="0" y="28"/>
                      <a:pt x="5" y="29"/>
                    </a:cubicBezTo>
                    <a:cubicBezTo>
                      <a:pt x="5" y="29"/>
                      <a:pt x="2" y="31"/>
                      <a:pt x="6" y="34"/>
                    </a:cubicBezTo>
                    <a:cubicBezTo>
                      <a:pt x="6" y="34"/>
                      <a:pt x="4" y="45"/>
                      <a:pt x="13" y="39"/>
                    </a:cubicBezTo>
                    <a:cubicBezTo>
                      <a:pt x="13" y="39"/>
                      <a:pt x="13" y="39"/>
                      <a:pt x="13" y="39"/>
                    </a:cubicBezTo>
                    <a:cubicBezTo>
                      <a:pt x="13" y="39"/>
                      <a:pt x="16" y="46"/>
                      <a:pt x="22" y="38"/>
                    </a:cubicBezTo>
                    <a:cubicBezTo>
                      <a:pt x="22" y="38"/>
                      <a:pt x="22" y="38"/>
                      <a:pt x="22" y="37"/>
                    </a:cubicBezTo>
                    <a:cubicBezTo>
                      <a:pt x="24" y="35"/>
                      <a:pt x="24" y="34"/>
                      <a:pt x="25" y="34"/>
                    </a:cubicBezTo>
                    <a:cubicBezTo>
                      <a:pt x="25" y="34"/>
                      <a:pt x="25" y="34"/>
                      <a:pt x="25" y="34"/>
                    </a:cubicBezTo>
                    <a:cubicBezTo>
                      <a:pt x="25" y="34"/>
                      <a:pt x="25" y="34"/>
                      <a:pt x="25" y="34"/>
                    </a:cubicBezTo>
                    <a:cubicBezTo>
                      <a:pt x="25" y="34"/>
                      <a:pt x="25" y="34"/>
                      <a:pt x="25" y="34"/>
                    </a:cubicBezTo>
                    <a:cubicBezTo>
                      <a:pt x="24" y="34"/>
                      <a:pt x="22" y="38"/>
                      <a:pt x="22" y="38"/>
                    </a:cubicBezTo>
                    <a:cubicBezTo>
                      <a:pt x="22" y="38"/>
                      <a:pt x="30" y="42"/>
                      <a:pt x="29" y="30"/>
                    </a:cubicBezTo>
                    <a:cubicBezTo>
                      <a:pt x="29" y="30"/>
                      <a:pt x="35" y="33"/>
                      <a:pt x="34" y="24"/>
                    </a:cubicBezTo>
                    <a:cubicBezTo>
                      <a:pt x="34" y="24"/>
                      <a:pt x="42" y="20"/>
                      <a:pt x="34" y="16"/>
                    </a:cubicBezTo>
                    <a:cubicBezTo>
                      <a:pt x="34" y="16"/>
                      <a:pt x="44" y="11"/>
                      <a:pt x="34" y="6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51" name="Freeform 142"/>
              <p:cNvSpPr>
                <a:spLocks/>
              </p:cNvSpPr>
              <p:nvPr/>
            </p:nvSpPr>
            <p:spPr bwMode="auto">
              <a:xfrm>
                <a:off x="5718175" y="1482725"/>
                <a:ext cx="90488" cy="125413"/>
              </a:xfrm>
              <a:custGeom>
                <a:avLst/>
                <a:gdLst>
                  <a:gd name="T0" fmla="*/ 33 w 39"/>
                  <a:gd name="T1" fmla="*/ 9 h 55"/>
                  <a:gd name="T2" fmla="*/ 28 w 39"/>
                  <a:gd name="T3" fmla="*/ 0 h 55"/>
                  <a:gd name="T4" fmla="*/ 22 w 39"/>
                  <a:gd name="T5" fmla="*/ 6 h 55"/>
                  <a:gd name="T6" fmla="*/ 13 w 39"/>
                  <a:gd name="T7" fmla="*/ 15 h 55"/>
                  <a:gd name="T8" fmla="*/ 8 w 39"/>
                  <a:gd name="T9" fmla="*/ 17 h 55"/>
                  <a:gd name="T10" fmla="*/ 8 w 39"/>
                  <a:gd name="T11" fmla="*/ 23 h 55"/>
                  <a:gd name="T12" fmla="*/ 4 w 39"/>
                  <a:gd name="T13" fmla="*/ 28 h 55"/>
                  <a:gd name="T14" fmla="*/ 5 w 39"/>
                  <a:gd name="T15" fmla="*/ 35 h 55"/>
                  <a:gd name="T16" fmla="*/ 2 w 39"/>
                  <a:gd name="T17" fmla="*/ 41 h 55"/>
                  <a:gd name="T18" fmla="*/ 17 w 39"/>
                  <a:gd name="T19" fmla="*/ 37 h 55"/>
                  <a:gd name="T20" fmla="*/ 23 w 39"/>
                  <a:gd name="T21" fmla="*/ 31 h 55"/>
                  <a:gd name="T22" fmla="*/ 23 w 39"/>
                  <a:gd name="T23" fmla="*/ 30 h 55"/>
                  <a:gd name="T24" fmla="*/ 30 w 39"/>
                  <a:gd name="T25" fmla="*/ 31 h 55"/>
                  <a:gd name="T26" fmla="*/ 39 w 39"/>
                  <a:gd name="T27" fmla="*/ 19 h 55"/>
                  <a:gd name="T28" fmla="*/ 33 w 39"/>
                  <a:gd name="T29" fmla="*/ 9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9" h="55">
                    <a:moveTo>
                      <a:pt x="33" y="9"/>
                    </a:moveTo>
                    <a:cubicBezTo>
                      <a:pt x="33" y="9"/>
                      <a:pt x="34" y="1"/>
                      <a:pt x="28" y="0"/>
                    </a:cubicBezTo>
                    <a:cubicBezTo>
                      <a:pt x="28" y="0"/>
                      <a:pt x="22" y="0"/>
                      <a:pt x="22" y="6"/>
                    </a:cubicBezTo>
                    <a:cubicBezTo>
                      <a:pt x="22" y="6"/>
                      <a:pt x="12" y="5"/>
                      <a:pt x="13" y="15"/>
                    </a:cubicBezTo>
                    <a:cubicBezTo>
                      <a:pt x="13" y="15"/>
                      <a:pt x="10" y="14"/>
                      <a:pt x="8" y="17"/>
                    </a:cubicBezTo>
                    <a:cubicBezTo>
                      <a:pt x="8" y="17"/>
                      <a:pt x="6" y="21"/>
                      <a:pt x="8" y="23"/>
                    </a:cubicBezTo>
                    <a:cubicBezTo>
                      <a:pt x="8" y="23"/>
                      <a:pt x="3" y="24"/>
                      <a:pt x="4" y="28"/>
                    </a:cubicBezTo>
                    <a:cubicBezTo>
                      <a:pt x="4" y="28"/>
                      <a:pt x="4" y="34"/>
                      <a:pt x="5" y="35"/>
                    </a:cubicBezTo>
                    <a:cubicBezTo>
                      <a:pt x="5" y="35"/>
                      <a:pt x="0" y="38"/>
                      <a:pt x="2" y="41"/>
                    </a:cubicBezTo>
                    <a:cubicBezTo>
                      <a:pt x="2" y="41"/>
                      <a:pt x="7" y="55"/>
                      <a:pt x="17" y="37"/>
                    </a:cubicBezTo>
                    <a:cubicBezTo>
                      <a:pt x="17" y="37"/>
                      <a:pt x="26" y="39"/>
                      <a:pt x="23" y="31"/>
                    </a:cubicBezTo>
                    <a:cubicBezTo>
                      <a:pt x="23" y="31"/>
                      <a:pt x="23" y="31"/>
                      <a:pt x="23" y="30"/>
                    </a:cubicBezTo>
                    <a:cubicBezTo>
                      <a:pt x="23" y="30"/>
                      <a:pt x="27" y="36"/>
                      <a:pt x="30" y="31"/>
                    </a:cubicBezTo>
                    <a:cubicBezTo>
                      <a:pt x="30" y="31"/>
                      <a:pt x="39" y="44"/>
                      <a:pt x="39" y="19"/>
                    </a:cubicBezTo>
                    <a:cubicBezTo>
                      <a:pt x="39" y="19"/>
                      <a:pt x="39" y="10"/>
                      <a:pt x="33" y="9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52" name="Freeform 143"/>
              <p:cNvSpPr>
                <a:spLocks/>
              </p:cNvSpPr>
              <p:nvPr/>
            </p:nvSpPr>
            <p:spPr bwMode="auto">
              <a:xfrm>
                <a:off x="5702300" y="1498600"/>
                <a:ext cx="142875" cy="120650"/>
              </a:xfrm>
              <a:custGeom>
                <a:avLst/>
                <a:gdLst>
                  <a:gd name="T0" fmla="*/ 50 w 62"/>
                  <a:gd name="T1" fmla="*/ 19 h 53"/>
                  <a:gd name="T2" fmla="*/ 43 w 62"/>
                  <a:gd name="T3" fmla="*/ 13 h 53"/>
                  <a:gd name="T4" fmla="*/ 31 w 62"/>
                  <a:gd name="T5" fmla="*/ 12 h 53"/>
                  <a:gd name="T6" fmla="*/ 27 w 62"/>
                  <a:gd name="T7" fmla="*/ 19 h 53"/>
                  <a:gd name="T8" fmla="*/ 18 w 62"/>
                  <a:gd name="T9" fmla="*/ 30 h 53"/>
                  <a:gd name="T10" fmla="*/ 14 w 62"/>
                  <a:gd name="T11" fmla="*/ 36 h 53"/>
                  <a:gd name="T12" fmla="*/ 5 w 62"/>
                  <a:gd name="T13" fmla="*/ 39 h 53"/>
                  <a:gd name="T14" fmla="*/ 3 w 62"/>
                  <a:gd name="T15" fmla="*/ 46 h 53"/>
                  <a:gd name="T16" fmla="*/ 14 w 62"/>
                  <a:gd name="T17" fmla="*/ 44 h 53"/>
                  <a:gd name="T18" fmla="*/ 23 w 62"/>
                  <a:gd name="T19" fmla="*/ 35 h 53"/>
                  <a:gd name="T20" fmla="*/ 23 w 62"/>
                  <a:gd name="T21" fmla="*/ 35 h 53"/>
                  <a:gd name="T22" fmla="*/ 24 w 62"/>
                  <a:gd name="T23" fmla="*/ 35 h 53"/>
                  <a:gd name="T24" fmla="*/ 31 w 62"/>
                  <a:gd name="T25" fmla="*/ 32 h 53"/>
                  <a:gd name="T26" fmla="*/ 41 w 62"/>
                  <a:gd name="T27" fmla="*/ 32 h 53"/>
                  <a:gd name="T28" fmla="*/ 50 w 62"/>
                  <a:gd name="T29" fmla="*/ 38 h 53"/>
                  <a:gd name="T30" fmla="*/ 54 w 62"/>
                  <a:gd name="T31" fmla="*/ 30 h 53"/>
                  <a:gd name="T32" fmla="*/ 50 w 62"/>
                  <a:gd name="T33" fmla="*/ 19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2" h="53">
                    <a:moveTo>
                      <a:pt x="50" y="19"/>
                    </a:moveTo>
                    <a:cubicBezTo>
                      <a:pt x="52" y="9"/>
                      <a:pt x="43" y="13"/>
                      <a:pt x="43" y="13"/>
                    </a:cubicBezTo>
                    <a:cubicBezTo>
                      <a:pt x="37" y="0"/>
                      <a:pt x="31" y="12"/>
                      <a:pt x="31" y="12"/>
                    </a:cubicBezTo>
                    <a:cubicBezTo>
                      <a:pt x="23" y="11"/>
                      <a:pt x="27" y="19"/>
                      <a:pt x="27" y="19"/>
                    </a:cubicBezTo>
                    <a:cubicBezTo>
                      <a:pt x="13" y="16"/>
                      <a:pt x="18" y="30"/>
                      <a:pt x="18" y="30"/>
                    </a:cubicBezTo>
                    <a:cubicBezTo>
                      <a:pt x="11" y="30"/>
                      <a:pt x="14" y="36"/>
                      <a:pt x="14" y="36"/>
                    </a:cubicBezTo>
                    <a:cubicBezTo>
                      <a:pt x="6" y="28"/>
                      <a:pt x="5" y="39"/>
                      <a:pt x="5" y="39"/>
                    </a:cubicBezTo>
                    <a:cubicBezTo>
                      <a:pt x="0" y="39"/>
                      <a:pt x="3" y="46"/>
                      <a:pt x="3" y="46"/>
                    </a:cubicBezTo>
                    <a:cubicBezTo>
                      <a:pt x="10" y="53"/>
                      <a:pt x="14" y="44"/>
                      <a:pt x="14" y="44"/>
                    </a:cubicBezTo>
                    <a:cubicBezTo>
                      <a:pt x="25" y="51"/>
                      <a:pt x="23" y="35"/>
                      <a:pt x="23" y="35"/>
                    </a:cubicBezTo>
                    <a:cubicBezTo>
                      <a:pt x="23" y="35"/>
                      <a:pt x="16" y="31"/>
                      <a:pt x="23" y="35"/>
                    </a:cubicBezTo>
                    <a:cubicBezTo>
                      <a:pt x="23" y="35"/>
                      <a:pt x="23" y="35"/>
                      <a:pt x="24" y="35"/>
                    </a:cubicBezTo>
                    <a:cubicBezTo>
                      <a:pt x="30" y="40"/>
                      <a:pt x="31" y="32"/>
                      <a:pt x="31" y="32"/>
                    </a:cubicBezTo>
                    <a:cubicBezTo>
                      <a:pt x="35" y="43"/>
                      <a:pt x="41" y="32"/>
                      <a:pt x="41" y="32"/>
                    </a:cubicBezTo>
                    <a:cubicBezTo>
                      <a:pt x="41" y="47"/>
                      <a:pt x="50" y="38"/>
                      <a:pt x="50" y="38"/>
                    </a:cubicBezTo>
                    <a:cubicBezTo>
                      <a:pt x="62" y="41"/>
                      <a:pt x="54" y="30"/>
                      <a:pt x="54" y="30"/>
                    </a:cubicBezTo>
                    <a:cubicBezTo>
                      <a:pt x="60" y="21"/>
                      <a:pt x="50" y="19"/>
                      <a:pt x="50" y="19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53" name="Freeform 144"/>
              <p:cNvSpPr>
                <a:spLocks/>
              </p:cNvSpPr>
              <p:nvPr/>
            </p:nvSpPr>
            <p:spPr bwMode="auto">
              <a:xfrm>
                <a:off x="5991225" y="1716088"/>
                <a:ext cx="58738" cy="150813"/>
              </a:xfrm>
              <a:custGeom>
                <a:avLst/>
                <a:gdLst>
                  <a:gd name="T0" fmla="*/ 20 w 26"/>
                  <a:gd name="T1" fmla="*/ 4 h 66"/>
                  <a:gd name="T2" fmla="*/ 9 w 26"/>
                  <a:gd name="T3" fmla="*/ 0 h 66"/>
                  <a:gd name="T4" fmla="*/ 0 w 26"/>
                  <a:gd name="T5" fmla="*/ 60 h 66"/>
                  <a:gd name="T6" fmla="*/ 26 w 26"/>
                  <a:gd name="T7" fmla="*/ 60 h 66"/>
                  <a:gd name="T8" fmla="*/ 20 w 26"/>
                  <a:gd name="T9" fmla="*/ 4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" h="66">
                    <a:moveTo>
                      <a:pt x="20" y="4"/>
                    </a:moveTo>
                    <a:cubicBezTo>
                      <a:pt x="20" y="4"/>
                      <a:pt x="19" y="0"/>
                      <a:pt x="9" y="0"/>
                    </a:cubicBezTo>
                    <a:cubicBezTo>
                      <a:pt x="9" y="0"/>
                      <a:pt x="12" y="51"/>
                      <a:pt x="0" y="60"/>
                    </a:cubicBezTo>
                    <a:cubicBezTo>
                      <a:pt x="0" y="60"/>
                      <a:pt x="18" y="66"/>
                      <a:pt x="26" y="60"/>
                    </a:cubicBezTo>
                    <a:cubicBezTo>
                      <a:pt x="26" y="60"/>
                      <a:pt x="16" y="34"/>
                      <a:pt x="20" y="4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54" name="Freeform 145"/>
              <p:cNvSpPr>
                <a:spLocks/>
              </p:cNvSpPr>
              <p:nvPr/>
            </p:nvSpPr>
            <p:spPr bwMode="auto">
              <a:xfrm>
                <a:off x="5970588" y="1477963"/>
                <a:ext cx="98425" cy="114300"/>
              </a:xfrm>
              <a:custGeom>
                <a:avLst/>
                <a:gdLst>
                  <a:gd name="T0" fmla="*/ 31 w 43"/>
                  <a:gd name="T1" fmla="*/ 15 h 50"/>
                  <a:gd name="T2" fmla="*/ 24 w 43"/>
                  <a:gd name="T3" fmla="*/ 0 h 50"/>
                  <a:gd name="T4" fmla="*/ 16 w 43"/>
                  <a:gd name="T5" fmla="*/ 11 h 50"/>
                  <a:gd name="T6" fmla="*/ 13 w 43"/>
                  <a:gd name="T7" fmla="*/ 28 h 50"/>
                  <a:gd name="T8" fmla="*/ 41 w 43"/>
                  <a:gd name="T9" fmla="*/ 20 h 50"/>
                  <a:gd name="T10" fmla="*/ 31 w 43"/>
                  <a:gd name="T11" fmla="*/ 15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3" h="50">
                    <a:moveTo>
                      <a:pt x="31" y="15"/>
                    </a:moveTo>
                    <a:cubicBezTo>
                      <a:pt x="33" y="0"/>
                      <a:pt x="24" y="0"/>
                      <a:pt x="24" y="0"/>
                    </a:cubicBezTo>
                    <a:cubicBezTo>
                      <a:pt x="16" y="1"/>
                      <a:pt x="16" y="11"/>
                      <a:pt x="16" y="11"/>
                    </a:cubicBezTo>
                    <a:cubicBezTo>
                      <a:pt x="0" y="20"/>
                      <a:pt x="13" y="28"/>
                      <a:pt x="13" y="28"/>
                    </a:cubicBezTo>
                    <a:cubicBezTo>
                      <a:pt x="43" y="50"/>
                      <a:pt x="41" y="20"/>
                      <a:pt x="41" y="20"/>
                    </a:cubicBezTo>
                    <a:cubicBezTo>
                      <a:pt x="39" y="10"/>
                      <a:pt x="31" y="15"/>
                      <a:pt x="31" y="15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55" name="Freeform 146"/>
              <p:cNvSpPr>
                <a:spLocks/>
              </p:cNvSpPr>
              <p:nvPr/>
            </p:nvSpPr>
            <p:spPr bwMode="auto">
              <a:xfrm>
                <a:off x="5997575" y="1549400"/>
                <a:ext cx="3175" cy="6350"/>
              </a:xfrm>
              <a:custGeom>
                <a:avLst/>
                <a:gdLst>
                  <a:gd name="T0" fmla="*/ 0 w 1"/>
                  <a:gd name="T1" fmla="*/ 0 h 3"/>
                  <a:gd name="T2" fmla="*/ 1 w 1"/>
                  <a:gd name="T3" fmla="*/ 3 h 3"/>
                  <a:gd name="T4" fmla="*/ 0 w 1"/>
                  <a:gd name="T5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3">
                    <a:moveTo>
                      <a:pt x="0" y="0"/>
                    </a:moveTo>
                    <a:cubicBezTo>
                      <a:pt x="0" y="1"/>
                      <a:pt x="1" y="2"/>
                      <a:pt x="1" y="3"/>
                    </a:cubicBezTo>
                    <a:cubicBezTo>
                      <a:pt x="1" y="3"/>
                      <a:pt x="1" y="1"/>
                      <a:pt x="0" y="0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56" name="Freeform 147"/>
              <p:cNvSpPr>
                <a:spLocks/>
              </p:cNvSpPr>
              <p:nvPr/>
            </p:nvSpPr>
            <p:spPr bwMode="auto">
              <a:xfrm>
                <a:off x="5946775" y="1524000"/>
                <a:ext cx="155575" cy="212725"/>
              </a:xfrm>
              <a:custGeom>
                <a:avLst/>
                <a:gdLst>
                  <a:gd name="T0" fmla="*/ 55 w 68"/>
                  <a:gd name="T1" fmla="*/ 42 h 93"/>
                  <a:gd name="T2" fmla="*/ 54 w 68"/>
                  <a:gd name="T3" fmla="*/ 34 h 93"/>
                  <a:gd name="T4" fmla="*/ 49 w 68"/>
                  <a:gd name="T5" fmla="*/ 18 h 93"/>
                  <a:gd name="T6" fmla="*/ 46 w 68"/>
                  <a:gd name="T7" fmla="*/ 7 h 93"/>
                  <a:gd name="T8" fmla="*/ 37 w 68"/>
                  <a:gd name="T9" fmla="*/ 12 h 93"/>
                  <a:gd name="T10" fmla="*/ 28 w 68"/>
                  <a:gd name="T11" fmla="*/ 0 h 93"/>
                  <a:gd name="T12" fmla="*/ 22 w 68"/>
                  <a:gd name="T13" fmla="*/ 11 h 93"/>
                  <a:gd name="T14" fmla="*/ 23 w 68"/>
                  <a:gd name="T15" fmla="*/ 14 h 93"/>
                  <a:gd name="T16" fmla="*/ 22 w 68"/>
                  <a:gd name="T17" fmla="*/ 11 h 93"/>
                  <a:gd name="T18" fmla="*/ 18 w 68"/>
                  <a:gd name="T19" fmla="*/ 8 h 93"/>
                  <a:gd name="T20" fmla="*/ 15 w 68"/>
                  <a:gd name="T21" fmla="*/ 21 h 93"/>
                  <a:gd name="T22" fmla="*/ 10 w 68"/>
                  <a:gd name="T23" fmla="*/ 33 h 93"/>
                  <a:gd name="T24" fmla="*/ 8 w 68"/>
                  <a:gd name="T25" fmla="*/ 51 h 93"/>
                  <a:gd name="T26" fmla="*/ 12 w 68"/>
                  <a:gd name="T27" fmla="*/ 64 h 93"/>
                  <a:gd name="T28" fmla="*/ 9 w 68"/>
                  <a:gd name="T29" fmla="*/ 79 h 93"/>
                  <a:gd name="T30" fmla="*/ 31 w 68"/>
                  <a:gd name="T31" fmla="*/ 78 h 93"/>
                  <a:gd name="T32" fmla="*/ 48 w 68"/>
                  <a:gd name="T33" fmla="*/ 79 h 93"/>
                  <a:gd name="T34" fmla="*/ 59 w 68"/>
                  <a:gd name="T35" fmla="*/ 71 h 93"/>
                  <a:gd name="T36" fmla="*/ 57 w 68"/>
                  <a:gd name="T37" fmla="*/ 59 h 93"/>
                  <a:gd name="T38" fmla="*/ 55 w 68"/>
                  <a:gd name="T39" fmla="*/ 42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68" h="93">
                    <a:moveTo>
                      <a:pt x="55" y="42"/>
                    </a:moveTo>
                    <a:cubicBezTo>
                      <a:pt x="55" y="42"/>
                      <a:pt x="64" y="40"/>
                      <a:pt x="54" y="34"/>
                    </a:cubicBezTo>
                    <a:cubicBezTo>
                      <a:pt x="54" y="34"/>
                      <a:pt x="67" y="18"/>
                      <a:pt x="49" y="18"/>
                    </a:cubicBezTo>
                    <a:cubicBezTo>
                      <a:pt x="49" y="18"/>
                      <a:pt x="54" y="11"/>
                      <a:pt x="46" y="7"/>
                    </a:cubicBezTo>
                    <a:cubicBezTo>
                      <a:pt x="46" y="7"/>
                      <a:pt x="39" y="3"/>
                      <a:pt x="37" y="12"/>
                    </a:cubicBezTo>
                    <a:cubicBezTo>
                      <a:pt x="37" y="12"/>
                      <a:pt x="38" y="3"/>
                      <a:pt x="28" y="0"/>
                    </a:cubicBezTo>
                    <a:cubicBezTo>
                      <a:pt x="28" y="0"/>
                      <a:pt x="20" y="1"/>
                      <a:pt x="22" y="11"/>
                    </a:cubicBezTo>
                    <a:cubicBezTo>
                      <a:pt x="23" y="12"/>
                      <a:pt x="23" y="14"/>
                      <a:pt x="23" y="14"/>
                    </a:cubicBezTo>
                    <a:cubicBezTo>
                      <a:pt x="23" y="13"/>
                      <a:pt x="22" y="12"/>
                      <a:pt x="22" y="11"/>
                    </a:cubicBezTo>
                    <a:cubicBezTo>
                      <a:pt x="22" y="9"/>
                      <a:pt x="20" y="7"/>
                      <a:pt x="18" y="8"/>
                    </a:cubicBezTo>
                    <a:cubicBezTo>
                      <a:pt x="18" y="8"/>
                      <a:pt x="11" y="12"/>
                      <a:pt x="15" y="21"/>
                    </a:cubicBezTo>
                    <a:cubicBezTo>
                      <a:pt x="15" y="21"/>
                      <a:pt x="6" y="21"/>
                      <a:pt x="10" y="33"/>
                    </a:cubicBezTo>
                    <a:cubicBezTo>
                      <a:pt x="10" y="33"/>
                      <a:pt x="0" y="39"/>
                      <a:pt x="8" y="51"/>
                    </a:cubicBezTo>
                    <a:cubicBezTo>
                      <a:pt x="8" y="51"/>
                      <a:pt x="3" y="56"/>
                      <a:pt x="12" y="64"/>
                    </a:cubicBezTo>
                    <a:cubicBezTo>
                      <a:pt x="12" y="64"/>
                      <a:pt x="3" y="69"/>
                      <a:pt x="9" y="79"/>
                    </a:cubicBezTo>
                    <a:cubicBezTo>
                      <a:pt x="9" y="79"/>
                      <a:pt x="19" y="93"/>
                      <a:pt x="31" y="78"/>
                    </a:cubicBezTo>
                    <a:cubicBezTo>
                      <a:pt x="31" y="78"/>
                      <a:pt x="34" y="71"/>
                      <a:pt x="48" y="79"/>
                    </a:cubicBezTo>
                    <a:cubicBezTo>
                      <a:pt x="48" y="79"/>
                      <a:pt x="55" y="82"/>
                      <a:pt x="59" y="71"/>
                    </a:cubicBezTo>
                    <a:cubicBezTo>
                      <a:pt x="59" y="71"/>
                      <a:pt x="62" y="64"/>
                      <a:pt x="57" y="59"/>
                    </a:cubicBezTo>
                    <a:cubicBezTo>
                      <a:pt x="57" y="59"/>
                      <a:pt x="68" y="49"/>
                      <a:pt x="55" y="42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57" name="Freeform 148"/>
              <p:cNvSpPr>
                <a:spLocks/>
              </p:cNvSpPr>
              <p:nvPr/>
            </p:nvSpPr>
            <p:spPr bwMode="auto">
              <a:xfrm>
                <a:off x="5976938" y="1582738"/>
                <a:ext cx="103188" cy="185738"/>
              </a:xfrm>
              <a:custGeom>
                <a:avLst/>
                <a:gdLst>
                  <a:gd name="T0" fmla="*/ 33 w 45"/>
                  <a:gd name="T1" fmla="*/ 35 h 81"/>
                  <a:gd name="T2" fmla="*/ 34 w 45"/>
                  <a:gd name="T3" fmla="*/ 19 h 81"/>
                  <a:gd name="T4" fmla="*/ 29 w 45"/>
                  <a:gd name="T5" fmla="*/ 3 h 81"/>
                  <a:gd name="T6" fmla="*/ 18 w 45"/>
                  <a:gd name="T7" fmla="*/ 11 h 81"/>
                  <a:gd name="T8" fmla="*/ 6 w 45"/>
                  <a:gd name="T9" fmla="*/ 15 h 81"/>
                  <a:gd name="T10" fmla="*/ 8 w 45"/>
                  <a:gd name="T11" fmla="*/ 23 h 81"/>
                  <a:gd name="T12" fmla="*/ 7 w 45"/>
                  <a:gd name="T13" fmla="*/ 37 h 81"/>
                  <a:gd name="T14" fmla="*/ 0 w 45"/>
                  <a:gd name="T15" fmla="*/ 48 h 81"/>
                  <a:gd name="T16" fmla="*/ 6 w 45"/>
                  <a:gd name="T17" fmla="*/ 53 h 81"/>
                  <a:gd name="T18" fmla="*/ 14 w 45"/>
                  <a:gd name="T19" fmla="*/ 63 h 81"/>
                  <a:gd name="T20" fmla="*/ 31 w 45"/>
                  <a:gd name="T21" fmla="*/ 62 h 81"/>
                  <a:gd name="T22" fmla="*/ 34 w 45"/>
                  <a:gd name="T23" fmla="*/ 50 h 81"/>
                  <a:gd name="T24" fmla="*/ 33 w 45"/>
                  <a:gd name="T25" fmla="*/ 35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5" h="81">
                    <a:moveTo>
                      <a:pt x="33" y="35"/>
                    </a:moveTo>
                    <a:cubicBezTo>
                      <a:pt x="33" y="35"/>
                      <a:pt x="45" y="29"/>
                      <a:pt x="34" y="19"/>
                    </a:cubicBezTo>
                    <a:cubicBezTo>
                      <a:pt x="34" y="19"/>
                      <a:pt x="39" y="10"/>
                      <a:pt x="29" y="3"/>
                    </a:cubicBezTo>
                    <a:cubicBezTo>
                      <a:pt x="29" y="3"/>
                      <a:pt x="20" y="0"/>
                      <a:pt x="18" y="11"/>
                    </a:cubicBezTo>
                    <a:cubicBezTo>
                      <a:pt x="18" y="11"/>
                      <a:pt x="12" y="4"/>
                      <a:pt x="6" y="15"/>
                    </a:cubicBezTo>
                    <a:cubicBezTo>
                      <a:pt x="6" y="15"/>
                      <a:pt x="5" y="20"/>
                      <a:pt x="8" y="23"/>
                    </a:cubicBezTo>
                    <a:cubicBezTo>
                      <a:pt x="8" y="23"/>
                      <a:pt x="1" y="27"/>
                      <a:pt x="7" y="37"/>
                    </a:cubicBezTo>
                    <a:cubicBezTo>
                      <a:pt x="7" y="37"/>
                      <a:pt x="1" y="36"/>
                      <a:pt x="0" y="48"/>
                    </a:cubicBezTo>
                    <a:cubicBezTo>
                      <a:pt x="0" y="48"/>
                      <a:pt x="0" y="54"/>
                      <a:pt x="6" y="53"/>
                    </a:cubicBezTo>
                    <a:cubicBezTo>
                      <a:pt x="6" y="53"/>
                      <a:pt x="1" y="67"/>
                      <a:pt x="14" y="63"/>
                    </a:cubicBezTo>
                    <a:cubicBezTo>
                      <a:pt x="14" y="63"/>
                      <a:pt x="21" y="81"/>
                      <a:pt x="31" y="62"/>
                    </a:cubicBezTo>
                    <a:cubicBezTo>
                      <a:pt x="31" y="62"/>
                      <a:pt x="43" y="59"/>
                      <a:pt x="34" y="50"/>
                    </a:cubicBezTo>
                    <a:cubicBezTo>
                      <a:pt x="34" y="50"/>
                      <a:pt x="45" y="43"/>
                      <a:pt x="33" y="35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58" name="Freeform 149"/>
              <p:cNvSpPr>
                <a:spLocks/>
              </p:cNvSpPr>
              <p:nvPr/>
            </p:nvSpPr>
            <p:spPr bwMode="auto">
              <a:xfrm>
                <a:off x="5754688" y="1539875"/>
                <a:ext cx="119063" cy="179388"/>
              </a:xfrm>
              <a:custGeom>
                <a:avLst/>
                <a:gdLst>
                  <a:gd name="T0" fmla="*/ 41 w 52"/>
                  <a:gd name="T1" fmla="*/ 37 h 78"/>
                  <a:gd name="T2" fmla="*/ 32 w 52"/>
                  <a:gd name="T3" fmla="*/ 24 h 78"/>
                  <a:gd name="T4" fmla="*/ 24 w 52"/>
                  <a:gd name="T5" fmla="*/ 14 h 78"/>
                  <a:gd name="T6" fmla="*/ 10 w 52"/>
                  <a:gd name="T7" fmla="*/ 7 h 78"/>
                  <a:gd name="T8" fmla="*/ 10 w 52"/>
                  <a:gd name="T9" fmla="*/ 31 h 78"/>
                  <a:gd name="T10" fmla="*/ 17 w 52"/>
                  <a:gd name="T11" fmla="*/ 52 h 78"/>
                  <a:gd name="T12" fmla="*/ 23 w 52"/>
                  <a:gd name="T13" fmla="*/ 65 h 78"/>
                  <a:gd name="T14" fmla="*/ 32 w 52"/>
                  <a:gd name="T15" fmla="*/ 78 h 78"/>
                  <a:gd name="T16" fmla="*/ 38 w 52"/>
                  <a:gd name="T17" fmla="*/ 68 h 78"/>
                  <a:gd name="T18" fmla="*/ 41 w 52"/>
                  <a:gd name="T19" fmla="*/ 52 h 78"/>
                  <a:gd name="T20" fmla="*/ 41 w 52"/>
                  <a:gd name="T21" fmla="*/ 37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2" h="78">
                    <a:moveTo>
                      <a:pt x="41" y="37"/>
                    </a:moveTo>
                    <a:cubicBezTo>
                      <a:pt x="47" y="19"/>
                      <a:pt x="32" y="24"/>
                      <a:pt x="32" y="24"/>
                    </a:cubicBezTo>
                    <a:cubicBezTo>
                      <a:pt x="33" y="14"/>
                      <a:pt x="24" y="14"/>
                      <a:pt x="24" y="14"/>
                    </a:cubicBezTo>
                    <a:cubicBezTo>
                      <a:pt x="22" y="0"/>
                      <a:pt x="10" y="7"/>
                      <a:pt x="10" y="7"/>
                    </a:cubicBezTo>
                    <a:cubicBezTo>
                      <a:pt x="3" y="11"/>
                      <a:pt x="10" y="31"/>
                      <a:pt x="10" y="31"/>
                    </a:cubicBezTo>
                    <a:cubicBezTo>
                      <a:pt x="0" y="39"/>
                      <a:pt x="17" y="52"/>
                      <a:pt x="17" y="52"/>
                    </a:cubicBezTo>
                    <a:cubicBezTo>
                      <a:pt x="10" y="60"/>
                      <a:pt x="23" y="65"/>
                      <a:pt x="23" y="65"/>
                    </a:cubicBezTo>
                    <a:cubicBezTo>
                      <a:pt x="21" y="78"/>
                      <a:pt x="32" y="78"/>
                      <a:pt x="32" y="78"/>
                    </a:cubicBezTo>
                    <a:cubicBezTo>
                      <a:pt x="40" y="78"/>
                      <a:pt x="38" y="68"/>
                      <a:pt x="38" y="68"/>
                    </a:cubicBezTo>
                    <a:cubicBezTo>
                      <a:pt x="51" y="62"/>
                      <a:pt x="41" y="52"/>
                      <a:pt x="41" y="52"/>
                    </a:cubicBezTo>
                    <a:cubicBezTo>
                      <a:pt x="52" y="44"/>
                      <a:pt x="41" y="37"/>
                      <a:pt x="41" y="37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59" name="Freeform 150"/>
              <p:cNvSpPr>
                <a:spLocks/>
              </p:cNvSpPr>
              <p:nvPr/>
            </p:nvSpPr>
            <p:spPr bwMode="auto">
              <a:xfrm>
                <a:off x="5762625" y="1746250"/>
                <a:ext cx="0" cy="1588"/>
              </a:xfrm>
              <a:custGeom>
                <a:avLst/>
                <a:gdLst>
                  <a:gd name="T0" fmla="*/ 0 h 1"/>
                  <a:gd name="T1" fmla="*/ 1 h 1"/>
                  <a:gd name="T2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0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60" name="Freeform 151"/>
              <p:cNvSpPr>
                <a:spLocks/>
              </p:cNvSpPr>
              <p:nvPr/>
            </p:nvSpPr>
            <p:spPr bwMode="auto">
              <a:xfrm>
                <a:off x="5753100" y="1755775"/>
                <a:ext cx="0" cy="1588"/>
              </a:xfrm>
              <a:custGeom>
                <a:avLst/>
                <a:gdLst>
                  <a:gd name="T0" fmla="*/ 0 h 1"/>
                  <a:gd name="T1" fmla="*/ 1 h 1"/>
                  <a:gd name="T2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61" name="Freeform 152"/>
              <p:cNvSpPr>
                <a:spLocks/>
              </p:cNvSpPr>
              <p:nvPr/>
            </p:nvSpPr>
            <p:spPr bwMode="auto">
              <a:xfrm>
                <a:off x="5726113" y="1704975"/>
                <a:ext cx="57150" cy="150813"/>
              </a:xfrm>
              <a:custGeom>
                <a:avLst/>
                <a:gdLst>
                  <a:gd name="T0" fmla="*/ 23 w 25"/>
                  <a:gd name="T1" fmla="*/ 6 h 66"/>
                  <a:gd name="T2" fmla="*/ 16 w 25"/>
                  <a:gd name="T3" fmla="*/ 18 h 66"/>
                  <a:gd name="T4" fmla="*/ 16 w 25"/>
                  <a:gd name="T5" fmla="*/ 19 h 66"/>
                  <a:gd name="T6" fmla="*/ 16 w 25"/>
                  <a:gd name="T7" fmla="*/ 18 h 66"/>
                  <a:gd name="T8" fmla="*/ 14 w 25"/>
                  <a:gd name="T9" fmla="*/ 0 h 66"/>
                  <a:gd name="T10" fmla="*/ 10 w 25"/>
                  <a:gd name="T11" fmla="*/ 2 h 66"/>
                  <a:gd name="T12" fmla="*/ 12 w 25"/>
                  <a:gd name="T13" fmla="*/ 22 h 66"/>
                  <a:gd name="T14" fmla="*/ 12 w 25"/>
                  <a:gd name="T15" fmla="*/ 23 h 66"/>
                  <a:gd name="T16" fmla="*/ 12 w 25"/>
                  <a:gd name="T17" fmla="*/ 22 h 66"/>
                  <a:gd name="T18" fmla="*/ 1 w 25"/>
                  <a:gd name="T19" fmla="*/ 3 h 66"/>
                  <a:gd name="T20" fmla="*/ 0 w 25"/>
                  <a:gd name="T21" fmla="*/ 9 h 66"/>
                  <a:gd name="T22" fmla="*/ 10 w 25"/>
                  <a:gd name="T23" fmla="*/ 30 h 66"/>
                  <a:gd name="T24" fmla="*/ 8 w 25"/>
                  <a:gd name="T25" fmla="*/ 66 h 66"/>
                  <a:gd name="T26" fmla="*/ 21 w 25"/>
                  <a:gd name="T27" fmla="*/ 66 h 66"/>
                  <a:gd name="T28" fmla="*/ 23 w 25"/>
                  <a:gd name="T29" fmla="*/ 66 h 66"/>
                  <a:gd name="T30" fmla="*/ 20 w 25"/>
                  <a:gd name="T31" fmla="*/ 39 h 66"/>
                  <a:gd name="T32" fmla="*/ 25 w 25"/>
                  <a:gd name="T33" fmla="*/ 12 h 66"/>
                  <a:gd name="T34" fmla="*/ 23 w 25"/>
                  <a:gd name="T35" fmla="*/ 6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5" h="66">
                    <a:moveTo>
                      <a:pt x="23" y="6"/>
                    </a:moveTo>
                    <a:cubicBezTo>
                      <a:pt x="18" y="10"/>
                      <a:pt x="16" y="17"/>
                      <a:pt x="16" y="18"/>
                    </a:cubicBezTo>
                    <a:cubicBezTo>
                      <a:pt x="16" y="19"/>
                      <a:pt x="16" y="19"/>
                      <a:pt x="16" y="19"/>
                    </a:cubicBezTo>
                    <a:cubicBezTo>
                      <a:pt x="16" y="19"/>
                      <a:pt x="16" y="19"/>
                      <a:pt x="16" y="18"/>
                    </a:cubicBezTo>
                    <a:cubicBezTo>
                      <a:pt x="16" y="16"/>
                      <a:pt x="14" y="0"/>
                      <a:pt x="14" y="0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2" y="5"/>
                      <a:pt x="12" y="18"/>
                      <a:pt x="12" y="22"/>
                    </a:cubicBezTo>
                    <a:cubicBezTo>
                      <a:pt x="12" y="22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2"/>
                    </a:cubicBezTo>
                    <a:cubicBezTo>
                      <a:pt x="12" y="14"/>
                      <a:pt x="1" y="3"/>
                      <a:pt x="1" y="3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4" y="10"/>
                      <a:pt x="7" y="20"/>
                      <a:pt x="10" y="30"/>
                    </a:cubicBezTo>
                    <a:cubicBezTo>
                      <a:pt x="12" y="41"/>
                      <a:pt x="8" y="66"/>
                      <a:pt x="8" y="66"/>
                    </a:cubicBezTo>
                    <a:cubicBezTo>
                      <a:pt x="21" y="66"/>
                      <a:pt x="21" y="66"/>
                      <a:pt x="21" y="66"/>
                    </a:cubicBezTo>
                    <a:cubicBezTo>
                      <a:pt x="23" y="66"/>
                      <a:pt x="23" y="66"/>
                      <a:pt x="23" y="66"/>
                    </a:cubicBezTo>
                    <a:cubicBezTo>
                      <a:pt x="22" y="62"/>
                      <a:pt x="20" y="39"/>
                      <a:pt x="20" y="39"/>
                    </a:cubicBezTo>
                    <a:cubicBezTo>
                      <a:pt x="19" y="18"/>
                      <a:pt x="25" y="12"/>
                      <a:pt x="25" y="12"/>
                    </a:cubicBezTo>
                    <a:lnTo>
                      <a:pt x="23" y="6"/>
                    </a:ln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62" name="Freeform 153"/>
              <p:cNvSpPr>
                <a:spLocks/>
              </p:cNvSpPr>
              <p:nvPr/>
            </p:nvSpPr>
            <p:spPr bwMode="auto">
              <a:xfrm>
                <a:off x="5783263" y="1612900"/>
                <a:ext cx="58738" cy="87313"/>
              </a:xfrm>
              <a:custGeom>
                <a:avLst/>
                <a:gdLst>
                  <a:gd name="T0" fmla="*/ 18 w 26"/>
                  <a:gd name="T1" fmla="*/ 13 h 38"/>
                  <a:gd name="T2" fmla="*/ 9 w 26"/>
                  <a:gd name="T3" fmla="*/ 3 h 38"/>
                  <a:gd name="T4" fmla="*/ 11 w 26"/>
                  <a:gd name="T5" fmla="*/ 35 h 38"/>
                  <a:gd name="T6" fmla="*/ 19 w 26"/>
                  <a:gd name="T7" fmla="*/ 24 h 38"/>
                  <a:gd name="T8" fmla="*/ 18 w 26"/>
                  <a:gd name="T9" fmla="*/ 13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" h="38">
                    <a:moveTo>
                      <a:pt x="18" y="13"/>
                    </a:moveTo>
                    <a:cubicBezTo>
                      <a:pt x="23" y="0"/>
                      <a:pt x="9" y="3"/>
                      <a:pt x="9" y="3"/>
                    </a:cubicBezTo>
                    <a:cubicBezTo>
                      <a:pt x="0" y="5"/>
                      <a:pt x="11" y="35"/>
                      <a:pt x="11" y="35"/>
                    </a:cubicBezTo>
                    <a:cubicBezTo>
                      <a:pt x="24" y="38"/>
                      <a:pt x="19" y="24"/>
                      <a:pt x="19" y="24"/>
                    </a:cubicBezTo>
                    <a:cubicBezTo>
                      <a:pt x="26" y="17"/>
                      <a:pt x="18" y="13"/>
                      <a:pt x="18" y="13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63" name="Freeform 154"/>
              <p:cNvSpPr>
                <a:spLocks/>
              </p:cNvSpPr>
              <p:nvPr/>
            </p:nvSpPr>
            <p:spPr bwMode="auto">
              <a:xfrm>
                <a:off x="5710238" y="1528763"/>
                <a:ext cx="95250" cy="119063"/>
              </a:xfrm>
              <a:custGeom>
                <a:avLst/>
                <a:gdLst>
                  <a:gd name="T0" fmla="*/ 36 w 42"/>
                  <a:gd name="T1" fmla="*/ 37 h 52"/>
                  <a:gd name="T2" fmla="*/ 38 w 42"/>
                  <a:gd name="T3" fmla="*/ 29 h 52"/>
                  <a:gd name="T4" fmla="*/ 31 w 42"/>
                  <a:gd name="T5" fmla="*/ 25 h 52"/>
                  <a:gd name="T6" fmla="*/ 30 w 42"/>
                  <a:gd name="T7" fmla="*/ 25 h 52"/>
                  <a:gd name="T8" fmla="*/ 31 w 42"/>
                  <a:gd name="T9" fmla="*/ 25 h 52"/>
                  <a:gd name="T10" fmla="*/ 33 w 42"/>
                  <a:gd name="T11" fmla="*/ 16 h 52"/>
                  <a:gd name="T12" fmla="*/ 20 w 42"/>
                  <a:gd name="T13" fmla="*/ 9 h 52"/>
                  <a:gd name="T14" fmla="*/ 10 w 42"/>
                  <a:gd name="T15" fmla="*/ 2 h 52"/>
                  <a:gd name="T16" fmla="*/ 5 w 42"/>
                  <a:gd name="T17" fmla="*/ 9 h 52"/>
                  <a:gd name="T18" fmla="*/ 9 w 42"/>
                  <a:gd name="T19" fmla="*/ 19 h 52"/>
                  <a:gd name="T20" fmla="*/ 14 w 42"/>
                  <a:gd name="T21" fmla="*/ 28 h 52"/>
                  <a:gd name="T22" fmla="*/ 21 w 42"/>
                  <a:gd name="T23" fmla="*/ 40 h 52"/>
                  <a:gd name="T24" fmla="*/ 32 w 42"/>
                  <a:gd name="T25" fmla="*/ 52 h 52"/>
                  <a:gd name="T26" fmla="*/ 41 w 42"/>
                  <a:gd name="T27" fmla="*/ 45 h 52"/>
                  <a:gd name="T28" fmla="*/ 36 w 42"/>
                  <a:gd name="T29" fmla="*/ 37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2" h="52">
                    <a:moveTo>
                      <a:pt x="36" y="37"/>
                    </a:moveTo>
                    <a:cubicBezTo>
                      <a:pt x="39" y="31"/>
                      <a:pt x="38" y="29"/>
                      <a:pt x="38" y="29"/>
                    </a:cubicBezTo>
                    <a:cubicBezTo>
                      <a:pt x="37" y="24"/>
                      <a:pt x="33" y="24"/>
                      <a:pt x="31" y="25"/>
                    </a:cubicBezTo>
                    <a:cubicBezTo>
                      <a:pt x="30" y="25"/>
                      <a:pt x="30" y="25"/>
                      <a:pt x="30" y="25"/>
                    </a:cubicBezTo>
                    <a:cubicBezTo>
                      <a:pt x="30" y="25"/>
                      <a:pt x="30" y="25"/>
                      <a:pt x="31" y="25"/>
                    </a:cubicBezTo>
                    <a:cubicBezTo>
                      <a:pt x="34" y="23"/>
                      <a:pt x="33" y="16"/>
                      <a:pt x="33" y="16"/>
                    </a:cubicBezTo>
                    <a:cubicBezTo>
                      <a:pt x="31" y="5"/>
                      <a:pt x="20" y="9"/>
                      <a:pt x="20" y="9"/>
                    </a:cubicBezTo>
                    <a:cubicBezTo>
                      <a:pt x="20" y="0"/>
                      <a:pt x="10" y="2"/>
                      <a:pt x="10" y="2"/>
                    </a:cubicBezTo>
                    <a:cubicBezTo>
                      <a:pt x="4" y="2"/>
                      <a:pt x="5" y="9"/>
                      <a:pt x="5" y="9"/>
                    </a:cubicBezTo>
                    <a:cubicBezTo>
                      <a:pt x="4" y="13"/>
                      <a:pt x="9" y="19"/>
                      <a:pt x="9" y="19"/>
                    </a:cubicBezTo>
                    <a:cubicBezTo>
                      <a:pt x="0" y="33"/>
                      <a:pt x="14" y="28"/>
                      <a:pt x="14" y="28"/>
                    </a:cubicBezTo>
                    <a:cubicBezTo>
                      <a:pt x="4" y="36"/>
                      <a:pt x="21" y="40"/>
                      <a:pt x="21" y="40"/>
                    </a:cubicBezTo>
                    <a:cubicBezTo>
                      <a:pt x="18" y="52"/>
                      <a:pt x="32" y="52"/>
                      <a:pt x="32" y="52"/>
                    </a:cubicBezTo>
                    <a:cubicBezTo>
                      <a:pt x="40" y="52"/>
                      <a:pt x="41" y="45"/>
                      <a:pt x="41" y="45"/>
                    </a:cubicBezTo>
                    <a:cubicBezTo>
                      <a:pt x="42" y="40"/>
                      <a:pt x="36" y="37"/>
                      <a:pt x="36" y="37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64" name="Freeform 155"/>
              <p:cNvSpPr>
                <a:spLocks/>
              </p:cNvSpPr>
              <p:nvPr/>
            </p:nvSpPr>
            <p:spPr bwMode="auto">
              <a:xfrm>
                <a:off x="5778500" y="1585913"/>
                <a:ext cx="1588" cy="0"/>
              </a:xfrm>
              <a:custGeom>
                <a:avLst/>
                <a:gdLst>
                  <a:gd name="T0" fmla="*/ 1 w 1"/>
                  <a:gd name="T1" fmla="*/ 0 w 1"/>
                  <a:gd name="T2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1" y="0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65" name="Freeform 156"/>
              <p:cNvSpPr>
                <a:spLocks/>
              </p:cNvSpPr>
              <p:nvPr/>
            </p:nvSpPr>
            <p:spPr bwMode="auto">
              <a:xfrm>
                <a:off x="5653088" y="1541463"/>
                <a:ext cx="117475" cy="117475"/>
              </a:xfrm>
              <a:custGeom>
                <a:avLst/>
                <a:gdLst>
                  <a:gd name="T0" fmla="*/ 41 w 52"/>
                  <a:gd name="T1" fmla="*/ 16 h 51"/>
                  <a:gd name="T2" fmla="*/ 33 w 52"/>
                  <a:gd name="T3" fmla="*/ 10 h 51"/>
                  <a:gd name="T4" fmla="*/ 26 w 52"/>
                  <a:gd name="T5" fmla="*/ 1 h 51"/>
                  <a:gd name="T6" fmla="*/ 19 w 52"/>
                  <a:gd name="T7" fmla="*/ 9 h 51"/>
                  <a:gd name="T8" fmla="*/ 10 w 52"/>
                  <a:gd name="T9" fmla="*/ 18 h 51"/>
                  <a:gd name="T10" fmla="*/ 15 w 52"/>
                  <a:gd name="T11" fmla="*/ 34 h 51"/>
                  <a:gd name="T12" fmla="*/ 24 w 52"/>
                  <a:gd name="T13" fmla="*/ 42 h 51"/>
                  <a:gd name="T14" fmla="*/ 36 w 52"/>
                  <a:gd name="T15" fmla="*/ 39 h 51"/>
                  <a:gd name="T16" fmla="*/ 41 w 52"/>
                  <a:gd name="T17" fmla="*/ 26 h 51"/>
                  <a:gd name="T18" fmla="*/ 41 w 52"/>
                  <a:gd name="T19" fmla="*/ 16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2" h="51">
                    <a:moveTo>
                      <a:pt x="41" y="16"/>
                    </a:moveTo>
                    <a:cubicBezTo>
                      <a:pt x="41" y="7"/>
                      <a:pt x="33" y="10"/>
                      <a:pt x="33" y="10"/>
                    </a:cubicBezTo>
                    <a:cubicBezTo>
                      <a:pt x="32" y="0"/>
                      <a:pt x="26" y="1"/>
                      <a:pt x="26" y="1"/>
                    </a:cubicBezTo>
                    <a:cubicBezTo>
                      <a:pt x="20" y="1"/>
                      <a:pt x="19" y="9"/>
                      <a:pt x="19" y="9"/>
                    </a:cubicBezTo>
                    <a:cubicBezTo>
                      <a:pt x="8" y="9"/>
                      <a:pt x="10" y="18"/>
                      <a:pt x="10" y="18"/>
                    </a:cubicBezTo>
                    <a:cubicBezTo>
                      <a:pt x="0" y="28"/>
                      <a:pt x="15" y="34"/>
                      <a:pt x="15" y="34"/>
                    </a:cubicBezTo>
                    <a:cubicBezTo>
                      <a:pt x="12" y="46"/>
                      <a:pt x="24" y="42"/>
                      <a:pt x="24" y="42"/>
                    </a:cubicBezTo>
                    <a:cubicBezTo>
                      <a:pt x="32" y="51"/>
                      <a:pt x="36" y="39"/>
                      <a:pt x="36" y="39"/>
                    </a:cubicBezTo>
                    <a:cubicBezTo>
                      <a:pt x="43" y="40"/>
                      <a:pt x="41" y="26"/>
                      <a:pt x="41" y="26"/>
                    </a:cubicBezTo>
                    <a:cubicBezTo>
                      <a:pt x="52" y="20"/>
                      <a:pt x="41" y="16"/>
                      <a:pt x="41" y="16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66" name="Freeform 157"/>
              <p:cNvSpPr>
                <a:spLocks/>
              </p:cNvSpPr>
              <p:nvPr/>
            </p:nvSpPr>
            <p:spPr bwMode="auto">
              <a:xfrm>
                <a:off x="5619750" y="1582738"/>
                <a:ext cx="111125" cy="111125"/>
              </a:xfrm>
              <a:custGeom>
                <a:avLst/>
                <a:gdLst>
                  <a:gd name="T0" fmla="*/ 37 w 48"/>
                  <a:gd name="T1" fmla="*/ 20 h 48"/>
                  <a:gd name="T2" fmla="*/ 38 w 48"/>
                  <a:gd name="T3" fmla="*/ 12 h 48"/>
                  <a:gd name="T4" fmla="*/ 28 w 48"/>
                  <a:gd name="T5" fmla="*/ 10 h 48"/>
                  <a:gd name="T6" fmla="*/ 22 w 48"/>
                  <a:gd name="T7" fmla="*/ 0 h 48"/>
                  <a:gd name="T8" fmla="*/ 15 w 48"/>
                  <a:gd name="T9" fmla="*/ 9 h 48"/>
                  <a:gd name="T10" fmla="*/ 10 w 48"/>
                  <a:gd name="T11" fmla="*/ 18 h 48"/>
                  <a:gd name="T12" fmla="*/ 8 w 48"/>
                  <a:gd name="T13" fmla="*/ 33 h 48"/>
                  <a:gd name="T14" fmla="*/ 10 w 48"/>
                  <a:gd name="T15" fmla="*/ 33 h 48"/>
                  <a:gd name="T16" fmla="*/ 19 w 48"/>
                  <a:gd name="T17" fmla="*/ 37 h 48"/>
                  <a:gd name="T18" fmla="*/ 28 w 48"/>
                  <a:gd name="T19" fmla="*/ 37 h 48"/>
                  <a:gd name="T20" fmla="*/ 44 w 48"/>
                  <a:gd name="T21" fmla="*/ 31 h 48"/>
                  <a:gd name="T22" fmla="*/ 37 w 48"/>
                  <a:gd name="T23" fmla="*/ 2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8" h="48">
                    <a:moveTo>
                      <a:pt x="37" y="20"/>
                    </a:moveTo>
                    <a:cubicBezTo>
                      <a:pt x="41" y="19"/>
                      <a:pt x="38" y="12"/>
                      <a:pt x="38" y="12"/>
                    </a:cubicBezTo>
                    <a:cubicBezTo>
                      <a:pt x="36" y="5"/>
                      <a:pt x="28" y="10"/>
                      <a:pt x="28" y="10"/>
                    </a:cubicBezTo>
                    <a:cubicBezTo>
                      <a:pt x="31" y="0"/>
                      <a:pt x="22" y="0"/>
                      <a:pt x="22" y="0"/>
                    </a:cubicBezTo>
                    <a:cubicBezTo>
                      <a:pt x="16" y="0"/>
                      <a:pt x="15" y="9"/>
                      <a:pt x="15" y="9"/>
                    </a:cubicBezTo>
                    <a:cubicBezTo>
                      <a:pt x="5" y="10"/>
                      <a:pt x="10" y="18"/>
                      <a:pt x="10" y="18"/>
                    </a:cubicBezTo>
                    <a:cubicBezTo>
                      <a:pt x="0" y="23"/>
                      <a:pt x="8" y="33"/>
                      <a:pt x="8" y="33"/>
                    </a:cubicBezTo>
                    <a:cubicBezTo>
                      <a:pt x="9" y="33"/>
                      <a:pt x="10" y="33"/>
                      <a:pt x="10" y="33"/>
                    </a:cubicBezTo>
                    <a:cubicBezTo>
                      <a:pt x="9" y="44"/>
                      <a:pt x="19" y="37"/>
                      <a:pt x="19" y="37"/>
                    </a:cubicBezTo>
                    <a:cubicBezTo>
                      <a:pt x="20" y="43"/>
                      <a:pt x="28" y="37"/>
                      <a:pt x="28" y="37"/>
                    </a:cubicBezTo>
                    <a:cubicBezTo>
                      <a:pt x="38" y="48"/>
                      <a:pt x="44" y="31"/>
                      <a:pt x="44" y="31"/>
                    </a:cubicBezTo>
                    <a:cubicBezTo>
                      <a:pt x="48" y="22"/>
                      <a:pt x="37" y="20"/>
                      <a:pt x="37" y="20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67" name="Freeform 158"/>
              <p:cNvSpPr>
                <a:spLocks/>
              </p:cNvSpPr>
              <p:nvPr/>
            </p:nvSpPr>
            <p:spPr bwMode="auto">
              <a:xfrm>
                <a:off x="5661025" y="1720850"/>
                <a:ext cx="15875" cy="22225"/>
              </a:xfrm>
              <a:custGeom>
                <a:avLst/>
                <a:gdLst>
                  <a:gd name="T0" fmla="*/ 7 w 7"/>
                  <a:gd name="T1" fmla="*/ 10 h 10"/>
                  <a:gd name="T2" fmla="*/ 7 w 7"/>
                  <a:gd name="T3" fmla="*/ 10 h 10"/>
                  <a:gd name="T4" fmla="*/ 7 w 7"/>
                  <a:gd name="T5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10">
                    <a:moveTo>
                      <a:pt x="7" y="10"/>
                    </a:moveTo>
                    <a:cubicBezTo>
                      <a:pt x="7" y="10"/>
                      <a:pt x="7" y="10"/>
                      <a:pt x="7" y="10"/>
                    </a:cubicBezTo>
                    <a:cubicBezTo>
                      <a:pt x="6" y="8"/>
                      <a:pt x="0" y="0"/>
                      <a:pt x="7" y="10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68" name="Freeform 159"/>
              <p:cNvSpPr>
                <a:spLocks/>
              </p:cNvSpPr>
              <p:nvPr/>
            </p:nvSpPr>
            <p:spPr bwMode="auto">
              <a:xfrm>
                <a:off x="5618163" y="1639888"/>
                <a:ext cx="119063" cy="123825"/>
              </a:xfrm>
              <a:custGeom>
                <a:avLst/>
                <a:gdLst>
                  <a:gd name="T0" fmla="*/ 43 w 52"/>
                  <a:gd name="T1" fmla="*/ 17 h 54"/>
                  <a:gd name="T2" fmla="*/ 34 w 52"/>
                  <a:gd name="T3" fmla="*/ 11 h 54"/>
                  <a:gd name="T4" fmla="*/ 24 w 52"/>
                  <a:gd name="T5" fmla="*/ 5 h 54"/>
                  <a:gd name="T6" fmla="*/ 20 w 52"/>
                  <a:gd name="T7" fmla="*/ 0 h 54"/>
                  <a:gd name="T8" fmla="*/ 20 w 52"/>
                  <a:gd name="T9" fmla="*/ 0 h 54"/>
                  <a:gd name="T10" fmla="*/ 12 w 52"/>
                  <a:gd name="T11" fmla="*/ 7 h 54"/>
                  <a:gd name="T12" fmla="*/ 11 w 52"/>
                  <a:gd name="T13" fmla="*/ 19 h 54"/>
                  <a:gd name="T14" fmla="*/ 12 w 52"/>
                  <a:gd name="T15" fmla="*/ 29 h 54"/>
                  <a:gd name="T16" fmla="*/ 17 w 52"/>
                  <a:gd name="T17" fmla="*/ 36 h 54"/>
                  <a:gd name="T18" fmla="*/ 26 w 52"/>
                  <a:gd name="T19" fmla="*/ 45 h 54"/>
                  <a:gd name="T20" fmla="*/ 26 w 52"/>
                  <a:gd name="T21" fmla="*/ 45 h 54"/>
                  <a:gd name="T22" fmla="*/ 26 w 52"/>
                  <a:gd name="T23" fmla="*/ 45 h 54"/>
                  <a:gd name="T24" fmla="*/ 26 w 52"/>
                  <a:gd name="T25" fmla="*/ 45 h 54"/>
                  <a:gd name="T26" fmla="*/ 26 w 52"/>
                  <a:gd name="T27" fmla="*/ 45 h 54"/>
                  <a:gd name="T28" fmla="*/ 36 w 52"/>
                  <a:gd name="T29" fmla="*/ 46 h 54"/>
                  <a:gd name="T30" fmla="*/ 37 w 52"/>
                  <a:gd name="T31" fmla="*/ 46 h 54"/>
                  <a:gd name="T32" fmla="*/ 45 w 52"/>
                  <a:gd name="T33" fmla="*/ 41 h 54"/>
                  <a:gd name="T34" fmla="*/ 46 w 52"/>
                  <a:gd name="T35" fmla="*/ 34 h 54"/>
                  <a:gd name="T36" fmla="*/ 47 w 52"/>
                  <a:gd name="T37" fmla="*/ 25 h 54"/>
                  <a:gd name="T38" fmla="*/ 43 w 52"/>
                  <a:gd name="T39" fmla="*/ 17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52" h="54">
                    <a:moveTo>
                      <a:pt x="43" y="17"/>
                    </a:moveTo>
                    <a:cubicBezTo>
                      <a:pt x="43" y="7"/>
                      <a:pt x="34" y="11"/>
                      <a:pt x="34" y="11"/>
                    </a:cubicBezTo>
                    <a:cubicBezTo>
                      <a:pt x="31" y="0"/>
                      <a:pt x="24" y="5"/>
                      <a:pt x="24" y="5"/>
                    </a:cubicBezTo>
                    <a:cubicBezTo>
                      <a:pt x="24" y="2"/>
                      <a:pt x="20" y="0"/>
                      <a:pt x="20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11" y="0"/>
                      <a:pt x="12" y="7"/>
                      <a:pt x="12" y="7"/>
                    </a:cubicBezTo>
                    <a:cubicBezTo>
                      <a:pt x="0" y="13"/>
                      <a:pt x="11" y="19"/>
                      <a:pt x="11" y="19"/>
                    </a:cubicBezTo>
                    <a:cubicBezTo>
                      <a:pt x="2" y="24"/>
                      <a:pt x="12" y="29"/>
                      <a:pt x="12" y="29"/>
                    </a:cubicBezTo>
                    <a:cubicBezTo>
                      <a:pt x="10" y="40"/>
                      <a:pt x="17" y="36"/>
                      <a:pt x="17" y="36"/>
                    </a:cubicBezTo>
                    <a:cubicBezTo>
                      <a:pt x="16" y="50"/>
                      <a:pt x="26" y="45"/>
                      <a:pt x="26" y="45"/>
                    </a:cubicBezTo>
                    <a:cubicBezTo>
                      <a:pt x="26" y="45"/>
                      <a:pt x="26" y="45"/>
                      <a:pt x="26" y="45"/>
                    </a:cubicBezTo>
                    <a:cubicBezTo>
                      <a:pt x="26" y="45"/>
                      <a:pt x="26" y="45"/>
                      <a:pt x="26" y="45"/>
                    </a:cubicBezTo>
                    <a:cubicBezTo>
                      <a:pt x="19" y="35"/>
                      <a:pt x="25" y="43"/>
                      <a:pt x="26" y="45"/>
                    </a:cubicBezTo>
                    <a:cubicBezTo>
                      <a:pt x="26" y="45"/>
                      <a:pt x="26" y="45"/>
                      <a:pt x="26" y="45"/>
                    </a:cubicBezTo>
                    <a:cubicBezTo>
                      <a:pt x="32" y="54"/>
                      <a:pt x="36" y="46"/>
                      <a:pt x="36" y="46"/>
                    </a:cubicBezTo>
                    <a:cubicBezTo>
                      <a:pt x="36" y="46"/>
                      <a:pt x="36" y="46"/>
                      <a:pt x="37" y="46"/>
                    </a:cubicBezTo>
                    <a:cubicBezTo>
                      <a:pt x="48" y="53"/>
                      <a:pt x="45" y="41"/>
                      <a:pt x="45" y="41"/>
                    </a:cubicBezTo>
                    <a:cubicBezTo>
                      <a:pt x="50" y="37"/>
                      <a:pt x="46" y="34"/>
                      <a:pt x="46" y="34"/>
                    </a:cubicBezTo>
                    <a:cubicBezTo>
                      <a:pt x="52" y="33"/>
                      <a:pt x="47" y="25"/>
                      <a:pt x="47" y="25"/>
                    </a:cubicBezTo>
                    <a:cubicBezTo>
                      <a:pt x="51" y="20"/>
                      <a:pt x="43" y="17"/>
                      <a:pt x="43" y="17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69" name="Freeform 160"/>
              <p:cNvSpPr>
                <a:spLocks/>
              </p:cNvSpPr>
              <p:nvPr/>
            </p:nvSpPr>
            <p:spPr bwMode="auto">
              <a:xfrm>
                <a:off x="5716588" y="1601788"/>
                <a:ext cx="109538" cy="149225"/>
              </a:xfrm>
              <a:custGeom>
                <a:avLst/>
                <a:gdLst>
                  <a:gd name="T0" fmla="*/ 41 w 48"/>
                  <a:gd name="T1" fmla="*/ 42 h 65"/>
                  <a:gd name="T2" fmla="*/ 43 w 48"/>
                  <a:gd name="T3" fmla="*/ 34 h 65"/>
                  <a:gd name="T4" fmla="*/ 38 w 48"/>
                  <a:gd name="T5" fmla="*/ 27 h 65"/>
                  <a:gd name="T6" fmla="*/ 38 w 48"/>
                  <a:gd name="T7" fmla="*/ 20 h 65"/>
                  <a:gd name="T8" fmla="*/ 32 w 48"/>
                  <a:gd name="T9" fmla="*/ 17 h 65"/>
                  <a:gd name="T10" fmla="*/ 22 w 48"/>
                  <a:gd name="T11" fmla="*/ 7 h 65"/>
                  <a:gd name="T12" fmla="*/ 14 w 48"/>
                  <a:gd name="T13" fmla="*/ 0 h 65"/>
                  <a:gd name="T14" fmla="*/ 8 w 48"/>
                  <a:gd name="T15" fmla="*/ 11 h 65"/>
                  <a:gd name="T16" fmla="*/ 1 w 48"/>
                  <a:gd name="T17" fmla="*/ 23 h 65"/>
                  <a:gd name="T18" fmla="*/ 12 w 48"/>
                  <a:gd name="T19" fmla="*/ 37 h 65"/>
                  <a:gd name="T20" fmla="*/ 20 w 48"/>
                  <a:gd name="T21" fmla="*/ 36 h 65"/>
                  <a:gd name="T22" fmla="*/ 20 w 48"/>
                  <a:gd name="T23" fmla="*/ 37 h 65"/>
                  <a:gd name="T24" fmla="*/ 28 w 48"/>
                  <a:gd name="T25" fmla="*/ 44 h 65"/>
                  <a:gd name="T26" fmla="*/ 45 w 48"/>
                  <a:gd name="T27" fmla="*/ 50 h 65"/>
                  <a:gd name="T28" fmla="*/ 41 w 48"/>
                  <a:gd name="T29" fmla="*/ 42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8" h="65">
                    <a:moveTo>
                      <a:pt x="41" y="42"/>
                    </a:moveTo>
                    <a:cubicBezTo>
                      <a:pt x="43" y="41"/>
                      <a:pt x="43" y="34"/>
                      <a:pt x="43" y="34"/>
                    </a:cubicBezTo>
                    <a:cubicBezTo>
                      <a:pt x="43" y="29"/>
                      <a:pt x="38" y="27"/>
                      <a:pt x="38" y="27"/>
                    </a:cubicBezTo>
                    <a:cubicBezTo>
                      <a:pt x="40" y="25"/>
                      <a:pt x="38" y="20"/>
                      <a:pt x="38" y="20"/>
                    </a:cubicBezTo>
                    <a:cubicBezTo>
                      <a:pt x="35" y="16"/>
                      <a:pt x="32" y="17"/>
                      <a:pt x="32" y="17"/>
                    </a:cubicBezTo>
                    <a:cubicBezTo>
                      <a:pt x="33" y="6"/>
                      <a:pt x="22" y="7"/>
                      <a:pt x="22" y="7"/>
                    </a:cubicBezTo>
                    <a:cubicBezTo>
                      <a:pt x="22" y="1"/>
                      <a:pt x="14" y="0"/>
                      <a:pt x="14" y="0"/>
                    </a:cubicBezTo>
                    <a:cubicBezTo>
                      <a:pt x="6" y="1"/>
                      <a:pt x="8" y="11"/>
                      <a:pt x="8" y="11"/>
                    </a:cubicBezTo>
                    <a:cubicBezTo>
                      <a:pt x="0" y="11"/>
                      <a:pt x="1" y="23"/>
                      <a:pt x="1" y="23"/>
                    </a:cubicBezTo>
                    <a:cubicBezTo>
                      <a:pt x="1" y="53"/>
                      <a:pt x="12" y="37"/>
                      <a:pt x="12" y="37"/>
                    </a:cubicBezTo>
                    <a:cubicBezTo>
                      <a:pt x="15" y="43"/>
                      <a:pt x="20" y="36"/>
                      <a:pt x="20" y="36"/>
                    </a:cubicBezTo>
                    <a:cubicBezTo>
                      <a:pt x="20" y="37"/>
                      <a:pt x="20" y="37"/>
                      <a:pt x="20" y="37"/>
                    </a:cubicBezTo>
                    <a:cubicBezTo>
                      <a:pt x="17" y="46"/>
                      <a:pt x="28" y="44"/>
                      <a:pt x="28" y="44"/>
                    </a:cubicBezTo>
                    <a:cubicBezTo>
                      <a:pt x="39" y="65"/>
                      <a:pt x="45" y="50"/>
                      <a:pt x="45" y="50"/>
                    </a:cubicBezTo>
                    <a:cubicBezTo>
                      <a:pt x="48" y="45"/>
                      <a:pt x="41" y="42"/>
                      <a:pt x="41" y="42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70" name="Freeform 161"/>
              <p:cNvSpPr>
                <a:spLocks/>
              </p:cNvSpPr>
              <p:nvPr/>
            </p:nvSpPr>
            <p:spPr bwMode="auto">
              <a:xfrm>
                <a:off x="5675313" y="1619250"/>
                <a:ext cx="169863" cy="144463"/>
              </a:xfrm>
              <a:custGeom>
                <a:avLst/>
                <a:gdLst>
                  <a:gd name="T0" fmla="*/ 68 w 74"/>
                  <a:gd name="T1" fmla="*/ 46 h 63"/>
                  <a:gd name="T2" fmla="*/ 57 w 74"/>
                  <a:gd name="T3" fmla="*/ 43 h 63"/>
                  <a:gd name="T4" fmla="*/ 52 w 74"/>
                  <a:gd name="T5" fmla="*/ 36 h 63"/>
                  <a:gd name="T6" fmla="*/ 41 w 74"/>
                  <a:gd name="T7" fmla="*/ 24 h 63"/>
                  <a:gd name="T8" fmla="*/ 36 w 74"/>
                  <a:gd name="T9" fmla="*/ 15 h 63"/>
                  <a:gd name="T10" fmla="*/ 22 w 74"/>
                  <a:gd name="T11" fmla="*/ 16 h 63"/>
                  <a:gd name="T12" fmla="*/ 14 w 74"/>
                  <a:gd name="T13" fmla="*/ 23 h 63"/>
                  <a:gd name="T14" fmla="*/ 9 w 74"/>
                  <a:gd name="T15" fmla="*/ 36 h 63"/>
                  <a:gd name="T16" fmla="*/ 14 w 74"/>
                  <a:gd name="T17" fmla="*/ 46 h 63"/>
                  <a:gd name="T18" fmla="*/ 25 w 74"/>
                  <a:gd name="T19" fmla="*/ 38 h 63"/>
                  <a:gd name="T20" fmla="*/ 37 w 74"/>
                  <a:gd name="T21" fmla="*/ 38 h 63"/>
                  <a:gd name="T22" fmla="*/ 46 w 74"/>
                  <a:gd name="T23" fmla="*/ 43 h 63"/>
                  <a:gd name="T24" fmla="*/ 46 w 74"/>
                  <a:gd name="T25" fmla="*/ 43 h 63"/>
                  <a:gd name="T26" fmla="*/ 46 w 74"/>
                  <a:gd name="T27" fmla="*/ 43 h 63"/>
                  <a:gd name="T28" fmla="*/ 57 w 74"/>
                  <a:gd name="T29" fmla="*/ 53 h 63"/>
                  <a:gd name="T30" fmla="*/ 71 w 74"/>
                  <a:gd name="T31" fmla="*/ 55 h 63"/>
                  <a:gd name="T32" fmla="*/ 68 w 74"/>
                  <a:gd name="T33" fmla="*/ 46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4" h="63">
                    <a:moveTo>
                      <a:pt x="68" y="46"/>
                    </a:moveTo>
                    <a:cubicBezTo>
                      <a:pt x="68" y="46"/>
                      <a:pt x="66" y="33"/>
                      <a:pt x="57" y="43"/>
                    </a:cubicBezTo>
                    <a:cubicBezTo>
                      <a:pt x="57" y="43"/>
                      <a:pt x="60" y="36"/>
                      <a:pt x="52" y="36"/>
                    </a:cubicBezTo>
                    <a:cubicBezTo>
                      <a:pt x="52" y="36"/>
                      <a:pt x="58" y="19"/>
                      <a:pt x="41" y="24"/>
                    </a:cubicBezTo>
                    <a:cubicBezTo>
                      <a:pt x="41" y="24"/>
                      <a:pt x="46" y="14"/>
                      <a:pt x="36" y="15"/>
                    </a:cubicBezTo>
                    <a:cubicBezTo>
                      <a:pt x="36" y="15"/>
                      <a:pt x="29" y="0"/>
                      <a:pt x="22" y="16"/>
                    </a:cubicBezTo>
                    <a:cubicBezTo>
                      <a:pt x="22" y="16"/>
                      <a:pt x="12" y="11"/>
                      <a:pt x="14" y="23"/>
                    </a:cubicBezTo>
                    <a:cubicBezTo>
                      <a:pt x="14" y="23"/>
                      <a:pt x="2" y="25"/>
                      <a:pt x="9" y="36"/>
                    </a:cubicBezTo>
                    <a:cubicBezTo>
                      <a:pt x="9" y="36"/>
                      <a:pt x="0" y="49"/>
                      <a:pt x="14" y="46"/>
                    </a:cubicBezTo>
                    <a:cubicBezTo>
                      <a:pt x="14" y="46"/>
                      <a:pt x="25" y="56"/>
                      <a:pt x="25" y="38"/>
                    </a:cubicBezTo>
                    <a:cubicBezTo>
                      <a:pt x="25" y="38"/>
                      <a:pt x="32" y="52"/>
                      <a:pt x="37" y="38"/>
                    </a:cubicBezTo>
                    <a:cubicBezTo>
                      <a:pt x="37" y="38"/>
                      <a:pt x="37" y="48"/>
                      <a:pt x="46" y="43"/>
                    </a:cubicBezTo>
                    <a:cubicBezTo>
                      <a:pt x="46" y="43"/>
                      <a:pt x="46" y="43"/>
                      <a:pt x="46" y="43"/>
                    </a:cubicBezTo>
                    <a:cubicBezTo>
                      <a:pt x="55" y="37"/>
                      <a:pt x="46" y="43"/>
                      <a:pt x="46" y="43"/>
                    </a:cubicBezTo>
                    <a:cubicBezTo>
                      <a:pt x="46" y="43"/>
                      <a:pt x="44" y="61"/>
                      <a:pt x="57" y="53"/>
                    </a:cubicBezTo>
                    <a:cubicBezTo>
                      <a:pt x="57" y="53"/>
                      <a:pt x="62" y="63"/>
                      <a:pt x="71" y="55"/>
                    </a:cubicBezTo>
                    <a:cubicBezTo>
                      <a:pt x="71" y="55"/>
                      <a:pt x="74" y="47"/>
                      <a:pt x="68" y="46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71" name="Freeform 162"/>
              <p:cNvSpPr>
                <a:spLocks/>
              </p:cNvSpPr>
              <p:nvPr/>
            </p:nvSpPr>
            <p:spPr bwMode="auto">
              <a:xfrm>
                <a:off x="5437188" y="1597025"/>
                <a:ext cx="98425" cy="149225"/>
              </a:xfrm>
              <a:custGeom>
                <a:avLst/>
                <a:gdLst>
                  <a:gd name="T0" fmla="*/ 35 w 43"/>
                  <a:gd name="T1" fmla="*/ 26 h 65"/>
                  <a:gd name="T2" fmla="*/ 35 w 43"/>
                  <a:gd name="T3" fmla="*/ 6 h 65"/>
                  <a:gd name="T4" fmla="*/ 23 w 43"/>
                  <a:gd name="T5" fmla="*/ 12 h 65"/>
                  <a:gd name="T6" fmla="*/ 16 w 43"/>
                  <a:gd name="T7" fmla="*/ 20 h 65"/>
                  <a:gd name="T8" fmla="*/ 9 w 43"/>
                  <a:gd name="T9" fmla="*/ 31 h 65"/>
                  <a:gd name="T10" fmla="*/ 9 w 43"/>
                  <a:gd name="T11" fmla="*/ 43 h 65"/>
                  <a:gd name="T12" fmla="*/ 11 w 43"/>
                  <a:gd name="T13" fmla="*/ 57 h 65"/>
                  <a:gd name="T14" fmla="*/ 16 w 43"/>
                  <a:gd name="T15" fmla="*/ 65 h 65"/>
                  <a:gd name="T16" fmla="*/ 24 w 43"/>
                  <a:gd name="T17" fmla="*/ 54 h 65"/>
                  <a:gd name="T18" fmla="*/ 28 w 43"/>
                  <a:gd name="T19" fmla="*/ 43 h 65"/>
                  <a:gd name="T20" fmla="*/ 35 w 43"/>
                  <a:gd name="T21" fmla="*/ 26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3" h="65">
                    <a:moveTo>
                      <a:pt x="35" y="26"/>
                    </a:moveTo>
                    <a:cubicBezTo>
                      <a:pt x="35" y="26"/>
                      <a:pt x="40" y="9"/>
                      <a:pt x="35" y="6"/>
                    </a:cubicBezTo>
                    <a:cubicBezTo>
                      <a:pt x="35" y="6"/>
                      <a:pt x="24" y="0"/>
                      <a:pt x="23" y="12"/>
                    </a:cubicBezTo>
                    <a:cubicBezTo>
                      <a:pt x="23" y="12"/>
                      <a:pt x="15" y="11"/>
                      <a:pt x="16" y="20"/>
                    </a:cubicBezTo>
                    <a:cubicBezTo>
                      <a:pt x="16" y="20"/>
                      <a:pt x="4" y="16"/>
                      <a:pt x="9" y="31"/>
                    </a:cubicBezTo>
                    <a:cubicBezTo>
                      <a:pt x="9" y="31"/>
                      <a:pt x="0" y="36"/>
                      <a:pt x="9" y="43"/>
                    </a:cubicBezTo>
                    <a:cubicBezTo>
                      <a:pt x="9" y="43"/>
                      <a:pt x="1" y="52"/>
                      <a:pt x="11" y="57"/>
                    </a:cubicBezTo>
                    <a:cubicBezTo>
                      <a:pt x="11" y="57"/>
                      <a:pt x="9" y="65"/>
                      <a:pt x="16" y="65"/>
                    </a:cubicBezTo>
                    <a:cubicBezTo>
                      <a:pt x="16" y="65"/>
                      <a:pt x="25" y="65"/>
                      <a:pt x="24" y="54"/>
                    </a:cubicBezTo>
                    <a:cubicBezTo>
                      <a:pt x="24" y="54"/>
                      <a:pt x="35" y="50"/>
                      <a:pt x="28" y="43"/>
                    </a:cubicBezTo>
                    <a:cubicBezTo>
                      <a:pt x="28" y="43"/>
                      <a:pt x="43" y="32"/>
                      <a:pt x="35" y="26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72" name="Freeform 163"/>
              <p:cNvSpPr>
                <a:spLocks/>
              </p:cNvSpPr>
              <p:nvPr/>
            </p:nvSpPr>
            <p:spPr bwMode="auto">
              <a:xfrm>
                <a:off x="5526088" y="1781175"/>
                <a:ext cx="0" cy="1588"/>
              </a:xfrm>
              <a:custGeom>
                <a:avLst/>
                <a:gdLst>
                  <a:gd name="T0" fmla="*/ 0 h 1"/>
                  <a:gd name="T1" fmla="*/ 1 h 1"/>
                  <a:gd name="T2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1"/>
                    </a:cubicBezTo>
                    <a:cubicBezTo>
                      <a:pt x="0" y="1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73" name="Freeform 164"/>
              <p:cNvSpPr>
                <a:spLocks/>
              </p:cNvSpPr>
              <p:nvPr/>
            </p:nvSpPr>
            <p:spPr bwMode="auto">
              <a:xfrm>
                <a:off x="5503863" y="1736725"/>
                <a:ext cx="46038" cy="125413"/>
              </a:xfrm>
              <a:custGeom>
                <a:avLst/>
                <a:gdLst>
                  <a:gd name="T0" fmla="*/ 10 w 20"/>
                  <a:gd name="T1" fmla="*/ 19 h 55"/>
                  <a:gd name="T2" fmla="*/ 10 w 20"/>
                  <a:gd name="T3" fmla="*/ 20 h 55"/>
                  <a:gd name="T4" fmla="*/ 10 w 20"/>
                  <a:gd name="T5" fmla="*/ 19 h 55"/>
                  <a:gd name="T6" fmla="*/ 12 w 20"/>
                  <a:gd name="T7" fmla="*/ 2 h 55"/>
                  <a:gd name="T8" fmla="*/ 9 w 20"/>
                  <a:gd name="T9" fmla="*/ 0 h 55"/>
                  <a:gd name="T10" fmla="*/ 7 w 20"/>
                  <a:gd name="T11" fmla="*/ 16 h 55"/>
                  <a:gd name="T12" fmla="*/ 7 w 20"/>
                  <a:gd name="T13" fmla="*/ 16 h 55"/>
                  <a:gd name="T14" fmla="*/ 7 w 20"/>
                  <a:gd name="T15" fmla="*/ 16 h 55"/>
                  <a:gd name="T16" fmla="*/ 1 w 20"/>
                  <a:gd name="T17" fmla="*/ 5 h 55"/>
                  <a:gd name="T18" fmla="*/ 0 w 20"/>
                  <a:gd name="T19" fmla="*/ 10 h 55"/>
                  <a:gd name="T20" fmla="*/ 4 w 20"/>
                  <a:gd name="T21" fmla="*/ 33 h 55"/>
                  <a:gd name="T22" fmla="*/ 1 w 20"/>
                  <a:gd name="T23" fmla="*/ 55 h 55"/>
                  <a:gd name="T24" fmla="*/ 3 w 20"/>
                  <a:gd name="T25" fmla="*/ 55 h 55"/>
                  <a:gd name="T26" fmla="*/ 14 w 20"/>
                  <a:gd name="T27" fmla="*/ 55 h 55"/>
                  <a:gd name="T28" fmla="*/ 13 w 20"/>
                  <a:gd name="T29" fmla="*/ 26 h 55"/>
                  <a:gd name="T30" fmla="*/ 20 w 20"/>
                  <a:gd name="T31" fmla="*/ 8 h 55"/>
                  <a:gd name="T32" fmla="*/ 20 w 20"/>
                  <a:gd name="T33" fmla="*/ 3 h 55"/>
                  <a:gd name="T34" fmla="*/ 10 w 20"/>
                  <a:gd name="T35" fmla="*/ 19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0" h="55">
                    <a:moveTo>
                      <a:pt x="10" y="19"/>
                    </a:moveTo>
                    <a:cubicBezTo>
                      <a:pt x="10" y="19"/>
                      <a:pt x="10" y="20"/>
                      <a:pt x="10" y="20"/>
                    </a:cubicBezTo>
                    <a:cubicBezTo>
                      <a:pt x="10" y="19"/>
                      <a:pt x="10" y="19"/>
                      <a:pt x="10" y="19"/>
                    </a:cubicBezTo>
                    <a:cubicBezTo>
                      <a:pt x="10" y="16"/>
                      <a:pt x="11" y="5"/>
                      <a:pt x="12" y="2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9" y="0"/>
                      <a:pt x="7" y="13"/>
                      <a:pt x="7" y="16"/>
                    </a:cubicBezTo>
                    <a:cubicBezTo>
                      <a:pt x="7" y="16"/>
                      <a:pt x="7" y="16"/>
                      <a:pt x="7" y="16"/>
                    </a:cubicBezTo>
                    <a:cubicBezTo>
                      <a:pt x="7" y="16"/>
                      <a:pt x="7" y="16"/>
                      <a:pt x="7" y="16"/>
                    </a:cubicBezTo>
                    <a:cubicBezTo>
                      <a:pt x="7" y="14"/>
                      <a:pt x="5" y="9"/>
                      <a:pt x="1" y="5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10"/>
                      <a:pt x="5" y="16"/>
                      <a:pt x="4" y="33"/>
                    </a:cubicBezTo>
                    <a:cubicBezTo>
                      <a:pt x="4" y="33"/>
                      <a:pt x="3" y="52"/>
                      <a:pt x="1" y="55"/>
                    </a:cubicBezTo>
                    <a:cubicBezTo>
                      <a:pt x="3" y="55"/>
                      <a:pt x="3" y="55"/>
                      <a:pt x="3" y="55"/>
                    </a:cubicBezTo>
                    <a:cubicBezTo>
                      <a:pt x="14" y="55"/>
                      <a:pt x="14" y="55"/>
                      <a:pt x="14" y="55"/>
                    </a:cubicBezTo>
                    <a:cubicBezTo>
                      <a:pt x="14" y="55"/>
                      <a:pt x="11" y="34"/>
                      <a:pt x="13" y="26"/>
                    </a:cubicBezTo>
                    <a:cubicBezTo>
                      <a:pt x="14" y="17"/>
                      <a:pt x="17" y="9"/>
                      <a:pt x="20" y="8"/>
                    </a:cubicBezTo>
                    <a:cubicBezTo>
                      <a:pt x="20" y="3"/>
                      <a:pt x="20" y="3"/>
                      <a:pt x="20" y="3"/>
                    </a:cubicBezTo>
                    <a:cubicBezTo>
                      <a:pt x="20" y="3"/>
                      <a:pt x="11" y="12"/>
                      <a:pt x="10" y="19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74" name="Freeform 165"/>
              <p:cNvSpPr>
                <a:spLocks/>
              </p:cNvSpPr>
              <p:nvPr/>
            </p:nvSpPr>
            <p:spPr bwMode="auto">
              <a:xfrm>
                <a:off x="5519738" y="1773238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75" name="Freeform 166"/>
              <p:cNvSpPr>
                <a:spLocks/>
              </p:cNvSpPr>
              <p:nvPr/>
            </p:nvSpPr>
            <p:spPr bwMode="auto">
              <a:xfrm>
                <a:off x="5453063" y="1660525"/>
                <a:ext cx="50800" cy="71438"/>
              </a:xfrm>
              <a:custGeom>
                <a:avLst/>
                <a:gdLst>
                  <a:gd name="T0" fmla="*/ 14 w 22"/>
                  <a:gd name="T1" fmla="*/ 2 h 31"/>
                  <a:gd name="T2" fmla="*/ 7 w 22"/>
                  <a:gd name="T3" fmla="*/ 10 h 31"/>
                  <a:gd name="T4" fmla="*/ 6 w 22"/>
                  <a:gd name="T5" fmla="*/ 20 h 31"/>
                  <a:gd name="T6" fmla="*/ 13 w 22"/>
                  <a:gd name="T7" fmla="*/ 29 h 31"/>
                  <a:gd name="T8" fmla="*/ 14 w 22"/>
                  <a:gd name="T9" fmla="*/ 2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" h="31">
                    <a:moveTo>
                      <a:pt x="14" y="2"/>
                    </a:moveTo>
                    <a:cubicBezTo>
                      <a:pt x="14" y="2"/>
                      <a:pt x="3" y="0"/>
                      <a:pt x="7" y="10"/>
                    </a:cubicBezTo>
                    <a:cubicBezTo>
                      <a:pt x="7" y="10"/>
                      <a:pt x="0" y="14"/>
                      <a:pt x="6" y="20"/>
                    </a:cubicBezTo>
                    <a:cubicBezTo>
                      <a:pt x="6" y="20"/>
                      <a:pt x="2" y="31"/>
                      <a:pt x="13" y="29"/>
                    </a:cubicBezTo>
                    <a:cubicBezTo>
                      <a:pt x="13" y="29"/>
                      <a:pt x="22" y="4"/>
                      <a:pt x="14" y="2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76" name="Freeform 167"/>
              <p:cNvSpPr>
                <a:spLocks/>
              </p:cNvSpPr>
              <p:nvPr/>
            </p:nvSpPr>
            <p:spPr bwMode="auto">
              <a:xfrm>
                <a:off x="5505450" y="1638300"/>
                <a:ext cx="3175" cy="0"/>
              </a:xfrm>
              <a:custGeom>
                <a:avLst/>
                <a:gdLst>
                  <a:gd name="T0" fmla="*/ 0 w 1"/>
                  <a:gd name="T1" fmla="*/ 1 w 1"/>
                  <a:gd name="T2" fmla="*/ 0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1" y="0"/>
                    </a:cubicBezTo>
                    <a:cubicBezTo>
                      <a:pt x="1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77" name="Freeform 168"/>
              <p:cNvSpPr>
                <a:spLocks/>
              </p:cNvSpPr>
              <p:nvPr/>
            </p:nvSpPr>
            <p:spPr bwMode="auto">
              <a:xfrm>
                <a:off x="5483225" y="1590675"/>
                <a:ext cx="79375" cy="100013"/>
              </a:xfrm>
              <a:custGeom>
                <a:avLst/>
                <a:gdLst>
                  <a:gd name="T0" fmla="*/ 32 w 35"/>
                  <a:gd name="T1" fmla="*/ 8 h 44"/>
                  <a:gd name="T2" fmla="*/ 27 w 35"/>
                  <a:gd name="T3" fmla="*/ 1 h 44"/>
                  <a:gd name="T4" fmla="*/ 18 w 35"/>
                  <a:gd name="T5" fmla="*/ 8 h 44"/>
                  <a:gd name="T6" fmla="*/ 8 w 35"/>
                  <a:gd name="T7" fmla="*/ 14 h 44"/>
                  <a:gd name="T8" fmla="*/ 10 w 35"/>
                  <a:gd name="T9" fmla="*/ 21 h 44"/>
                  <a:gd name="T10" fmla="*/ 11 w 35"/>
                  <a:gd name="T11" fmla="*/ 21 h 44"/>
                  <a:gd name="T12" fmla="*/ 10 w 35"/>
                  <a:gd name="T13" fmla="*/ 21 h 44"/>
                  <a:gd name="T14" fmla="*/ 4 w 35"/>
                  <a:gd name="T15" fmla="*/ 24 h 44"/>
                  <a:gd name="T16" fmla="*/ 5 w 35"/>
                  <a:gd name="T17" fmla="*/ 31 h 44"/>
                  <a:gd name="T18" fmla="*/ 1 w 35"/>
                  <a:gd name="T19" fmla="*/ 38 h 44"/>
                  <a:gd name="T20" fmla="*/ 9 w 35"/>
                  <a:gd name="T21" fmla="*/ 43 h 44"/>
                  <a:gd name="T22" fmla="*/ 18 w 35"/>
                  <a:gd name="T23" fmla="*/ 33 h 44"/>
                  <a:gd name="T24" fmla="*/ 24 w 35"/>
                  <a:gd name="T25" fmla="*/ 24 h 44"/>
                  <a:gd name="T26" fmla="*/ 28 w 35"/>
                  <a:gd name="T27" fmla="*/ 16 h 44"/>
                  <a:gd name="T28" fmla="*/ 32 w 35"/>
                  <a:gd name="T29" fmla="*/ 8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5" h="44">
                    <a:moveTo>
                      <a:pt x="32" y="8"/>
                    </a:moveTo>
                    <a:cubicBezTo>
                      <a:pt x="32" y="8"/>
                      <a:pt x="32" y="2"/>
                      <a:pt x="27" y="1"/>
                    </a:cubicBezTo>
                    <a:cubicBezTo>
                      <a:pt x="27" y="1"/>
                      <a:pt x="19" y="0"/>
                      <a:pt x="18" y="8"/>
                    </a:cubicBezTo>
                    <a:cubicBezTo>
                      <a:pt x="18" y="8"/>
                      <a:pt x="9" y="4"/>
                      <a:pt x="8" y="14"/>
                    </a:cubicBezTo>
                    <a:cubicBezTo>
                      <a:pt x="8" y="14"/>
                      <a:pt x="7" y="20"/>
                      <a:pt x="10" y="21"/>
                    </a:cubicBezTo>
                    <a:cubicBezTo>
                      <a:pt x="10" y="21"/>
                      <a:pt x="11" y="21"/>
                      <a:pt x="11" y="21"/>
                    </a:cubicBezTo>
                    <a:cubicBezTo>
                      <a:pt x="10" y="21"/>
                      <a:pt x="10" y="21"/>
                      <a:pt x="10" y="21"/>
                    </a:cubicBezTo>
                    <a:cubicBezTo>
                      <a:pt x="8" y="20"/>
                      <a:pt x="5" y="20"/>
                      <a:pt x="4" y="24"/>
                    </a:cubicBezTo>
                    <a:cubicBezTo>
                      <a:pt x="4" y="24"/>
                      <a:pt x="2" y="26"/>
                      <a:pt x="5" y="31"/>
                    </a:cubicBezTo>
                    <a:cubicBezTo>
                      <a:pt x="5" y="31"/>
                      <a:pt x="0" y="34"/>
                      <a:pt x="1" y="38"/>
                    </a:cubicBezTo>
                    <a:cubicBezTo>
                      <a:pt x="1" y="38"/>
                      <a:pt x="2" y="44"/>
                      <a:pt x="9" y="43"/>
                    </a:cubicBezTo>
                    <a:cubicBezTo>
                      <a:pt x="9" y="43"/>
                      <a:pt x="20" y="44"/>
                      <a:pt x="18" y="33"/>
                    </a:cubicBezTo>
                    <a:cubicBezTo>
                      <a:pt x="18" y="33"/>
                      <a:pt x="32" y="30"/>
                      <a:pt x="24" y="24"/>
                    </a:cubicBezTo>
                    <a:cubicBezTo>
                      <a:pt x="24" y="24"/>
                      <a:pt x="35" y="27"/>
                      <a:pt x="28" y="16"/>
                    </a:cubicBezTo>
                    <a:cubicBezTo>
                      <a:pt x="28" y="16"/>
                      <a:pt x="32" y="11"/>
                      <a:pt x="32" y="8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78" name="Freeform 169"/>
              <p:cNvSpPr>
                <a:spLocks/>
              </p:cNvSpPr>
              <p:nvPr/>
            </p:nvSpPr>
            <p:spPr bwMode="auto">
              <a:xfrm>
                <a:off x="5513388" y="1601788"/>
                <a:ext cx="98425" cy="96838"/>
              </a:xfrm>
              <a:custGeom>
                <a:avLst/>
                <a:gdLst>
                  <a:gd name="T0" fmla="*/ 27 w 43"/>
                  <a:gd name="T1" fmla="*/ 8 h 42"/>
                  <a:gd name="T2" fmla="*/ 22 w 43"/>
                  <a:gd name="T3" fmla="*/ 1 h 42"/>
                  <a:gd name="T4" fmla="*/ 15 w 43"/>
                  <a:gd name="T5" fmla="*/ 8 h 42"/>
                  <a:gd name="T6" fmla="*/ 9 w 43"/>
                  <a:gd name="T7" fmla="*/ 14 h 42"/>
                  <a:gd name="T8" fmla="*/ 9 w 43"/>
                  <a:gd name="T9" fmla="*/ 22 h 42"/>
                  <a:gd name="T10" fmla="*/ 13 w 43"/>
                  <a:gd name="T11" fmla="*/ 33 h 42"/>
                  <a:gd name="T12" fmla="*/ 23 w 43"/>
                  <a:gd name="T13" fmla="*/ 35 h 42"/>
                  <a:gd name="T14" fmla="*/ 31 w 43"/>
                  <a:gd name="T15" fmla="*/ 28 h 42"/>
                  <a:gd name="T16" fmla="*/ 35 w 43"/>
                  <a:gd name="T17" fmla="*/ 15 h 42"/>
                  <a:gd name="T18" fmla="*/ 27 w 43"/>
                  <a:gd name="T19" fmla="*/ 8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3" h="42">
                    <a:moveTo>
                      <a:pt x="27" y="8"/>
                    </a:moveTo>
                    <a:cubicBezTo>
                      <a:pt x="27" y="8"/>
                      <a:pt x="27" y="1"/>
                      <a:pt x="22" y="1"/>
                    </a:cubicBezTo>
                    <a:cubicBezTo>
                      <a:pt x="22" y="1"/>
                      <a:pt x="16" y="0"/>
                      <a:pt x="15" y="8"/>
                    </a:cubicBezTo>
                    <a:cubicBezTo>
                      <a:pt x="15" y="8"/>
                      <a:pt x="9" y="6"/>
                      <a:pt x="9" y="14"/>
                    </a:cubicBezTo>
                    <a:cubicBezTo>
                      <a:pt x="9" y="14"/>
                      <a:pt x="0" y="17"/>
                      <a:pt x="9" y="22"/>
                    </a:cubicBezTo>
                    <a:cubicBezTo>
                      <a:pt x="9" y="22"/>
                      <a:pt x="7" y="33"/>
                      <a:pt x="13" y="33"/>
                    </a:cubicBezTo>
                    <a:cubicBezTo>
                      <a:pt x="13" y="33"/>
                      <a:pt x="16" y="42"/>
                      <a:pt x="23" y="35"/>
                    </a:cubicBezTo>
                    <a:cubicBezTo>
                      <a:pt x="23" y="35"/>
                      <a:pt x="33" y="39"/>
                      <a:pt x="31" y="28"/>
                    </a:cubicBezTo>
                    <a:cubicBezTo>
                      <a:pt x="31" y="28"/>
                      <a:pt x="43" y="23"/>
                      <a:pt x="35" y="15"/>
                    </a:cubicBezTo>
                    <a:cubicBezTo>
                      <a:pt x="35" y="15"/>
                      <a:pt x="37" y="7"/>
                      <a:pt x="27" y="8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79" name="Freeform 170"/>
              <p:cNvSpPr>
                <a:spLocks/>
              </p:cNvSpPr>
              <p:nvPr/>
            </p:nvSpPr>
            <p:spPr bwMode="auto">
              <a:xfrm>
                <a:off x="5546725" y="1636713"/>
                <a:ext cx="92075" cy="90488"/>
              </a:xfrm>
              <a:custGeom>
                <a:avLst/>
                <a:gdLst>
                  <a:gd name="T0" fmla="*/ 31 w 40"/>
                  <a:gd name="T1" fmla="*/ 15 h 40"/>
                  <a:gd name="T2" fmla="*/ 28 w 40"/>
                  <a:gd name="T3" fmla="*/ 8 h 40"/>
                  <a:gd name="T4" fmla="*/ 22 w 40"/>
                  <a:gd name="T5" fmla="*/ 0 h 40"/>
                  <a:gd name="T6" fmla="*/ 16 w 40"/>
                  <a:gd name="T7" fmla="*/ 9 h 40"/>
                  <a:gd name="T8" fmla="*/ 8 w 40"/>
                  <a:gd name="T9" fmla="*/ 10 h 40"/>
                  <a:gd name="T10" fmla="*/ 9 w 40"/>
                  <a:gd name="T11" fmla="*/ 17 h 40"/>
                  <a:gd name="T12" fmla="*/ 3 w 40"/>
                  <a:gd name="T13" fmla="*/ 26 h 40"/>
                  <a:gd name="T14" fmla="*/ 17 w 40"/>
                  <a:gd name="T15" fmla="*/ 31 h 40"/>
                  <a:gd name="T16" fmla="*/ 24 w 40"/>
                  <a:gd name="T17" fmla="*/ 31 h 40"/>
                  <a:gd name="T18" fmla="*/ 32 w 40"/>
                  <a:gd name="T19" fmla="*/ 27 h 40"/>
                  <a:gd name="T20" fmla="*/ 33 w 40"/>
                  <a:gd name="T21" fmla="*/ 27 h 40"/>
                  <a:gd name="T22" fmla="*/ 31 w 40"/>
                  <a:gd name="T23" fmla="*/ 15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40">
                    <a:moveTo>
                      <a:pt x="31" y="15"/>
                    </a:moveTo>
                    <a:cubicBezTo>
                      <a:pt x="31" y="15"/>
                      <a:pt x="36" y="8"/>
                      <a:pt x="28" y="8"/>
                    </a:cubicBezTo>
                    <a:cubicBezTo>
                      <a:pt x="28" y="8"/>
                      <a:pt x="27" y="0"/>
                      <a:pt x="22" y="0"/>
                    </a:cubicBezTo>
                    <a:cubicBezTo>
                      <a:pt x="22" y="0"/>
                      <a:pt x="14" y="0"/>
                      <a:pt x="16" y="9"/>
                    </a:cubicBezTo>
                    <a:cubicBezTo>
                      <a:pt x="16" y="9"/>
                      <a:pt x="10" y="4"/>
                      <a:pt x="8" y="10"/>
                    </a:cubicBezTo>
                    <a:cubicBezTo>
                      <a:pt x="8" y="10"/>
                      <a:pt x="5" y="16"/>
                      <a:pt x="9" y="17"/>
                    </a:cubicBezTo>
                    <a:cubicBezTo>
                      <a:pt x="9" y="17"/>
                      <a:pt x="0" y="18"/>
                      <a:pt x="3" y="26"/>
                    </a:cubicBezTo>
                    <a:cubicBezTo>
                      <a:pt x="3" y="26"/>
                      <a:pt x="8" y="40"/>
                      <a:pt x="17" y="31"/>
                    </a:cubicBezTo>
                    <a:cubicBezTo>
                      <a:pt x="17" y="31"/>
                      <a:pt x="23" y="36"/>
                      <a:pt x="24" y="31"/>
                    </a:cubicBezTo>
                    <a:cubicBezTo>
                      <a:pt x="24" y="31"/>
                      <a:pt x="32" y="37"/>
                      <a:pt x="32" y="27"/>
                    </a:cubicBezTo>
                    <a:cubicBezTo>
                      <a:pt x="32" y="27"/>
                      <a:pt x="32" y="28"/>
                      <a:pt x="33" y="27"/>
                    </a:cubicBezTo>
                    <a:cubicBezTo>
                      <a:pt x="33" y="27"/>
                      <a:pt x="40" y="19"/>
                      <a:pt x="31" y="15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80" name="Freeform 171"/>
              <p:cNvSpPr>
                <a:spLocks/>
              </p:cNvSpPr>
              <p:nvPr/>
            </p:nvSpPr>
            <p:spPr bwMode="auto">
              <a:xfrm>
                <a:off x="5540375" y="1684338"/>
                <a:ext cx="100013" cy="103188"/>
              </a:xfrm>
              <a:custGeom>
                <a:avLst/>
                <a:gdLst>
                  <a:gd name="T0" fmla="*/ 34 w 44"/>
                  <a:gd name="T1" fmla="*/ 6 h 45"/>
                  <a:gd name="T2" fmla="*/ 27 w 44"/>
                  <a:gd name="T3" fmla="*/ 0 h 45"/>
                  <a:gd name="T4" fmla="*/ 27 w 44"/>
                  <a:gd name="T5" fmla="*/ 0 h 45"/>
                  <a:gd name="T6" fmla="*/ 23 w 44"/>
                  <a:gd name="T7" fmla="*/ 4 h 45"/>
                  <a:gd name="T8" fmla="*/ 15 w 44"/>
                  <a:gd name="T9" fmla="*/ 9 h 45"/>
                  <a:gd name="T10" fmla="*/ 8 w 44"/>
                  <a:gd name="T11" fmla="*/ 14 h 45"/>
                  <a:gd name="T12" fmla="*/ 5 w 44"/>
                  <a:gd name="T13" fmla="*/ 21 h 45"/>
                  <a:gd name="T14" fmla="*/ 6 w 44"/>
                  <a:gd name="T15" fmla="*/ 29 h 45"/>
                  <a:gd name="T16" fmla="*/ 6 w 44"/>
                  <a:gd name="T17" fmla="*/ 34 h 45"/>
                  <a:gd name="T18" fmla="*/ 13 w 44"/>
                  <a:gd name="T19" fmla="*/ 39 h 45"/>
                  <a:gd name="T20" fmla="*/ 14 w 44"/>
                  <a:gd name="T21" fmla="*/ 38 h 45"/>
                  <a:gd name="T22" fmla="*/ 22 w 44"/>
                  <a:gd name="T23" fmla="*/ 38 h 45"/>
                  <a:gd name="T24" fmla="*/ 22 w 44"/>
                  <a:gd name="T25" fmla="*/ 37 h 45"/>
                  <a:gd name="T26" fmla="*/ 22 w 44"/>
                  <a:gd name="T27" fmla="*/ 37 h 45"/>
                  <a:gd name="T28" fmla="*/ 29 w 44"/>
                  <a:gd name="T29" fmla="*/ 30 h 45"/>
                  <a:gd name="T30" fmla="*/ 34 w 44"/>
                  <a:gd name="T31" fmla="*/ 24 h 45"/>
                  <a:gd name="T32" fmla="*/ 35 w 44"/>
                  <a:gd name="T33" fmla="*/ 16 h 45"/>
                  <a:gd name="T34" fmla="*/ 34 w 44"/>
                  <a:gd name="T35" fmla="*/ 6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4" h="45">
                    <a:moveTo>
                      <a:pt x="34" y="6"/>
                    </a:moveTo>
                    <a:cubicBezTo>
                      <a:pt x="34" y="6"/>
                      <a:pt x="35" y="0"/>
                      <a:pt x="27" y="0"/>
                    </a:cubicBezTo>
                    <a:cubicBezTo>
                      <a:pt x="27" y="0"/>
                      <a:pt x="27" y="0"/>
                      <a:pt x="27" y="0"/>
                    </a:cubicBezTo>
                    <a:cubicBezTo>
                      <a:pt x="27" y="0"/>
                      <a:pt x="23" y="2"/>
                      <a:pt x="23" y="4"/>
                    </a:cubicBezTo>
                    <a:cubicBezTo>
                      <a:pt x="23" y="4"/>
                      <a:pt x="18" y="0"/>
                      <a:pt x="15" y="9"/>
                    </a:cubicBezTo>
                    <a:cubicBezTo>
                      <a:pt x="15" y="9"/>
                      <a:pt x="8" y="6"/>
                      <a:pt x="8" y="14"/>
                    </a:cubicBezTo>
                    <a:cubicBezTo>
                      <a:pt x="8" y="14"/>
                      <a:pt x="1" y="17"/>
                      <a:pt x="5" y="21"/>
                    </a:cubicBezTo>
                    <a:cubicBezTo>
                      <a:pt x="5" y="21"/>
                      <a:pt x="0" y="27"/>
                      <a:pt x="6" y="29"/>
                    </a:cubicBezTo>
                    <a:cubicBezTo>
                      <a:pt x="6" y="29"/>
                      <a:pt x="2" y="31"/>
                      <a:pt x="6" y="34"/>
                    </a:cubicBezTo>
                    <a:cubicBezTo>
                      <a:pt x="6" y="34"/>
                      <a:pt x="4" y="44"/>
                      <a:pt x="13" y="39"/>
                    </a:cubicBezTo>
                    <a:cubicBezTo>
                      <a:pt x="13" y="39"/>
                      <a:pt x="13" y="38"/>
                      <a:pt x="14" y="38"/>
                    </a:cubicBezTo>
                    <a:cubicBezTo>
                      <a:pt x="14" y="38"/>
                      <a:pt x="17" y="45"/>
                      <a:pt x="22" y="38"/>
                    </a:cubicBezTo>
                    <a:cubicBezTo>
                      <a:pt x="22" y="38"/>
                      <a:pt x="22" y="37"/>
                      <a:pt x="22" y="37"/>
                    </a:cubicBezTo>
                    <a:cubicBezTo>
                      <a:pt x="28" y="29"/>
                      <a:pt x="22" y="37"/>
                      <a:pt x="22" y="37"/>
                    </a:cubicBezTo>
                    <a:cubicBezTo>
                      <a:pt x="22" y="37"/>
                      <a:pt x="31" y="42"/>
                      <a:pt x="29" y="30"/>
                    </a:cubicBezTo>
                    <a:cubicBezTo>
                      <a:pt x="29" y="30"/>
                      <a:pt x="36" y="33"/>
                      <a:pt x="34" y="24"/>
                    </a:cubicBezTo>
                    <a:cubicBezTo>
                      <a:pt x="34" y="24"/>
                      <a:pt x="42" y="20"/>
                      <a:pt x="35" y="16"/>
                    </a:cubicBezTo>
                    <a:cubicBezTo>
                      <a:pt x="35" y="16"/>
                      <a:pt x="44" y="11"/>
                      <a:pt x="34" y="6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81" name="Freeform 172"/>
              <p:cNvSpPr>
                <a:spLocks/>
              </p:cNvSpPr>
              <p:nvPr/>
            </p:nvSpPr>
            <p:spPr bwMode="auto">
              <a:xfrm>
                <a:off x="5467350" y="1652588"/>
                <a:ext cx="92075" cy="123825"/>
              </a:xfrm>
              <a:custGeom>
                <a:avLst/>
                <a:gdLst>
                  <a:gd name="T0" fmla="*/ 33 w 40"/>
                  <a:gd name="T1" fmla="*/ 9 h 54"/>
                  <a:gd name="T2" fmla="*/ 28 w 40"/>
                  <a:gd name="T3" fmla="*/ 0 h 54"/>
                  <a:gd name="T4" fmla="*/ 22 w 40"/>
                  <a:gd name="T5" fmla="*/ 5 h 54"/>
                  <a:gd name="T6" fmla="*/ 14 w 40"/>
                  <a:gd name="T7" fmla="*/ 14 h 54"/>
                  <a:gd name="T8" fmla="*/ 8 w 40"/>
                  <a:gd name="T9" fmla="*/ 16 h 54"/>
                  <a:gd name="T10" fmla="*/ 8 w 40"/>
                  <a:gd name="T11" fmla="*/ 23 h 54"/>
                  <a:gd name="T12" fmla="*/ 4 w 40"/>
                  <a:gd name="T13" fmla="*/ 28 h 54"/>
                  <a:gd name="T14" fmla="*/ 6 w 40"/>
                  <a:gd name="T15" fmla="*/ 35 h 54"/>
                  <a:gd name="T16" fmla="*/ 2 w 40"/>
                  <a:gd name="T17" fmla="*/ 41 h 54"/>
                  <a:gd name="T18" fmla="*/ 17 w 40"/>
                  <a:gd name="T19" fmla="*/ 37 h 54"/>
                  <a:gd name="T20" fmla="*/ 23 w 40"/>
                  <a:gd name="T21" fmla="*/ 31 h 54"/>
                  <a:gd name="T22" fmla="*/ 23 w 40"/>
                  <a:gd name="T23" fmla="*/ 30 h 54"/>
                  <a:gd name="T24" fmla="*/ 30 w 40"/>
                  <a:gd name="T25" fmla="*/ 31 h 54"/>
                  <a:gd name="T26" fmla="*/ 39 w 40"/>
                  <a:gd name="T27" fmla="*/ 19 h 54"/>
                  <a:gd name="T28" fmla="*/ 33 w 40"/>
                  <a:gd name="T29" fmla="*/ 9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0" h="54">
                    <a:moveTo>
                      <a:pt x="33" y="9"/>
                    </a:moveTo>
                    <a:cubicBezTo>
                      <a:pt x="33" y="9"/>
                      <a:pt x="35" y="1"/>
                      <a:pt x="28" y="0"/>
                    </a:cubicBezTo>
                    <a:cubicBezTo>
                      <a:pt x="28" y="0"/>
                      <a:pt x="22" y="0"/>
                      <a:pt x="22" y="5"/>
                    </a:cubicBezTo>
                    <a:cubicBezTo>
                      <a:pt x="22" y="5"/>
                      <a:pt x="12" y="5"/>
                      <a:pt x="14" y="14"/>
                    </a:cubicBezTo>
                    <a:cubicBezTo>
                      <a:pt x="14" y="14"/>
                      <a:pt x="10" y="13"/>
                      <a:pt x="8" y="16"/>
                    </a:cubicBezTo>
                    <a:cubicBezTo>
                      <a:pt x="8" y="16"/>
                      <a:pt x="7" y="21"/>
                      <a:pt x="8" y="23"/>
                    </a:cubicBezTo>
                    <a:cubicBezTo>
                      <a:pt x="8" y="23"/>
                      <a:pt x="4" y="24"/>
                      <a:pt x="4" y="28"/>
                    </a:cubicBezTo>
                    <a:cubicBezTo>
                      <a:pt x="4" y="28"/>
                      <a:pt x="4" y="34"/>
                      <a:pt x="6" y="35"/>
                    </a:cubicBezTo>
                    <a:cubicBezTo>
                      <a:pt x="6" y="35"/>
                      <a:pt x="0" y="37"/>
                      <a:pt x="2" y="41"/>
                    </a:cubicBezTo>
                    <a:cubicBezTo>
                      <a:pt x="2" y="41"/>
                      <a:pt x="7" y="54"/>
                      <a:pt x="17" y="37"/>
                    </a:cubicBezTo>
                    <a:cubicBezTo>
                      <a:pt x="17" y="37"/>
                      <a:pt x="26" y="39"/>
                      <a:pt x="23" y="31"/>
                    </a:cubicBezTo>
                    <a:cubicBezTo>
                      <a:pt x="23" y="30"/>
                      <a:pt x="23" y="30"/>
                      <a:pt x="23" y="30"/>
                    </a:cubicBezTo>
                    <a:cubicBezTo>
                      <a:pt x="23" y="30"/>
                      <a:pt x="27" y="35"/>
                      <a:pt x="30" y="31"/>
                    </a:cubicBezTo>
                    <a:cubicBezTo>
                      <a:pt x="30" y="31"/>
                      <a:pt x="39" y="44"/>
                      <a:pt x="39" y="19"/>
                    </a:cubicBezTo>
                    <a:cubicBezTo>
                      <a:pt x="39" y="19"/>
                      <a:pt x="40" y="9"/>
                      <a:pt x="33" y="9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82" name="Freeform 173"/>
              <p:cNvSpPr>
                <a:spLocks/>
              </p:cNvSpPr>
              <p:nvPr/>
            </p:nvSpPr>
            <p:spPr bwMode="auto">
              <a:xfrm>
                <a:off x="5451475" y="1668463"/>
                <a:ext cx="141288" cy="120650"/>
              </a:xfrm>
              <a:custGeom>
                <a:avLst/>
                <a:gdLst>
                  <a:gd name="T0" fmla="*/ 50 w 62"/>
                  <a:gd name="T1" fmla="*/ 19 h 53"/>
                  <a:gd name="T2" fmla="*/ 43 w 62"/>
                  <a:gd name="T3" fmla="*/ 13 h 53"/>
                  <a:gd name="T4" fmla="*/ 32 w 62"/>
                  <a:gd name="T5" fmla="*/ 12 h 53"/>
                  <a:gd name="T6" fmla="*/ 27 w 62"/>
                  <a:gd name="T7" fmla="*/ 19 h 53"/>
                  <a:gd name="T8" fmla="*/ 19 w 62"/>
                  <a:gd name="T9" fmla="*/ 29 h 53"/>
                  <a:gd name="T10" fmla="*/ 14 w 62"/>
                  <a:gd name="T11" fmla="*/ 35 h 53"/>
                  <a:gd name="T12" fmla="*/ 5 w 62"/>
                  <a:gd name="T13" fmla="*/ 38 h 53"/>
                  <a:gd name="T14" fmla="*/ 3 w 62"/>
                  <a:gd name="T15" fmla="*/ 45 h 53"/>
                  <a:gd name="T16" fmla="*/ 14 w 62"/>
                  <a:gd name="T17" fmla="*/ 43 h 53"/>
                  <a:gd name="T18" fmla="*/ 24 w 62"/>
                  <a:gd name="T19" fmla="*/ 35 h 53"/>
                  <a:gd name="T20" fmla="*/ 23 w 62"/>
                  <a:gd name="T21" fmla="*/ 35 h 53"/>
                  <a:gd name="T22" fmla="*/ 24 w 62"/>
                  <a:gd name="T23" fmla="*/ 35 h 53"/>
                  <a:gd name="T24" fmla="*/ 31 w 62"/>
                  <a:gd name="T25" fmla="*/ 32 h 53"/>
                  <a:gd name="T26" fmla="*/ 41 w 62"/>
                  <a:gd name="T27" fmla="*/ 32 h 53"/>
                  <a:gd name="T28" fmla="*/ 50 w 62"/>
                  <a:gd name="T29" fmla="*/ 38 h 53"/>
                  <a:gd name="T30" fmla="*/ 54 w 62"/>
                  <a:gd name="T31" fmla="*/ 29 h 53"/>
                  <a:gd name="T32" fmla="*/ 50 w 62"/>
                  <a:gd name="T33" fmla="*/ 19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2" h="53">
                    <a:moveTo>
                      <a:pt x="50" y="19"/>
                    </a:moveTo>
                    <a:cubicBezTo>
                      <a:pt x="52" y="9"/>
                      <a:pt x="43" y="13"/>
                      <a:pt x="43" y="13"/>
                    </a:cubicBezTo>
                    <a:cubicBezTo>
                      <a:pt x="37" y="0"/>
                      <a:pt x="32" y="12"/>
                      <a:pt x="32" y="12"/>
                    </a:cubicBezTo>
                    <a:cubicBezTo>
                      <a:pt x="23" y="11"/>
                      <a:pt x="27" y="19"/>
                      <a:pt x="27" y="19"/>
                    </a:cubicBezTo>
                    <a:cubicBezTo>
                      <a:pt x="14" y="16"/>
                      <a:pt x="19" y="29"/>
                      <a:pt x="19" y="29"/>
                    </a:cubicBezTo>
                    <a:cubicBezTo>
                      <a:pt x="12" y="29"/>
                      <a:pt x="14" y="35"/>
                      <a:pt x="14" y="35"/>
                    </a:cubicBezTo>
                    <a:cubicBezTo>
                      <a:pt x="6" y="27"/>
                      <a:pt x="5" y="38"/>
                      <a:pt x="5" y="38"/>
                    </a:cubicBezTo>
                    <a:cubicBezTo>
                      <a:pt x="0" y="39"/>
                      <a:pt x="3" y="45"/>
                      <a:pt x="3" y="45"/>
                    </a:cubicBezTo>
                    <a:cubicBezTo>
                      <a:pt x="10" y="53"/>
                      <a:pt x="14" y="43"/>
                      <a:pt x="14" y="43"/>
                    </a:cubicBezTo>
                    <a:cubicBezTo>
                      <a:pt x="25" y="51"/>
                      <a:pt x="24" y="35"/>
                      <a:pt x="24" y="35"/>
                    </a:cubicBezTo>
                    <a:cubicBezTo>
                      <a:pt x="24" y="35"/>
                      <a:pt x="16" y="30"/>
                      <a:pt x="23" y="35"/>
                    </a:cubicBezTo>
                    <a:cubicBezTo>
                      <a:pt x="24" y="35"/>
                      <a:pt x="24" y="35"/>
                      <a:pt x="24" y="35"/>
                    </a:cubicBezTo>
                    <a:cubicBezTo>
                      <a:pt x="31" y="39"/>
                      <a:pt x="31" y="32"/>
                      <a:pt x="31" y="32"/>
                    </a:cubicBezTo>
                    <a:cubicBezTo>
                      <a:pt x="35" y="43"/>
                      <a:pt x="41" y="32"/>
                      <a:pt x="41" y="32"/>
                    </a:cubicBezTo>
                    <a:cubicBezTo>
                      <a:pt x="41" y="47"/>
                      <a:pt x="50" y="38"/>
                      <a:pt x="50" y="38"/>
                    </a:cubicBezTo>
                    <a:cubicBezTo>
                      <a:pt x="62" y="41"/>
                      <a:pt x="54" y="29"/>
                      <a:pt x="54" y="29"/>
                    </a:cubicBezTo>
                    <a:cubicBezTo>
                      <a:pt x="60" y="20"/>
                      <a:pt x="50" y="19"/>
                      <a:pt x="50" y="19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83" name="Freeform 174"/>
              <p:cNvSpPr>
                <a:spLocks/>
              </p:cNvSpPr>
              <p:nvPr/>
            </p:nvSpPr>
            <p:spPr bwMode="auto">
              <a:xfrm>
                <a:off x="5803900" y="1354138"/>
                <a:ext cx="98425" cy="150813"/>
              </a:xfrm>
              <a:custGeom>
                <a:avLst/>
                <a:gdLst>
                  <a:gd name="T0" fmla="*/ 35 w 43"/>
                  <a:gd name="T1" fmla="*/ 26 h 66"/>
                  <a:gd name="T2" fmla="*/ 35 w 43"/>
                  <a:gd name="T3" fmla="*/ 6 h 66"/>
                  <a:gd name="T4" fmla="*/ 24 w 43"/>
                  <a:gd name="T5" fmla="*/ 12 h 66"/>
                  <a:gd name="T6" fmla="*/ 17 w 43"/>
                  <a:gd name="T7" fmla="*/ 20 h 66"/>
                  <a:gd name="T8" fmla="*/ 9 w 43"/>
                  <a:gd name="T9" fmla="*/ 31 h 66"/>
                  <a:gd name="T10" fmla="*/ 9 w 43"/>
                  <a:gd name="T11" fmla="*/ 44 h 66"/>
                  <a:gd name="T12" fmla="*/ 12 w 43"/>
                  <a:gd name="T13" fmla="*/ 57 h 66"/>
                  <a:gd name="T14" fmla="*/ 17 w 43"/>
                  <a:gd name="T15" fmla="*/ 66 h 66"/>
                  <a:gd name="T16" fmla="*/ 24 w 43"/>
                  <a:gd name="T17" fmla="*/ 55 h 66"/>
                  <a:gd name="T18" fmla="*/ 29 w 43"/>
                  <a:gd name="T19" fmla="*/ 44 h 66"/>
                  <a:gd name="T20" fmla="*/ 35 w 43"/>
                  <a:gd name="T21" fmla="*/ 26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3" h="66">
                    <a:moveTo>
                      <a:pt x="35" y="26"/>
                    </a:moveTo>
                    <a:cubicBezTo>
                      <a:pt x="35" y="26"/>
                      <a:pt x="41" y="10"/>
                      <a:pt x="35" y="6"/>
                    </a:cubicBezTo>
                    <a:cubicBezTo>
                      <a:pt x="35" y="6"/>
                      <a:pt x="25" y="0"/>
                      <a:pt x="24" y="12"/>
                    </a:cubicBezTo>
                    <a:cubicBezTo>
                      <a:pt x="24" y="12"/>
                      <a:pt x="16" y="12"/>
                      <a:pt x="17" y="20"/>
                    </a:cubicBezTo>
                    <a:cubicBezTo>
                      <a:pt x="17" y="20"/>
                      <a:pt x="4" y="17"/>
                      <a:pt x="9" y="31"/>
                    </a:cubicBezTo>
                    <a:cubicBezTo>
                      <a:pt x="9" y="31"/>
                      <a:pt x="0" y="37"/>
                      <a:pt x="9" y="44"/>
                    </a:cubicBezTo>
                    <a:cubicBezTo>
                      <a:pt x="9" y="44"/>
                      <a:pt x="1" y="53"/>
                      <a:pt x="12" y="57"/>
                    </a:cubicBezTo>
                    <a:cubicBezTo>
                      <a:pt x="12" y="57"/>
                      <a:pt x="10" y="65"/>
                      <a:pt x="17" y="66"/>
                    </a:cubicBezTo>
                    <a:cubicBezTo>
                      <a:pt x="17" y="66"/>
                      <a:pt x="26" y="65"/>
                      <a:pt x="24" y="55"/>
                    </a:cubicBezTo>
                    <a:cubicBezTo>
                      <a:pt x="24" y="55"/>
                      <a:pt x="35" y="51"/>
                      <a:pt x="29" y="44"/>
                    </a:cubicBezTo>
                    <a:cubicBezTo>
                      <a:pt x="29" y="44"/>
                      <a:pt x="43" y="33"/>
                      <a:pt x="35" y="26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84" name="Freeform 175"/>
              <p:cNvSpPr>
                <a:spLocks/>
              </p:cNvSpPr>
              <p:nvPr/>
            </p:nvSpPr>
            <p:spPr bwMode="auto">
              <a:xfrm>
                <a:off x="5903913" y="1535113"/>
                <a:ext cx="0" cy="3175"/>
              </a:xfrm>
              <a:custGeom>
                <a:avLst/>
                <a:gdLst>
                  <a:gd name="T0" fmla="*/ 0 h 1"/>
                  <a:gd name="T1" fmla="*/ 1 h 1"/>
                  <a:gd name="T2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0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85" name="Freeform 176"/>
              <p:cNvSpPr>
                <a:spLocks/>
              </p:cNvSpPr>
              <p:nvPr/>
            </p:nvSpPr>
            <p:spPr bwMode="auto">
              <a:xfrm>
                <a:off x="5878513" y="1493838"/>
                <a:ext cx="47625" cy="125413"/>
              </a:xfrm>
              <a:custGeom>
                <a:avLst/>
                <a:gdLst>
                  <a:gd name="T0" fmla="*/ 11 w 21"/>
                  <a:gd name="T1" fmla="*/ 18 h 55"/>
                  <a:gd name="T2" fmla="*/ 11 w 21"/>
                  <a:gd name="T3" fmla="*/ 19 h 55"/>
                  <a:gd name="T4" fmla="*/ 11 w 21"/>
                  <a:gd name="T5" fmla="*/ 18 h 55"/>
                  <a:gd name="T6" fmla="*/ 13 w 21"/>
                  <a:gd name="T7" fmla="*/ 2 h 55"/>
                  <a:gd name="T8" fmla="*/ 10 w 21"/>
                  <a:gd name="T9" fmla="*/ 0 h 55"/>
                  <a:gd name="T10" fmla="*/ 8 w 21"/>
                  <a:gd name="T11" fmla="*/ 15 h 55"/>
                  <a:gd name="T12" fmla="*/ 8 w 21"/>
                  <a:gd name="T13" fmla="*/ 15 h 55"/>
                  <a:gd name="T14" fmla="*/ 8 w 21"/>
                  <a:gd name="T15" fmla="*/ 15 h 55"/>
                  <a:gd name="T16" fmla="*/ 2 w 21"/>
                  <a:gd name="T17" fmla="*/ 5 h 55"/>
                  <a:gd name="T18" fmla="*/ 0 w 21"/>
                  <a:gd name="T19" fmla="*/ 10 h 55"/>
                  <a:gd name="T20" fmla="*/ 4 w 21"/>
                  <a:gd name="T21" fmla="*/ 32 h 55"/>
                  <a:gd name="T22" fmla="*/ 2 w 21"/>
                  <a:gd name="T23" fmla="*/ 55 h 55"/>
                  <a:gd name="T24" fmla="*/ 3 w 21"/>
                  <a:gd name="T25" fmla="*/ 55 h 55"/>
                  <a:gd name="T26" fmla="*/ 14 w 21"/>
                  <a:gd name="T27" fmla="*/ 55 h 55"/>
                  <a:gd name="T28" fmla="*/ 13 w 21"/>
                  <a:gd name="T29" fmla="*/ 25 h 55"/>
                  <a:gd name="T30" fmla="*/ 21 w 21"/>
                  <a:gd name="T31" fmla="*/ 7 h 55"/>
                  <a:gd name="T32" fmla="*/ 20 w 21"/>
                  <a:gd name="T33" fmla="*/ 2 h 55"/>
                  <a:gd name="T34" fmla="*/ 11 w 21"/>
                  <a:gd name="T35" fmla="*/ 18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1" h="55">
                    <a:moveTo>
                      <a:pt x="11" y="18"/>
                    </a:moveTo>
                    <a:cubicBezTo>
                      <a:pt x="11" y="19"/>
                      <a:pt x="11" y="19"/>
                      <a:pt x="11" y="19"/>
                    </a:cubicBezTo>
                    <a:cubicBezTo>
                      <a:pt x="11" y="19"/>
                      <a:pt x="11" y="18"/>
                      <a:pt x="11" y="18"/>
                    </a:cubicBezTo>
                    <a:cubicBezTo>
                      <a:pt x="11" y="15"/>
                      <a:pt x="12" y="4"/>
                      <a:pt x="13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10" y="0"/>
                      <a:pt x="8" y="13"/>
                      <a:pt x="8" y="15"/>
                    </a:cubicBezTo>
                    <a:cubicBezTo>
                      <a:pt x="8" y="15"/>
                      <a:pt x="8" y="15"/>
                      <a:pt x="8" y="15"/>
                    </a:cubicBezTo>
                    <a:cubicBezTo>
                      <a:pt x="8" y="15"/>
                      <a:pt x="8" y="15"/>
                      <a:pt x="8" y="15"/>
                    </a:cubicBezTo>
                    <a:cubicBezTo>
                      <a:pt x="7" y="14"/>
                      <a:pt x="6" y="8"/>
                      <a:pt x="2" y="5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10"/>
                      <a:pt x="6" y="15"/>
                      <a:pt x="4" y="32"/>
                    </a:cubicBezTo>
                    <a:cubicBezTo>
                      <a:pt x="4" y="32"/>
                      <a:pt x="3" y="52"/>
                      <a:pt x="2" y="55"/>
                    </a:cubicBezTo>
                    <a:cubicBezTo>
                      <a:pt x="3" y="55"/>
                      <a:pt x="3" y="55"/>
                      <a:pt x="3" y="55"/>
                    </a:cubicBezTo>
                    <a:cubicBezTo>
                      <a:pt x="14" y="55"/>
                      <a:pt x="14" y="55"/>
                      <a:pt x="14" y="55"/>
                    </a:cubicBezTo>
                    <a:cubicBezTo>
                      <a:pt x="14" y="55"/>
                      <a:pt x="11" y="34"/>
                      <a:pt x="13" y="25"/>
                    </a:cubicBezTo>
                    <a:cubicBezTo>
                      <a:pt x="15" y="16"/>
                      <a:pt x="18" y="8"/>
                      <a:pt x="21" y="7"/>
                    </a:cubicBezTo>
                    <a:cubicBezTo>
                      <a:pt x="20" y="2"/>
                      <a:pt x="20" y="2"/>
                      <a:pt x="20" y="2"/>
                    </a:cubicBezTo>
                    <a:cubicBezTo>
                      <a:pt x="20" y="2"/>
                      <a:pt x="11" y="11"/>
                      <a:pt x="11" y="18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86" name="Freeform 177"/>
              <p:cNvSpPr>
                <a:spLocks/>
              </p:cNvSpPr>
              <p:nvPr/>
            </p:nvSpPr>
            <p:spPr bwMode="auto">
              <a:xfrm>
                <a:off x="5897563" y="1528763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87" name="Freeform 178"/>
              <p:cNvSpPr>
                <a:spLocks/>
              </p:cNvSpPr>
              <p:nvPr/>
            </p:nvSpPr>
            <p:spPr bwMode="auto">
              <a:xfrm>
                <a:off x="5830888" y="1416050"/>
                <a:ext cx="47625" cy="73025"/>
              </a:xfrm>
              <a:custGeom>
                <a:avLst/>
                <a:gdLst>
                  <a:gd name="T0" fmla="*/ 14 w 21"/>
                  <a:gd name="T1" fmla="*/ 3 h 32"/>
                  <a:gd name="T2" fmla="*/ 7 w 21"/>
                  <a:gd name="T3" fmla="*/ 11 h 32"/>
                  <a:gd name="T4" fmla="*/ 6 w 21"/>
                  <a:gd name="T5" fmla="*/ 20 h 32"/>
                  <a:gd name="T6" fmla="*/ 12 w 21"/>
                  <a:gd name="T7" fmla="*/ 29 h 32"/>
                  <a:gd name="T8" fmla="*/ 14 w 21"/>
                  <a:gd name="T9" fmla="*/ 3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32">
                    <a:moveTo>
                      <a:pt x="14" y="3"/>
                    </a:moveTo>
                    <a:cubicBezTo>
                      <a:pt x="14" y="3"/>
                      <a:pt x="3" y="0"/>
                      <a:pt x="7" y="11"/>
                    </a:cubicBezTo>
                    <a:cubicBezTo>
                      <a:pt x="7" y="11"/>
                      <a:pt x="0" y="14"/>
                      <a:pt x="6" y="20"/>
                    </a:cubicBezTo>
                    <a:cubicBezTo>
                      <a:pt x="6" y="20"/>
                      <a:pt x="2" y="32"/>
                      <a:pt x="12" y="29"/>
                    </a:cubicBezTo>
                    <a:cubicBezTo>
                      <a:pt x="12" y="29"/>
                      <a:pt x="21" y="4"/>
                      <a:pt x="14" y="3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88" name="Freeform 179"/>
              <p:cNvSpPr>
                <a:spLocks/>
              </p:cNvSpPr>
              <p:nvPr/>
            </p:nvSpPr>
            <p:spPr bwMode="auto">
              <a:xfrm>
                <a:off x="5881688" y="1393825"/>
                <a:ext cx="1588" cy="0"/>
              </a:xfrm>
              <a:custGeom>
                <a:avLst/>
                <a:gdLst>
                  <a:gd name="T0" fmla="*/ 0 w 1"/>
                  <a:gd name="T1" fmla="*/ 1 w 1"/>
                  <a:gd name="T2" fmla="*/ 0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0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89" name="Freeform 180"/>
              <p:cNvSpPr>
                <a:spLocks/>
              </p:cNvSpPr>
              <p:nvPr/>
            </p:nvSpPr>
            <p:spPr bwMode="auto">
              <a:xfrm>
                <a:off x="5861050" y="1347788"/>
                <a:ext cx="79375" cy="98425"/>
              </a:xfrm>
              <a:custGeom>
                <a:avLst/>
                <a:gdLst>
                  <a:gd name="T0" fmla="*/ 31 w 35"/>
                  <a:gd name="T1" fmla="*/ 7 h 43"/>
                  <a:gd name="T2" fmla="*/ 27 w 35"/>
                  <a:gd name="T3" fmla="*/ 1 h 43"/>
                  <a:gd name="T4" fmla="*/ 18 w 35"/>
                  <a:gd name="T5" fmla="*/ 7 h 43"/>
                  <a:gd name="T6" fmla="*/ 8 w 35"/>
                  <a:gd name="T7" fmla="*/ 13 h 43"/>
                  <a:gd name="T8" fmla="*/ 9 w 35"/>
                  <a:gd name="T9" fmla="*/ 20 h 43"/>
                  <a:gd name="T10" fmla="*/ 10 w 35"/>
                  <a:gd name="T11" fmla="*/ 20 h 43"/>
                  <a:gd name="T12" fmla="*/ 9 w 35"/>
                  <a:gd name="T13" fmla="*/ 20 h 43"/>
                  <a:gd name="T14" fmla="*/ 3 w 35"/>
                  <a:gd name="T15" fmla="*/ 23 h 43"/>
                  <a:gd name="T16" fmla="*/ 5 w 35"/>
                  <a:gd name="T17" fmla="*/ 30 h 43"/>
                  <a:gd name="T18" fmla="*/ 1 w 35"/>
                  <a:gd name="T19" fmla="*/ 37 h 43"/>
                  <a:gd name="T20" fmla="*/ 9 w 35"/>
                  <a:gd name="T21" fmla="*/ 42 h 43"/>
                  <a:gd name="T22" fmla="*/ 18 w 35"/>
                  <a:gd name="T23" fmla="*/ 33 h 43"/>
                  <a:gd name="T24" fmla="*/ 23 w 35"/>
                  <a:gd name="T25" fmla="*/ 23 h 43"/>
                  <a:gd name="T26" fmla="*/ 28 w 35"/>
                  <a:gd name="T27" fmla="*/ 15 h 43"/>
                  <a:gd name="T28" fmla="*/ 31 w 35"/>
                  <a:gd name="T29" fmla="*/ 7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5" h="43">
                    <a:moveTo>
                      <a:pt x="31" y="7"/>
                    </a:moveTo>
                    <a:cubicBezTo>
                      <a:pt x="31" y="7"/>
                      <a:pt x="31" y="1"/>
                      <a:pt x="27" y="1"/>
                    </a:cubicBezTo>
                    <a:cubicBezTo>
                      <a:pt x="27" y="1"/>
                      <a:pt x="18" y="0"/>
                      <a:pt x="18" y="7"/>
                    </a:cubicBezTo>
                    <a:cubicBezTo>
                      <a:pt x="18" y="7"/>
                      <a:pt x="9" y="3"/>
                      <a:pt x="8" y="13"/>
                    </a:cubicBezTo>
                    <a:cubicBezTo>
                      <a:pt x="8" y="13"/>
                      <a:pt x="7" y="19"/>
                      <a:pt x="9" y="20"/>
                    </a:cubicBezTo>
                    <a:cubicBezTo>
                      <a:pt x="10" y="20"/>
                      <a:pt x="10" y="20"/>
                      <a:pt x="10" y="20"/>
                    </a:cubicBezTo>
                    <a:cubicBezTo>
                      <a:pt x="10" y="20"/>
                      <a:pt x="10" y="20"/>
                      <a:pt x="9" y="20"/>
                    </a:cubicBezTo>
                    <a:cubicBezTo>
                      <a:pt x="8" y="20"/>
                      <a:pt x="4" y="20"/>
                      <a:pt x="3" y="23"/>
                    </a:cubicBezTo>
                    <a:cubicBezTo>
                      <a:pt x="3" y="23"/>
                      <a:pt x="2" y="25"/>
                      <a:pt x="5" y="30"/>
                    </a:cubicBezTo>
                    <a:cubicBezTo>
                      <a:pt x="5" y="30"/>
                      <a:pt x="0" y="33"/>
                      <a:pt x="1" y="37"/>
                    </a:cubicBezTo>
                    <a:cubicBezTo>
                      <a:pt x="1" y="37"/>
                      <a:pt x="2" y="43"/>
                      <a:pt x="9" y="42"/>
                    </a:cubicBezTo>
                    <a:cubicBezTo>
                      <a:pt x="9" y="42"/>
                      <a:pt x="20" y="43"/>
                      <a:pt x="18" y="33"/>
                    </a:cubicBezTo>
                    <a:cubicBezTo>
                      <a:pt x="18" y="33"/>
                      <a:pt x="31" y="30"/>
                      <a:pt x="23" y="23"/>
                    </a:cubicBezTo>
                    <a:cubicBezTo>
                      <a:pt x="23" y="23"/>
                      <a:pt x="35" y="27"/>
                      <a:pt x="28" y="15"/>
                    </a:cubicBezTo>
                    <a:cubicBezTo>
                      <a:pt x="28" y="15"/>
                      <a:pt x="32" y="10"/>
                      <a:pt x="31" y="7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90" name="Freeform 181"/>
              <p:cNvSpPr>
                <a:spLocks/>
              </p:cNvSpPr>
              <p:nvPr/>
            </p:nvSpPr>
            <p:spPr bwMode="auto">
              <a:xfrm>
                <a:off x="5888038" y="1355725"/>
                <a:ext cx="100013" cy="100013"/>
              </a:xfrm>
              <a:custGeom>
                <a:avLst/>
                <a:gdLst>
                  <a:gd name="T0" fmla="*/ 28 w 44"/>
                  <a:gd name="T1" fmla="*/ 8 h 43"/>
                  <a:gd name="T2" fmla="*/ 22 w 44"/>
                  <a:gd name="T3" fmla="*/ 1 h 43"/>
                  <a:gd name="T4" fmla="*/ 16 w 44"/>
                  <a:gd name="T5" fmla="*/ 8 h 43"/>
                  <a:gd name="T6" fmla="*/ 10 w 44"/>
                  <a:gd name="T7" fmla="*/ 14 h 43"/>
                  <a:gd name="T8" fmla="*/ 10 w 44"/>
                  <a:gd name="T9" fmla="*/ 22 h 43"/>
                  <a:gd name="T10" fmla="*/ 14 w 44"/>
                  <a:gd name="T11" fmla="*/ 33 h 43"/>
                  <a:gd name="T12" fmla="*/ 24 w 44"/>
                  <a:gd name="T13" fmla="*/ 35 h 43"/>
                  <a:gd name="T14" fmla="*/ 31 w 44"/>
                  <a:gd name="T15" fmla="*/ 29 h 43"/>
                  <a:gd name="T16" fmla="*/ 36 w 44"/>
                  <a:gd name="T17" fmla="*/ 15 h 43"/>
                  <a:gd name="T18" fmla="*/ 28 w 44"/>
                  <a:gd name="T19" fmla="*/ 8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4" h="43">
                    <a:moveTo>
                      <a:pt x="28" y="8"/>
                    </a:moveTo>
                    <a:cubicBezTo>
                      <a:pt x="28" y="8"/>
                      <a:pt x="28" y="1"/>
                      <a:pt x="22" y="1"/>
                    </a:cubicBezTo>
                    <a:cubicBezTo>
                      <a:pt x="22" y="1"/>
                      <a:pt x="17" y="0"/>
                      <a:pt x="16" y="8"/>
                    </a:cubicBezTo>
                    <a:cubicBezTo>
                      <a:pt x="16" y="8"/>
                      <a:pt x="9" y="7"/>
                      <a:pt x="10" y="14"/>
                    </a:cubicBezTo>
                    <a:cubicBezTo>
                      <a:pt x="10" y="14"/>
                      <a:pt x="0" y="17"/>
                      <a:pt x="10" y="22"/>
                    </a:cubicBezTo>
                    <a:cubicBezTo>
                      <a:pt x="10" y="22"/>
                      <a:pt x="8" y="34"/>
                      <a:pt x="14" y="33"/>
                    </a:cubicBezTo>
                    <a:cubicBezTo>
                      <a:pt x="14" y="33"/>
                      <a:pt x="17" y="43"/>
                      <a:pt x="24" y="35"/>
                    </a:cubicBezTo>
                    <a:cubicBezTo>
                      <a:pt x="24" y="35"/>
                      <a:pt x="34" y="39"/>
                      <a:pt x="31" y="29"/>
                    </a:cubicBezTo>
                    <a:cubicBezTo>
                      <a:pt x="31" y="29"/>
                      <a:pt x="44" y="23"/>
                      <a:pt x="36" y="15"/>
                    </a:cubicBezTo>
                    <a:cubicBezTo>
                      <a:pt x="36" y="15"/>
                      <a:pt x="37" y="7"/>
                      <a:pt x="28" y="8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91" name="Freeform 182"/>
              <p:cNvSpPr>
                <a:spLocks/>
              </p:cNvSpPr>
              <p:nvPr/>
            </p:nvSpPr>
            <p:spPr bwMode="auto">
              <a:xfrm>
                <a:off x="5922963" y="1390650"/>
                <a:ext cx="93663" cy="92075"/>
              </a:xfrm>
              <a:custGeom>
                <a:avLst/>
                <a:gdLst>
                  <a:gd name="T0" fmla="*/ 32 w 41"/>
                  <a:gd name="T1" fmla="*/ 16 h 40"/>
                  <a:gd name="T2" fmla="*/ 28 w 41"/>
                  <a:gd name="T3" fmla="*/ 8 h 40"/>
                  <a:gd name="T4" fmla="*/ 23 w 41"/>
                  <a:gd name="T5" fmla="*/ 0 h 40"/>
                  <a:gd name="T6" fmla="*/ 17 w 41"/>
                  <a:gd name="T7" fmla="*/ 9 h 40"/>
                  <a:gd name="T8" fmla="*/ 9 w 41"/>
                  <a:gd name="T9" fmla="*/ 10 h 40"/>
                  <a:gd name="T10" fmla="*/ 10 w 41"/>
                  <a:gd name="T11" fmla="*/ 17 h 40"/>
                  <a:gd name="T12" fmla="*/ 4 w 41"/>
                  <a:gd name="T13" fmla="*/ 27 h 40"/>
                  <a:gd name="T14" fmla="*/ 18 w 41"/>
                  <a:gd name="T15" fmla="*/ 31 h 40"/>
                  <a:gd name="T16" fmla="*/ 25 w 41"/>
                  <a:gd name="T17" fmla="*/ 32 h 40"/>
                  <a:gd name="T18" fmla="*/ 32 w 41"/>
                  <a:gd name="T19" fmla="*/ 28 h 40"/>
                  <a:gd name="T20" fmla="*/ 34 w 41"/>
                  <a:gd name="T21" fmla="*/ 28 h 40"/>
                  <a:gd name="T22" fmla="*/ 32 w 41"/>
                  <a:gd name="T23" fmla="*/ 1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" h="40">
                    <a:moveTo>
                      <a:pt x="32" y="16"/>
                    </a:moveTo>
                    <a:cubicBezTo>
                      <a:pt x="32" y="16"/>
                      <a:pt x="37" y="9"/>
                      <a:pt x="28" y="8"/>
                    </a:cubicBezTo>
                    <a:cubicBezTo>
                      <a:pt x="28" y="8"/>
                      <a:pt x="28" y="0"/>
                      <a:pt x="23" y="0"/>
                    </a:cubicBezTo>
                    <a:cubicBezTo>
                      <a:pt x="23" y="0"/>
                      <a:pt x="15" y="0"/>
                      <a:pt x="17" y="9"/>
                    </a:cubicBezTo>
                    <a:cubicBezTo>
                      <a:pt x="17" y="9"/>
                      <a:pt x="11" y="5"/>
                      <a:pt x="9" y="10"/>
                    </a:cubicBezTo>
                    <a:cubicBezTo>
                      <a:pt x="9" y="10"/>
                      <a:pt x="6" y="16"/>
                      <a:pt x="10" y="17"/>
                    </a:cubicBezTo>
                    <a:cubicBezTo>
                      <a:pt x="10" y="17"/>
                      <a:pt x="0" y="19"/>
                      <a:pt x="4" y="27"/>
                    </a:cubicBezTo>
                    <a:cubicBezTo>
                      <a:pt x="4" y="27"/>
                      <a:pt x="9" y="40"/>
                      <a:pt x="18" y="31"/>
                    </a:cubicBezTo>
                    <a:cubicBezTo>
                      <a:pt x="18" y="31"/>
                      <a:pt x="24" y="37"/>
                      <a:pt x="25" y="32"/>
                    </a:cubicBezTo>
                    <a:cubicBezTo>
                      <a:pt x="25" y="32"/>
                      <a:pt x="33" y="37"/>
                      <a:pt x="32" y="28"/>
                    </a:cubicBezTo>
                    <a:cubicBezTo>
                      <a:pt x="32" y="28"/>
                      <a:pt x="33" y="28"/>
                      <a:pt x="34" y="28"/>
                    </a:cubicBezTo>
                    <a:cubicBezTo>
                      <a:pt x="34" y="28"/>
                      <a:pt x="41" y="20"/>
                      <a:pt x="32" y="16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92" name="Freeform 183"/>
              <p:cNvSpPr>
                <a:spLocks/>
              </p:cNvSpPr>
              <p:nvPr/>
            </p:nvSpPr>
            <p:spPr bwMode="auto">
              <a:xfrm>
                <a:off x="5918200" y="1438275"/>
                <a:ext cx="100013" cy="106363"/>
              </a:xfrm>
              <a:custGeom>
                <a:avLst/>
                <a:gdLst>
                  <a:gd name="T0" fmla="*/ 34 w 44"/>
                  <a:gd name="T1" fmla="*/ 6 h 46"/>
                  <a:gd name="T2" fmla="*/ 27 w 44"/>
                  <a:gd name="T3" fmla="*/ 1 h 46"/>
                  <a:gd name="T4" fmla="*/ 26 w 44"/>
                  <a:gd name="T5" fmla="*/ 1 h 46"/>
                  <a:gd name="T6" fmla="*/ 23 w 44"/>
                  <a:gd name="T7" fmla="*/ 4 h 46"/>
                  <a:gd name="T8" fmla="*/ 15 w 44"/>
                  <a:gd name="T9" fmla="*/ 9 h 46"/>
                  <a:gd name="T10" fmla="*/ 8 w 44"/>
                  <a:gd name="T11" fmla="*/ 15 h 46"/>
                  <a:gd name="T12" fmla="*/ 5 w 44"/>
                  <a:gd name="T13" fmla="*/ 22 h 46"/>
                  <a:gd name="T14" fmla="*/ 5 w 44"/>
                  <a:gd name="T15" fmla="*/ 29 h 46"/>
                  <a:gd name="T16" fmla="*/ 6 w 44"/>
                  <a:gd name="T17" fmla="*/ 34 h 46"/>
                  <a:gd name="T18" fmla="*/ 13 w 44"/>
                  <a:gd name="T19" fmla="*/ 39 h 46"/>
                  <a:gd name="T20" fmla="*/ 13 w 44"/>
                  <a:gd name="T21" fmla="*/ 39 h 46"/>
                  <a:gd name="T22" fmla="*/ 22 w 44"/>
                  <a:gd name="T23" fmla="*/ 38 h 46"/>
                  <a:gd name="T24" fmla="*/ 22 w 44"/>
                  <a:gd name="T25" fmla="*/ 38 h 46"/>
                  <a:gd name="T26" fmla="*/ 22 w 44"/>
                  <a:gd name="T27" fmla="*/ 38 h 46"/>
                  <a:gd name="T28" fmla="*/ 29 w 44"/>
                  <a:gd name="T29" fmla="*/ 30 h 46"/>
                  <a:gd name="T30" fmla="*/ 34 w 44"/>
                  <a:gd name="T31" fmla="*/ 24 h 46"/>
                  <a:gd name="T32" fmla="*/ 34 w 44"/>
                  <a:gd name="T33" fmla="*/ 16 h 46"/>
                  <a:gd name="T34" fmla="*/ 34 w 44"/>
                  <a:gd name="T35" fmla="*/ 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4" h="46">
                    <a:moveTo>
                      <a:pt x="34" y="6"/>
                    </a:moveTo>
                    <a:cubicBezTo>
                      <a:pt x="34" y="6"/>
                      <a:pt x="34" y="0"/>
                      <a:pt x="27" y="1"/>
                    </a:cubicBezTo>
                    <a:cubicBezTo>
                      <a:pt x="27" y="1"/>
                      <a:pt x="26" y="1"/>
                      <a:pt x="26" y="1"/>
                    </a:cubicBezTo>
                    <a:cubicBezTo>
                      <a:pt x="26" y="1"/>
                      <a:pt x="23" y="2"/>
                      <a:pt x="23" y="4"/>
                    </a:cubicBezTo>
                    <a:cubicBezTo>
                      <a:pt x="23" y="4"/>
                      <a:pt x="18" y="0"/>
                      <a:pt x="15" y="9"/>
                    </a:cubicBezTo>
                    <a:cubicBezTo>
                      <a:pt x="15" y="9"/>
                      <a:pt x="7" y="6"/>
                      <a:pt x="8" y="15"/>
                    </a:cubicBezTo>
                    <a:cubicBezTo>
                      <a:pt x="8" y="15"/>
                      <a:pt x="1" y="17"/>
                      <a:pt x="5" y="22"/>
                    </a:cubicBezTo>
                    <a:cubicBezTo>
                      <a:pt x="5" y="22"/>
                      <a:pt x="0" y="28"/>
                      <a:pt x="5" y="29"/>
                    </a:cubicBezTo>
                    <a:cubicBezTo>
                      <a:pt x="5" y="29"/>
                      <a:pt x="2" y="32"/>
                      <a:pt x="6" y="34"/>
                    </a:cubicBezTo>
                    <a:cubicBezTo>
                      <a:pt x="6" y="34"/>
                      <a:pt x="4" y="45"/>
                      <a:pt x="13" y="39"/>
                    </a:cubicBezTo>
                    <a:cubicBezTo>
                      <a:pt x="13" y="39"/>
                      <a:pt x="13" y="39"/>
                      <a:pt x="13" y="39"/>
                    </a:cubicBezTo>
                    <a:cubicBezTo>
                      <a:pt x="13" y="39"/>
                      <a:pt x="16" y="46"/>
                      <a:pt x="22" y="38"/>
                    </a:cubicBezTo>
                    <a:cubicBezTo>
                      <a:pt x="22" y="38"/>
                      <a:pt x="22" y="38"/>
                      <a:pt x="22" y="38"/>
                    </a:cubicBezTo>
                    <a:cubicBezTo>
                      <a:pt x="28" y="29"/>
                      <a:pt x="22" y="38"/>
                      <a:pt x="22" y="38"/>
                    </a:cubicBezTo>
                    <a:cubicBezTo>
                      <a:pt x="22" y="38"/>
                      <a:pt x="30" y="42"/>
                      <a:pt x="29" y="30"/>
                    </a:cubicBezTo>
                    <a:cubicBezTo>
                      <a:pt x="29" y="30"/>
                      <a:pt x="35" y="33"/>
                      <a:pt x="34" y="24"/>
                    </a:cubicBezTo>
                    <a:cubicBezTo>
                      <a:pt x="34" y="24"/>
                      <a:pt x="42" y="20"/>
                      <a:pt x="34" y="16"/>
                    </a:cubicBezTo>
                    <a:cubicBezTo>
                      <a:pt x="34" y="16"/>
                      <a:pt x="44" y="11"/>
                      <a:pt x="34" y="6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93" name="Freeform 184"/>
              <p:cNvSpPr>
                <a:spLocks/>
              </p:cNvSpPr>
              <p:nvPr/>
            </p:nvSpPr>
            <p:spPr bwMode="auto">
              <a:xfrm>
                <a:off x="5845175" y="1406525"/>
                <a:ext cx="88900" cy="127000"/>
              </a:xfrm>
              <a:custGeom>
                <a:avLst/>
                <a:gdLst>
                  <a:gd name="T0" fmla="*/ 33 w 39"/>
                  <a:gd name="T1" fmla="*/ 9 h 55"/>
                  <a:gd name="T2" fmla="*/ 28 w 39"/>
                  <a:gd name="T3" fmla="*/ 0 h 55"/>
                  <a:gd name="T4" fmla="*/ 22 w 39"/>
                  <a:gd name="T5" fmla="*/ 6 h 55"/>
                  <a:gd name="T6" fmla="*/ 13 w 39"/>
                  <a:gd name="T7" fmla="*/ 15 h 55"/>
                  <a:gd name="T8" fmla="*/ 8 w 39"/>
                  <a:gd name="T9" fmla="*/ 17 h 55"/>
                  <a:gd name="T10" fmla="*/ 8 w 39"/>
                  <a:gd name="T11" fmla="*/ 23 h 55"/>
                  <a:gd name="T12" fmla="*/ 4 w 39"/>
                  <a:gd name="T13" fmla="*/ 28 h 55"/>
                  <a:gd name="T14" fmla="*/ 5 w 39"/>
                  <a:gd name="T15" fmla="*/ 35 h 55"/>
                  <a:gd name="T16" fmla="*/ 2 w 39"/>
                  <a:gd name="T17" fmla="*/ 42 h 55"/>
                  <a:gd name="T18" fmla="*/ 17 w 39"/>
                  <a:gd name="T19" fmla="*/ 37 h 55"/>
                  <a:gd name="T20" fmla="*/ 23 w 39"/>
                  <a:gd name="T21" fmla="*/ 31 h 55"/>
                  <a:gd name="T22" fmla="*/ 23 w 39"/>
                  <a:gd name="T23" fmla="*/ 31 h 55"/>
                  <a:gd name="T24" fmla="*/ 30 w 39"/>
                  <a:gd name="T25" fmla="*/ 31 h 55"/>
                  <a:gd name="T26" fmla="*/ 39 w 39"/>
                  <a:gd name="T27" fmla="*/ 19 h 55"/>
                  <a:gd name="T28" fmla="*/ 33 w 39"/>
                  <a:gd name="T29" fmla="*/ 9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9" h="55">
                    <a:moveTo>
                      <a:pt x="33" y="9"/>
                    </a:moveTo>
                    <a:cubicBezTo>
                      <a:pt x="33" y="9"/>
                      <a:pt x="34" y="1"/>
                      <a:pt x="28" y="0"/>
                    </a:cubicBezTo>
                    <a:cubicBezTo>
                      <a:pt x="28" y="0"/>
                      <a:pt x="22" y="1"/>
                      <a:pt x="22" y="6"/>
                    </a:cubicBezTo>
                    <a:cubicBezTo>
                      <a:pt x="22" y="6"/>
                      <a:pt x="12" y="5"/>
                      <a:pt x="13" y="15"/>
                    </a:cubicBezTo>
                    <a:cubicBezTo>
                      <a:pt x="13" y="15"/>
                      <a:pt x="10" y="14"/>
                      <a:pt x="8" y="17"/>
                    </a:cubicBezTo>
                    <a:cubicBezTo>
                      <a:pt x="8" y="17"/>
                      <a:pt x="6" y="21"/>
                      <a:pt x="8" y="23"/>
                    </a:cubicBezTo>
                    <a:cubicBezTo>
                      <a:pt x="8" y="23"/>
                      <a:pt x="3" y="24"/>
                      <a:pt x="4" y="28"/>
                    </a:cubicBezTo>
                    <a:cubicBezTo>
                      <a:pt x="4" y="28"/>
                      <a:pt x="4" y="34"/>
                      <a:pt x="5" y="35"/>
                    </a:cubicBezTo>
                    <a:cubicBezTo>
                      <a:pt x="5" y="35"/>
                      <a:pt x="0" y="38"/>
                      <a:pt x="2" y="42"/>
                    </a:cubicBezTo>
                    <a:cubicBezTo>
                      <a:pt x="2" y="42"/>
                      <a:pt x="7" y="55"/>
                      <a:pt x="17" y="37"/>
                    </a:cubicBezTo>
                    <a:cubicBezTo>
                      <a:pt x="17" y="37"/>
                      <a:pt x="26" y="39"/>
                      <a:pt x="23" y="31"/>
                    </a:cubicBezTo>
                    <a:cubicBezTo>
                      <a:pt x="23" y="31"/>
                      <a:pt x="23" y="31"/>
                      <a:pt x="23" y="31"/>
                    </a:cubicBezTo>
                    <a:cubicBezTo>
                      <a:pt x="23" y="31"/>
                      <a:pt x="27" y="36"/>
                      <a:pt x="30" y="31"/>
                    </a:cubicBezTo>
                    <a:cubicBezTo>
                      <a:pt x="30" y="31"/>
                      <a:pt x="39" y="44"/>
                      <a:pt x="39" y="19"/>
                    </a:cubicBezTo>
                    <a:cubicBezTo>
                      <a:pt x="39" y="19"/>
                      <a:pt x="39" y="10"/>
                      <a:pt x="33" y="9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94" name="Freeform 185"/>
              <p:cNvSpPr>
                <a:spLocks/>
              </p:cNvSpPr>
              <p:nvPr/>
            </p:nvSpPr>
            <p:spPr bwMode="auto">
              <a:xfrm>
                <a:off x="5829300" y="1422400"/>
                <a:ext cx="141288" cy="122238"/>
              </a:xfrm>
              <a:custGeom>
                <a:avLst/>
                <a:gdLst>
                  <a:gd name="T0" fmla="*/ 50 w 62"/>
                  <a:gd name="T1" fmla="*/ 19 h 53"/>
                  <a:gd name="T2" fmla="*/ 43 w 62"/>
                  <a:gd name="T3" fmla="*/ 13 h 53"/>
                  <a:gd name="T4" fmla="*/ 31 w 62"/>
                  <a:gd name="T5" fmla="*/ 12 h 53"/>
                  <a:gd name="T6" fmla="*/ 27 w 62"/>
                  <a:gd name="T7" fmla="*/ 19 h 53"/>
                  <a:gd name="T8" fmla="*/ 18 w 62"/>
                  <a:gd name="T9" fmla="*/ 30 h 53"/>
                  <a:gd name="T10" fmla="*/ 14 w 62"/>
                  <a:gd name="T11" fmla="*/ 36 h 53"/>
                  <a:gd name="T12" fmla="*/ 5 w 62"/>
                  <a:gd name="T13" fmla="*/ 39 h 53"/>
                  <a:gd name="T14" fmla="*/ 3 w 62"/>
                  <a:gd name="T15" fmla="*/ 46 h 53"/>
                  <a:gd name="T16" fmla="*/ 14 w 62"/>
                  <a:gd name="T17" fmla="*/ 44 h 53"/>
                  <a:gd name="T18" fmla="*/ 23 w 62"/>
                  <a:gd name="T19" fmla="*/ 35 h 53"/>
                  <a:gd name="T20" fmla="*/ 23 w 62"/>
                  <a:gd name="T21" fmla="*/ 35 h 53"/>
                  <a:gd name="T22" fmla="*/ 24 w 62"/>
                  <a:gd name="T23" fmla="*/ 36 h 53"/>
                  <a:gd name="T24" fmla="*/ 31 w 62"/>
                  <a:gd name="T25" fmla="*/ 32 h 53"/>
                  <a:gd name="T26" fmla="*/ 41 w 62"/>
                  <a:gd name="T27" fmla="*/ 32 h 53"/>
                  <a:gd name="T28" fmla="*/ 50 w 62"/>
                  <a:gd name="T29" fmla="*/ 38 h 53"/>
                  <a:gd name="T30" fmla="*/ 54 w 62"/>
                  <a:gd name="T31" fmla="*/ 30 h 53"/>
                  <a:gd name="T32" fmla="*/ 50 w 62"/>
                  <a:gd name="T33" fmla="*/ 19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2" h="53">
                    <a:moveTo>
                      <a:pt x="50" y="19"/>
                    </a:moveTo>
                    <a:cubicBezTo>
                      <a:pt x="52" y="9"/>
                      <a:pt x="43" y="13"/>
                      <a:pt x="43" y="13"/>
                    </a:cubicBezTo>
                    <a:cubicBezTo>
                      <a:pt x="37" y="0"/>
                      <a:pt x="31" y="12"/>
                      <a:pt x="31" y="12"/>
                    </a:cubicBezTo>
                    <a:cubicBezTo>
                      <a:pt x="23" y="11"/>
                      <a:pt x="27" y="19"/>
                      <a:pt x="27" y="19"/>
                    </a:cubicBezTo>
                    <a:cubicBezTo>
                      <a:pt x="13" y="16"/>
                      <a:pt x="18" y="30"/>
                      <a:pt x="18" y="30"/>
                    </a:cubicBezTo>
                    <a:cubicBezTo>
                      <a:pt x="12" y="30"/>
                      <a:pt x="14" y="36"/>
                      <a:pt x="14" y="36"/>
                    </a:cubicBezTo>
                    <a:cubicBezTo>
                      <a:pt x="6" y="28"/>
                      <a:pt x="5" y="39"/>
                      <a:pt x="5" y="39"/>
                    </a:cubicBezTo>
                    <a:cubicBezTo>
                      <a:pt x="0" y="39"/>
                      <a:pt x="3" y="46"/>
                      <a:pt x="3" y="46"/>
                    </a:cubicBezTo>
                    <a:cubicBezTo>
                      <a:pt x="10" y="53"/>
                      <a:pt x="14" y="44"/>
                      <a:pt x="14" y="44"/>
                    </a:cubicBezTo>
                    <a:cubicBezTo>
                      <a:pt x="25" y="51"/>
                      <a:pt x="23" y="35"/>
                      <a:pt x="23" y="35"/>
                    </a:cubicBezTo>
                    <a:cubicBezTo>
                      <a:pt x="23" y="35"/>
                      <a:pt x="16" y="31"/>
                      <a:pt x="23" y="35"/>
                    </a:cubicBezTo>
                    <a:cubicBezTo>
                      <a:pt x="23" y="35"/>
                      <a:pt x="23" y="35"/>
                      <a:pt x="24" y="36"/>
                    </a:cubicBezTo>
                    <a:cubicBezTo>
                      <a:pt x="30" y="40"/>
                      <a:pt x="31" y="32"/>
                      <a:pt x="31" y="32"/>
                    </a:cubicBezTo>
                    <a:cubicBezTo>
                      <a:pt x="35" y="43"/>
                      <a:pt x="41" y="32"/>
                      <a:pt x="41" y="32"/>
                    </a:cubicBezTo>
                    <a:cubicBezTo>
                      <a:pt x="41" y="47"/>
                      <a:pt x="50" y="38"/>
                      <a:pt x="50" y="38"/>
                    </a:cubicBezTo>
                    <a:cubicBezTo>
                      <a:pt x="62" y="41"/>
                      <a:pt x="54" y="30"/>
                      <a:pt x="54" y="30"/>
                    </a:cubicBezTo>
                    <a:cubicBezTo>
                      <a:pt x="60" y="21"/>
                      <a:pt x="50" y="19"/>
                      <a:pt x="50" y="19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95" name="Freeform 186"/>
              <p:cNvSpPr>
                <a:spLocks/>
              </p:cNvSpPr>
              <p:nvPr/>
            </p:nvSpPr>
            <p:spPr bwMode="auto">
              <a:xfrm>
                <a:off x="5540375" y="1344613"/>
                <a:ext cx="98425" cy="149225"/>
              </a:xfrm>
              <a:custGeom>
                <a:avLst/>
                <a:gdLst>
                  <a:gd name="T0" fmla="*/ 35 w 43"/>
                  <a:gd name="T1" fmla="*/ 26 h 65"/>
                  <a:gd name="T2" fmla="*/ 35 w 43"/>
                  <a:gd name="T3" fmla="*/ 6 h 65"/>
                  <a:gd name="T4" fmla="*/ 24 w 43"/>
                  <a:gd name="T5" fmla="*/ 12 h 65"/>
                  <a:gd name="T6" fmla="*/ 17 w 43"/>
                  <a:gd name="T7" fmla="*/ 20 h 65"/>
                  <a:gd name="T8" fmla="*/ 9 w 43"/>
                  <a:gd name="T9" fmla="*/ 31 h 65"/>
                  <a:gd name="T10" fmla="*/ 9 w 43"/>
                  <a:gd name="T11" fmla="*/ 43 h 65"/>
                  <a:gd name="T12" fmla="*/ 12 w 43"/>
                  <a:gd name="T13" fmla="*/ 57 h 65"/>
                  <a:gd name="T14" fmla="*/ 17 w 43"/>
                  <a:gd name="T15" fmla="*/ 65 h 65"/>
                  <a:gd name="T16" fmla="*/ 24 w 43"/>
                  <a:gd name="T17" fmla="*/ 54 h 65"/>
                  <a:gd name="T18" fmla="*/ 29 w 43"/>
                  <a:gd name="T19" fmla="*/ 43 h 65"/>
                  <a:gd name="T20" fmla="*/ 35 w 43"/>
                  <a:gd name="T21" fmla="*/ 26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3" h="65">
                    <a:moveTo>
                      <a:pt x="35" y="26"/>
                    </a:moveTo>
                    <a:cubicBezTo>
                      <a:pt x="35" y="26"/>
                      <a:pt x="41" y="9"/>
                      <a:pt x="35" y="6"/>
                    </a:cubicBezTo>
                    <a:cubicBezTo>
                      <a:pt x="35" y="6"/>
                      <a:pt x="25" y="0"/>
                      <a:pt x="24" y="12"/>
                    </a:cubicBezTo>
                    <a:cubicBezTo>
                      <a:pt x="24" y="12"/>
                      <a:pt x="16" y="11"/>
                      <a:pt x="17" y="20"/>
                    </a:cubicBezTo>
                    <a:cubicBezTo>
                      <a:pt x="17" y="20"/>
                      <a:pt x="4" y="16"/>
                      <a:pt x="9" y="31"/>
                    </a:cubicBezTo>
                    <a:cubicBezTo>
                      <a:pt x="9" y="31"/>
                      <a:pt x="0" y="36"/>
                      <a:pt x="9" y="43"/>
                    </a:cubicBezTo>
                    <a:cubicBezTo>
                      <a:pt x="9" y="43"/>
                      <a:pt x="1" y="52"/>
                      <a:pt x="12" y="57"/>
                    </a:cubicBezTo>
                    <a:cubicBezTo>
                      <a:pt x="12" y="57"/>
                      <a:pt x="10" y="65"/>
                      <a:pt x="17" y="65"/>
                    </a:cubicBezTo>
                    <a:cubicBezTo>
                      <a:pt x="17" y="65"/>
                      <a:pt x="26" y="65"/>
                      <a:pt x="24" y="54"/>
                    </a:cubicBezTo>
                    <a:cubicBezTo>
                      <a:pt x="24" y="54"/>
                      <a:pt x="35" y="50"/>
                      <a:pt x="29" y="43"/>
                    </a:cubicBezTo>
                    <a:cubicBezTo>
                      <a:pt x="29" y="43"/>
                      <a:pt x="43" y="33"/>
                      <a:pt x="35" y="26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96" name="Freeform 187"/>
              <p:cNvSpPr>
                <a:spLocks/>
              </p:cNvSpPr>
              <p:nvPr/>
            </p:nvSpPr>
            <p:spPr bwMode="auto">
              <a:xfrm>
                <a:off x="5634038" y="1517650"/>
                <a:ext cx="0" cy="1588"/>
              </a:xfrm>
              <a:custGeom>
                <a:avLst/>
                <a:gdLst>
                  <a:gd name="T0" fmla="*/ 0 h 1"/>
                  <a:gd name="T1" fmla="*/ 1 h 1"/>
                  <a:gd name="T2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0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97" name="Freeform 188"/>
              <p:cNvSpPr>
                <a:spLocks/>
              </p:cNvSpPr>
              <p:nvPr/>
            </p:nvSpPr>
            <p:spPr bwMode="auto">
              <a:xfrm>
                <a:off x="5640388" y="1525588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98" name="Freeform 189"/>
              <p:cNvSpPr>
                <a:spLocks/>
              </p:cNvSpPr>
              <p:nvPr/>
            </p:nvSpPr>
            <p:spPr bwMode="auto">
              <a:xfrm>
                <a:off x="5616575" y="1482725"/>
                <a:ext cx="47625" cy="125413"/>
              </a:xfrm>
              <a:custGeom>
                <a:avLst/>
                <a:gdLst>
                  <a:gd name="T0" fmla="*/ 11 w 21"/>
                  <a:gd name="T1" fmla="*/ 19 h 55"/>
                  <a:gd name="T2" fmla="*/ 11 w 21"/>
                  <a:gd name="T3" fmla="*/ 19 h 55"/>
                  <a:gd name="T4" fmla="*/ 11 w 21"/>
                  <a:gd name="T5" fmla="*/ 19 h 55"/>
                  <a:gd name="T6" fmla="*/ 13 w 21"/>
                  <a:gd name="T7" fmla="*/ 2 h 55"/>
                  <a:gd name="T8" fmla="*/ 10 w 21"/>
                  <a:gd name="T9" fmla="*/ 0 h 55"/>
                  <a:gd name="T10" fmla="*/ 8 w 21"/>
                  <a:gd name="T11" fmla="*/ 15 h 55"/>
                  <a:gd name="T12" fmla="*/ 8 w 21"/>
                  <a:gd name="T13" fmla="*/ 16 h 55"/>
                  <a:gd name="T14" fmla="*/ 8 w 21"/>
                  <a:gd name="T15" fmla="*/ 15 h 55"/>
                  <a:gd name="T16" fmla="*/ 2 w 21"/>
                  <a:gd name="T17" fmla="*/ 5 h 55"/>
                  <a:gd name="T18" fmla="*/ 0 w 21"/>
                  <a:gd name="T19" fmla="*/ 10 h 55"/>
                  <a:gd name="T20" fmla="*/ 4 w 21"/>
                  <a:gd name="T21" fmla="*/ 33 h 55"/>
                  <a:gd name="T22" fmla="*/ 2 w 21"/>
                  <a:gd name="T23" fmla="*/ 55 h 55"/>
                  <a:gd name="T24" fmla="*/ 3 w 21"/>
                  <a:gd name="T25" fmla="*/ 55 h 55"/>
                  <a:gd name="T26" fmla="*/ 14 w 21"/>
                  <a:gd name="T27" fmla="*/ 55 h 55"/>
                  <a:gd name="T28" fmla="*/ 13 w 21"/>
                  <a:gd name="T29" fmla="*/ 25 h 55"/>
                  <a:gd name="T30" fmla="*/ 21 w 21"/>
                  <a:gd name="T31" fmla="*/ 8 h 55"/>
                  <a:gd name="T32" fmla="*/ 20 w 21"/>
                  <a:gd name="T33" fmla="*/ 3 h 55"/>
                  <a:gd name="T34" fmla="*/ 11 w 21"/>
                  <a:gd name="T35" fmla="*/ 19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1" h="55">
                    <a:moveTo>
                      <a:pt x="11" y="19"/>
                    </a:moveTo>
                    <a:cubicBezTo>
                      <a:pt x="11" y="19"/>
                      <a:pt x="11" y="19"/>
                      <a:pt x="11" y="19"/>
                    </a:cubicBezTo>
                    <a:cubicBezTo>
                      <a:pt x="11" y="19"/>
                      <a:pt x="11" y="19"/>
                      <a:pt x="11" y="19"/>
                    </a:cubicBezTo>
                    <a:cubicBezTo>
                      <a:pt x="11" y="16"/>
                      <a:pt x="12" y="5"/>
                      <a:pt x="13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10" y="0"/>
                      <a:pt x="8" y="13"/>
                      <a:pt x="8" y="15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8" y="16"/>
                      <a:pt x="8" y="16"/>
                      <a:pt x="8" y="15"/>
                    </a:cubicBezTo>
                    <a:cubicBezTo>
                      <a:pt x="7" y="14"/>
                      <a:pt x="6" y="8"/>
                      <a:pt x="2" y="5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10"/>
                      <a:pt x="6" y="15"/>
                      <a:pt x="4" y="33"/>
                    </a:cubicBezTo>
                    <a:cubicBezTo>
                      <a:pt x="4" y="33"/>
                      <a:pt x="3" y="52"/>
                      <a:pt x="2" y="55"/>
                    </a:cubicBezTo>
                    <a:cubicBezTo>
                      <a:pt x="3" y="55"/>
                      <a:pt x="3" y="55"/>
                      <a:pt x="3" y="55"/>
                    </a:cubicBezTo>
                    <a:cubicBezTo>
                      <a:pt x="14" y="55"/>
                      <a:pt x="14" y="55"/>
                      <a:pt x="14" y="55"/>
                    </a:cubicBezTo>
                    <a:cubicBezTo>
                      <a:pt x="14" y="55"/>
                      <a:pt x="11" y="34"/>
                      <a:pt x="13" y="25"/>
                    </a:cubicBezTo>
                    <a:cubicBezTo>
                      <a:pt x="15" y="17"/>
                      <a:pt x="18" y="9"/>
                      <a:pt x="21" y="8"/>
                    </a:cubicBezTo>
                    <a:cubicBezTo>
                      <a:pt x="20" y="3"/>
                      <a:pt x="20" y="3"/>
                      <a:pt x="20" y="3"/>
                    </a:cubicBezTo>
                    <a:cubicBezTo>
                      <a:pt x="20" y="3"/>
                      <a:pt x="11" y="12"/>
                      <a:pt x="11" y="19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99" name="Freeform 190"/>
              <p:cNvSpPr>
                <a:spLocks/>
              </p:cNvSpPr>
              <p:nvPr/>
            </p:nvSpPr>
            <p:spPr bwMode="auto">
              <a:xfrm>
                <a:off x="5565775" y="1406525"/>
                <a:ext cx="50800" cy="71438"/>
              </a:xfrm>
              <a:custGeom>
                <a:avLst/>
                <a:gdLst>
                  <a:gd name="T0" fmla="*/ 15 w 22"/>
                  <a:gd name="T1" fmla="*/ 2 h 31"/>
                  <a:gd name="T2" fmla="*/ 8 w 22"/>
                  <a:gd name="T3" fmla="*/ 10 h 31"/>
                  <a:gd name="T4" fmla="*/ 7 w 22"/>
                  <a:gd name="T5" fmla="*/ 20 h 31"/>
                  <a:gd name="T6" fmla="*/ 13 w 22"/>
                  <a:gd name="T7" fmla="*/ 29 h 31"/>
                  <a:gd name="T8" fmla="*/ 15 w 22"/>
                  <a:gd name="T9" fmla="*/ 2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" h="31">
                    <a:moveTo>
                      <a:pt x="15" y="2"/>
                    </a:moveTo>
                    <a:cubicBezTo>
                      <a:pt x="15" y="2"/>
                      <a:pt x="3" y="0"/>
                      <a:pt x="8" y="10"/>
                    </a:cubicBezTo>
                    <a:cubicBezTo>
                      <a:pt x="8" y="10"/>
                      <a:pt x="0" y="14"/>
                      <a:pt x="7" y="20"/>
                    </a:cubicBezTo>
                    <a:cubicBezTo>
                      <a:pt x="7" y="20"/>
                      <a:pt x="3" y="31"/>
                      <a:pt x="13" y="29"/>
                    </a:cubicBezTo>
                    <a:cubicBezTo>
                      <a:pt x="13" y="29"/>
                      <a:pt x="22" y="4"/>
                      <a:pt x="15" y="2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00" name="Freeform 191"/>
              <p:cNvSpPr>
                <a:spLocks/>
              </p:cNvSpPr>
              <p:nvPr/>
            </p:nvSpPr>
            <p:spPr bwMode="auto">
              <a:xfrm>
                <a:off x="5618163" y="1381125"/>
                <a:ext cx="1588" cy="3175"/>
              </a:xfrm>
              <a:custGeom>
                <a:avLst/>
                <a:gdLst>
                  <a:gd name="T0" fmla="*/ 0 w 1"/>
                  <a:gd name="T1" fmla="*/ 0 h 1"/>
                  <a:gd name="T2" fmla="*/ 1 w 1"/>
                  <a:gd name="T3" fmla="*/ 1 h 1"/>
                  <a:gd name="T4" fmla="*/ 0 w 1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01" name="Freeform 192"/>
              <p:cNvSpPr>
                <a:spLocks/>
              </p:cNvSpPr>
              <p:nvPr/>
            </p:nvSpPr>
            <p:spPr bwMode="auto">
              <a:xfrm>
                <a:off x="5595938" y="1335088"/>
                <a:ext cx="80963" cy="101600"/>
              </a:xfrm>
              <a:custGeom>
                <a:avLst/>
                <a:gdLst>
                  <a:gd name="T0" fmla="*/ 32 w 36"/>
                  <a:gd name="T1" fmla="*/ 8 h 44"/>
                  <a:gd name="T2" fmla="*/ 27 w 36"/>
                  <a:gd name="T3" fmla="*/ 1 h 44"/>
                  <a:gd name="T4" fmla="*/ 19 w 36"/>
                  <a:gd name="T5" fmla="*/ 8 h 44"/>
                  <a:gd name="T6" fmla="*/ 9 w 36"/>
                  <a:gd name="T7" fmla="*/ 13 h 44"/>
                  <a:gd name="T8" fmla="*/ 10 w 36"/>
                  <a:gd name="T9" fmla="*/ 20 h 44"/>
                  <a:gd name="T10" fmla="*/ 11 w 36"/>
                  <a:gd name="T11" fmla="*/ 21 h 44"/>
                  <a:gd name="T12" fmla="*/ 10 w 36"/>
                  <a:gd name="T13" fmla="*/ 20 h 44"/>
                  <a:gd name="T14" fmla="*/ 4 w 36"/>
                  <a:gd name="T15" fmla="*/ 24 h 44"/>
                  <a:gd name="T16" fmla="*/ 6 w 36"/>
                  <a:gd name="T17" fmla="*/ 31 h 44"/>
                  <a:gd name="T18" fmla="*/ 2 w 36"/>
                  <a:gd name="T19" fmla="*/ 38 h 44"/>
                  <a:gd name="T20" fmla="*/ 10 w 36"/>
                  <a:gd name="T21" fmla="*/ 43 h 44"/>
                  <a:gd name="T22" fmla="*/ 19 w 36"/>
                  <a:gd name="T23" fmla="*/ 33 h 44"/>
                  <a:gd name="T24" fmla="*/ 24 w 36"/>
                  <a:gd name="T25" fmla="*/ 24 h 44"/>
                  <a:gd name="T26" fmla="*/ 29 w 36"/>
                  <a:gd name="T27" fmla="*/ 16 h 44"/>
                  <a:gd name="T28" fmla="*/ 32 w 36"/>
                  <a:gd name="T29" fmla="*/ 8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6" h="44">
                    <a:moveTo>
                      <a:pt x="32" y="8"/>
                    </a:moveTo>
                    <a:cubicBezTo>
                      <a:pt x="32" y="8"/>
                      <a:pt x="32" y="2"/>
                      <a:pt x="27" y="1"/>
                    </a:cubicBezTo>
                    <a:cubicBezTo>
                      <a:pt x="27" y="1"/>
                      <a:pt x="19" y="0"/>
                      <a:pt x="19" y="8"/>
                    </a:cubicBezTo>
                    <a:cubicBezTo>
                      <a:pt x="19" y="8"/>
                      <a:pt x="10" y="4"/>
                      <a:pt x="9" y="13"/>
                    </a:cubicBezTo>
                    <a:cubicBezTo>
                      <a:pt x="9" y="13"/>
                      <a:pt x="8" y="19"/>
                      <a:pt x="10" y="20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1"/>
                      <a:pt x="11" y="21"/>
                      <a:pt x="10" y="20"/>
                    </a:cubicBezTo>
                    <a:cubicBezTo>
                      <a:pt x="9" y="20"/>
                      <a:pt x="5" y="20"/>
                      <a:pt x="4" y="24"/>
                    </a:cubicBezTo>
                    <a:cubicBezTo>
                      <a:pt x="4" y="24"/>
                      <a:pt x="3" y="26"/>
                      <a:pt x="6" y="31"/>
                    </a:cubicBezTo>
                    <a:cubicBezTo>
                      <a:pt x="6" y="31"/>
                      <a:pt x="0" y="34"/>
                      <a:pt x="2" y="38"/>
                    </a:cubicBezTo>
                    <a:cubicBezTo>
                      <a:pt x="2" y="38"/>
                      <a:pt x="3" y="44"/>
                      <a:pt x="10" y="43"/>
                    </a:cubicBezTo>
                    <a:cubicBezTo>
                      <a:pt x="10" y="43"/>
                      <a:pt x="21" y="44"/>
                      <a:pt x="19" y="33"/>
                    </a:cubicBezTo>
                    <a:cubicBezTo>
                      <a:pt x="19" y="33"/>
                      <a:pt x="32" y="30"/>
                      <a:pt x="24" y="24"/>
                    </a:cubicBezTo>
                    <a:cubicBezTo>
                      <a:pt x="24" y="24"/>
                      <a:pt x="36" y="27"/>
                      <a:pt x="29" y="16"/>
                    </a:cubicBezTo>
                    <a:cubicBezTo>
                      <a:pt x="29" y="16"/>
                      <a:pt x="33" y="11"/>
                      <a:pt x="32" y="8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02" name="Freeform 193"/>
              <p:cNvSpPr>
                <a:spLocks/>
              </p:cNvSpPr>
              <p:nvPr/>
            </p:nvSpPr>
            <p:spPr bwMode="auto">
              <a:xfrm>
                <a:off x="5624513" y="1347788"/>
                <a:ext cx="101600" cy="95250"/>
              </a:xfrm>
              <a:custGeom>
                <a:avLst/>
                <a:gdLst>
                  <a:gd name="T0" fmla="*/ 28 w 44"/>
                  <a:gd name="T1" fmla="*/ 7 h 42"/>
                  <a:gd name="T2" fmla="*/ 22 w 44"/>
                  <a:gd name="T3" fmla="*/ 0 h 42"/>
                  <a:gd name="T4" fmla="*/ 16 w 44"/>
                  <a:gd name="T5" fmla="*/ 8 h 42"/>
                  <a:gd name="T6" fmla="*/ 10 w 44"/>
                  <a:gd name="T7" fmla="*/ 14 h 42"/>
                  <a:gd name="T8" fmla="*/ 10 w 44"/>
                  <a:gd name="T9" fmla="*/ 22 h 42"/>
                  <a:gd name="T10" fmla="*/ 14 w 44"/>
                  <a:gd name="T11" fmla="*/ 33 h 42"/>
                  <a:gd name="T12" fmla="*/ 24 w 44"/>
                  <a:gd name="T13" fmla="*/ 35 h 42"/>
                  <a:gd name="T14" fmla="*/ 31 w 44"/>
                  <a:gd name="T15" fmla="*/ 28 h 42"/>
                  <a:gd name="T16" fmla="*/ 36 w 44"/>
                  <a:gd name="T17" fmla="*/ 15 h 42"/>
                  <a:gd name="T18" fmla="*/ 28 w 44"/>
                  <a:gd name="T19" fmla="*/ 7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4" h="42">
                    <a:moveTo>
                      <a:pt x="28" y="7"/>
                    </a:moveTo>
                    <a:cubicBezTo>
                      <a:pt x="28" y="7"/>
                      <a:pt x="28" y="1"/>
                      <a:pt x="22" y="0"/>
                    </a:cubicBezTo>
                    <a:cubicBezTo>
                      <a:pt x="22" y="0"/>
                      <a:pt x="17" y="0"/>
                      <a:pt x="16" y="8"/>
                    </a:cubicBezTo>
                    <a:cubicBezTo>
                      <a:pt x="16" y="8"/>
                      <a:pt x="9" y="6"/>
                      <a:pt x="10" y="14"/>
                    </a:cubicBezTo>
                    <a:cubicBezTo>
                      <a:pt x="10" y="14"/>
                      <a:pt x="0" y="17"/>
                      <a:pt x="10" y="22"/>
                    </a:cubicBezTo>
                    <a:cubicBezTo>
                      <a:pt x="10" y="22"/>
                      <a:pt x="8" y="33"/>
                      <a:pt x="14" y="33"/>
                    </a:cubicBezTo>
                    <a:cubicBezTo>
                      <a:pt x="14" y="33"/>
                      <a:pt x="17" y="42"/>
                      <a:pt x="24" y="35"/>
                    </a:cubicBezTo>
                    <a:cubicBezTo>
                      <a:pt x="24" y="35"/>
                      <a:pt x="34" y="39"/>
                      <a:pt x="31" y="28"/>
                    </a:cubicBezTo>
                    <a:cubicBezTo>
                      <a:pt x="31" y="28"/>
                      <a:pt x="44" y="23"/>
                      <a:pt x="36" y="15"/>
                    </a:cubicBezTo>
                    <a:cubicBezTo>
                      <a:pt x="36" y="15"/>
                      <a:pt x="37" y="7"/>
                      <a:pt x="28" y="7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03" name="Freeform 194"/>
              <p:cNvSpPr>
                <a:spLocks/>
              </p:cNvSpPr>
              <p:nvPr/>
            </p:nvSpPr>
            <p:spPr bwMode="auto">
              <a:xfrm>
                <a:off x="5659438" y="1381125"/>
                <a:ext cx="93663" cy="92075"/>
              </a:xfrm>
              <a:custGeom>
                <a:avLst/>
                <a:gdLst>
                  <a:gd name="T0" fmla="*/ 32 w 41"/>
                  <a:gd name="T1" fmla="*/ 15 h 40"/>
                  <a:gd name="T2" fmla="*/ 28 w 41"/>
                  <a:gd name="T3" fmla="*/ 7 h 40"/>
                  <a:gd name="T4" fmla="*/ 23 w 41"/>
                  <a:gd name="T5" fmla="*/ 0 h 40"/>
                  <a:gd name="T6" fmla="*/ 17 w 41"/>
                  <a:gd name="T7" fmla="*/ 8 h 40"/>
                  <a:gd name="T8" fmla="*/ 9 w 41"/>
                  <a:gd name="T9" fmla="*/ 10 h 40"/>
                  <a:gd name="T10" fmla="*/ 10 w 41"/>
                  <a:gd name="T11" fmla="*/ 17 h 40"/>
                  <a:gd name="T12" fmla="*/ 4 w 41"/>
                  <a:gd name="T13" fmla="*/ 26 h 40"/>
                  <a:gd name="T14" fmla="*/ 18 w 41"/>
                  <a:gd name="T15" fmla="*/ 31 h 40"/>
                  <a:gd name="T16" fmla="*/ 25 w 41"/>
                  <a:gd name="T17" fmla="*/ 31 h 40"/>
                  <a:gd name="T18" fmla="*/ 32 w 41"/>
                  <a:gd name="T19" fmla="*/ 27 h 40"/>
                  <a:gd name="T20" fmla="*/ 34 w 41"/>
                  <a:gd name="T21" fmla="*/ 27 h 40"/>
                  <a:gd name="T22" fmla="*/ 32 w 41"/>
                  <a:gd name="T23" fmla="*/ 15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" h="40">
                    <a:moveTo>
                      <a:pt x="32" y="15"/>
                    </a:moveTo>
                    <a:cubicBezTo>
                      <a:pt x="32" y="15"/>
                      <a:pt x="37" y="8"/>
                      <a:pt x="28" y="7"/>
                    </a:cubicBezTo>
                    <a:cubicBezTo>
                      <a:pt x="28" y="7"/>
                      <a:pt x="27" y="0"/>
                      <a:pt x="23" y="0"/>
                    </a:cubicBezTo>
                    <a:cubicBezTo>
                      <a:pt x="23" y="0"/>
                      <a:pt x="14" y="0"/>
                      <a:pt x="17" y="8"/>
                    </a:cubicBezTo>
                    <a:cubicBezTo>
                      <a:pt x="17" y="8"/>
                      <a:pt x="11" y="4"/>
                      <a:pt x="9" y="10"/>
                    </a:cubicBezTo>
                    <a:cubicBezTo>
                      <a:pt x="9" y="10"/>
                      <a:pt x="6" y="16"/>
                      <a:pt x="10" y="17"/>
                    </a:cubicBezTo>
                    <a:cubicBezTo>
                      <a:pt x="10" y="17"/>
                      <a:pt x="0" y="18"/>
                      <a:pt x="4" y="26"/>
                    </a:cubicBezTo>
                    <a:cubicBezTo>
                      <a:pt x="4" y="26"/>
                      <a:pt x="9" y="40"/>
                      <a:pt x="18" y="31"/>
                    </a:cubicBezTo>
                    <a:cubicBezTo>
                      <a:pt x="18" y="31"/>
                      <a:pt x="24" y="36"/>
                      <a:pt x="25" y="31"/>
                    </a:cubicBezTo>
                    <a:cubicBezTo>
                      <a:pt x="25" y="31"/>
                      <a:pt x="33" y="37"/>
                      <a:pt x="32" y="27"/>
                    </a:cubicBezTo>
                    <a:cubicBezTo>
                      <a:pt x="32" y="27"/>
                      <a:pt x="33" y="28"/>
                      <a:pt x="34" y="27"/>
                    </a:cubicBezTo>
                    <a:cubicBezTo>
                      <a:pt x="34" y="27"/>
                      <a:pt x="41" y="19"/>
                      <a:pt x="32" y="15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04" name="Freeform 195"/>
              <p:cNvSpPr>
                <a:spLocks/>
              </p:cNvSpPr>
              <p:nvPr/>
            </p:nvSpPr>
            <p:spPr bwMode="auto">
              <a:xfrm>
                <a:off x="5654675" y="1430338"/>
                <a:ext cx="100013" cy="103188"/>
              </a:xfrm>
              <a:custGeom>
                <a:avLst/>
                <a:gdLst>
                  <a:gd name="T0" fmla="*/ 34 w 44"/>
                  <a:gd name="T1" fmla="*/ 6 h 45"/>
                  <a:gd name="T2" fmla="*/ 27 w 44"/>
                  <a:gd name="T3" fmla="*/ 0 h 45"/>
                  <a:gd name="T4" fmla="*/ 26 w 44"/>
                  <a:gd name="T5" fmla="*/ 0 h 45"/>
                  <a:gd name="T6" fmla="*/ 23 w 44"/>
                  <a:gd name="T7" fmla="*/ 4 h 45"/>
                  <a:gd name="T8" fmla="*/ 15 w 44"/>
                  <a:gd name="T9" fmla="*/ 9 h 45"/>
                  <a:gd name="T10" fmla="*/ 8 w 44"/>
                  <a:gd name="T11" fmla="*/ 14 h 45"/>
                  <a:gd name="T12" fmla="*/ 4 w 44"/>
                  <a:gd name="T13" fmla="*/ 21 h 45"/>
                  <a:gd name="T14" fmla="*/ 5 w 44"/>
                  <a:gd name="T15" fmla="*/ 28 h 45"/>
                  <a:gd name="T16" fmla="*/ 6 w 44"/>
                  <a:gd name="T17" fmla="*/ 34 h 45"/>
                  <a:gd name="T18" fmla="*/ 13 w 44"/>
                  <a:gd name="T19" fmla="*/ 38 h 45"/>
                  <a:gd name="T20" fmla="*/ 13 w 44"/>
                  <a:gd name="T21" fmla="*/ 38 h 45"/>
                  <a:gd name="T22" fmla="*/ 22 w 44"/>
                  <a:gd name="T23" fmla="*/ 37 h 45"/>
                  <a:gd name="T24" fmla="*/ 22 w 44"/>
                  <a:gd name="T25" fmla="*/ 37 h 45"/>
                  <a:gd name="T26" fmla="*/ 22 w 44"/>
                  <a:gd name="T27" fmla="*/ 37 h 45"/>
                  <a:gd name="T28" fmla="*/ 29 w 44"/>
                  <a:gd name="T29" fmla="*/ 30 h 45"/>
                  <a:gd name="T30" fmla="*/ 33 w 44"/>
                  <a:gd name="T31" fmla="*/ 24 h 45"/>
                  <a:gd name="T32" fmla="*/ 34 w 44"/>
                  <a:gd name="T33" fmla="*/ 16 h 45"/>
                  <a:gd name="T34" fmla="*/ 34 w 44"/>
                  <a:gd name="T35" fmla="*/ 6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4" h="45">
                    <a:moveTo>
                      <a:pt x="34" y="6"/>
                    </a:moveTo>
                    <a:cubicBezTo>
                      <a:pt x="34" y="6"/>
                      <a:pt x="34" y="0"/>
                      <a:pt x="27" y="0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26" y="0"/>
                      <a:pt x="23" y="2"/>
                      <a:pt x="23" y="4"/>
                    </a:cubicBezTo>
                    <a:cubicBezTo>
                      <a:pt x="23" y="4"/>
                      <a:pt x="17" y="0"/>
                      <a:pt x="15" y="9"/>
                    </a:cubicBezTo>
                    <a:cubicBezTo>
                      <a:pt x="15" y="9"/>
                      <a:pt x="7" y="6"/>
                      <a:pt x="8" y="14"/>
                    </a:cubicBezTo>
                    <a:cubicBezTo>
                      <a:pt x="8" y="14"/>
                      <a:pt x="1" y="17"/>
                      <a:pt x="4" y="21"/>
                    </a:cubicBezTo>
                    <a:cubicBezTo>
                      <a:pt x="4" y="21"/>
                      <a:pt x="0" y="27"/>
                      <a:pt x="5" y="28"/>
                    </a:cubicBezTo>
                    <a:cubicBezTo>
                      <a:pt x="5" y="28"/>
                      <a:pt x="2" y="31"/>
                      <a:pt x="6" y="34"/>
                    </a:cubicBezTo>
                    <a:cubicBezTo>
                      <a:pt x="6" y="34"/>
                      <a:pt x="4" y="44"/>
                      <a:pt x="13" y="38"/>
                    </a:cubicBezTo>
                    <a:cubicBezTo>
                      <a:pt x="13" y="38"/>
                      <a:pt x="13" y="38"/>
                      <a:pt x="13" y="38"/>
                    </a:cubicBezTo>
                    <a:cubicBezTo>
                      <a:pt x="13" y="38"/>
                      <a:pt x="16" y="45"/>
                      <a:pt x="22" y="37"/>
                    </a:cubicBezTo>
                    <a:cubicBezTo>
                      <a:pt x="22" y="37"/>
                      <a:pt x="22" y="37"/>
                      <a:pt x="22" y="37"/>
                    </a:cubicBezTo>
                    <a:cubicBezTo>
                      <a:pt x="28" y="28"/>
                      <a:pt x="22" y="37"/>
                      <a:pt x="22" y="37"/>
                    </a:cubicBezTo>
                    <a:cubicBezTo>
                      <a:pt x="22" y="37"/>
                      <a:pt x="30" y="42"/>
                      <a:pt x="29" y="30"/>
                    </a:cubicBezTo>
                    <a:cubicBezTo>
                      <a:pt x="29" y="30"/>
                      <a:pt x="35" y="33"/>
                      <a:pt x="33" y="24"/>
                    </a:cubicBezTo>
                    <a:cubicBezTo>
                      <a:pt x="33" y="24"/>
                      <a:pt x="42" y="20"/>
                      <a:pt x="34" y="16"/>
                    </a:cubicBezTo>
                    <a:cubicBezTo>
                      <a:pt x="34" y="16"/>
                      <a:pt x="44" y="11"/>
                      <a:pt x="34" y="6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05" name="Freeform 196"/>
              <p:cNvSpPr>
                <a:spLocks/>
              </p:cNvSpPr>
              <p:nvPr/>
            </p:nvSpPr>
            <p:spPr bwMode="auto">
              <a:xfrm>
                <a:off x="5581650" y="1397000"/>
                <a:ext cx="88900" cy="123825"/>
              </a:xfrm>
              <a:custGeom>
                <a:avLst/>
                <a:gdLst>
                  <a:gd name="T0" fmla="*/ 33 w 39"/>
                  <a:gd name="T1" fmla="*/ 8 h 54"/>
                  <a:gd name="T2" fmla="*/ 28 w 39"/>
                  <a:gd name="T3" fmla="*/ 0 h 54"/>
                  <a:gd name="T4" fmla="*/ 21 w 39"/>
                  <a:gd name="T5" fmla="*/ 5 h 54"/>
                  <a:gd name="T6" fmla="*/ 13 w 39"/>
                  <a:gd name="T7" fmla="*/ 14 h 54"/>
                  <a:gd name="T8" fmla="*/ 8 w 39"/>
                  <a:gd name="T9" fmla="*/ 16 h 54"/>
                  <a:gd name="T10" fmla="*/ 8 w 39"/>
                  <a:gd name="T11" fmla="*/ 22 h 54"/>
                  <a:gd name="T12" fmla="*/ 4 w 39"/>
                  <a:gd name="T13" fmla="*/ 28 h 54"/>
                  <a:gd name="T14" fmla="*/ 5 w 39"/>
                  <a:gd name="T15" fmla="*/ 34 h 54"/>
                  <a:gd name="T16" fmla="*/ 2 w 39"/>
                  <a:gd name="T17" fmla="*/ 41 h 54"/>
                  <a:gd name="T18" fmla="*/ 16 w 39"/>
                  <a:gd name="T19" fmla="*/ 37 h 54"/>
                  <a:gd name="T20" fmla="*/ 23 w 39"/>
                  <a:gd name="T21" fmla="*/ 30 h 54"/>
                  <a:gd name="T22" fmla="*/ 22 w 39"/>
                  <a:gd name="T23" fmla="*/ 30 h 54"/>
                  <a:gd name="T24" fmla="*/ 29 w 39"/>
                  <a:gd name="T25" fmla="*/ 31 h 54"/>
                  <a:gd name="T26" fmla="*/ 38 w 39"/>
                  <a:gd name="T27" fmla="*/ 18 h 54"/>
                  <a:gd name="T28" fmla="*/ 33 w 39"/>
                  <a:gd name="T29" fmla="*/ 8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9" h="54">
                    <a:moveTo>
                      <a:pt x="33" y="8"/>
                    </a:moveTo>
                    <a:cubicBezTo>
                      <a:pt x="33" y="8"/>
                      <a:pt x="34" y="1"/>
                      <a:pt x="28" y="0"/>
                    </a:cubicBezTo>
                    <a:cubicBezTo>
                      <a:pt x="28" y="0"/>
                      <a:pt x="22" y="0"/>
                      <a:pt x="21" y="5"/>
                    </a:cubicBezTo>
                    <a:cubicBezTo>
                      <a:pt x="21" y="5"/>
                      <a:pt x="12" y="5"/>
                      <a:pt x="13" y="14"/>
                    </a:cubicBezTo>
                    <a:cubicBezTo>
                      <a:pt x="13" y="14"/>
                      <a:pt x="10" y="13"/>
                      <a:pt x="8" y="16"/>
                    </a:cubicBezTo>
                    <a:cubicBezTo>
                      <a:pt x="8" y="16"/>
                      <a:pt x="6" y="20"/>
                      <a:pt x="8" y="22"/>
                    </a:cubicBezTo>
                    <a:cubicBezTo>
                      <a:pt x="8" y="22"/>
                      <a:pt x="3" y="24"/>
                      <a:pt x="4" y="28"/>
                    </a:cubicBezTo>
                    <a:cubicBezTo>
                      <a:pt x="4" y="28"/>
                      <a:pt x="3" y="34"/>
                      <a:pt x="5" y="34"/>
                    </a:cubicBezTo>
                    <a:cubicBezTo>
                      <a:pt x="5" y="34"/>
                      <a:pt x="0" y="37"/>
                      <a:pt x="2" y="41"/>
                    </a:cubicBezTo>
                    <a:cubicBezTo>
                      <a:pt x="2" y="41"/>
                      <a:pt x="7" y="54"/>
                      <a:pt x="16" y="37"/>
                    </a:cubicBezTo>
                    <a:cubicBezTo>
                      <a:pt x="16" y="37"/>
                      <a:pt x="26" y="38"/>
                      <a:pt x="23" y="30"/>
                    </a:cubicBezTo>
                    <a:cubicBezTo>
                      <a:pt x="23" y="30"/>
                      <a:pt x="23" y="30"/>
                      <a:pt x="22" y="30"/>
                    </a:cubicBezTo>
                    <a:cubicBezTo>
                      <a:pt x="22" y="30"/>
                      <a:pt x="27" y="35"/>
                      <a:pt x="29" y="31"/>
                    </a:cubicBezTo>
                    <a:cubicBezTo>
                      <a:pt x="29" y="31"/>
                      <a:pt x="39" y="44"/>
                      <a:pt x="38" y="18"/>
                    </a:cubicBezTo>
                    <a:cubicBezTo>
                      <a:pt x="38" y="18"/>
                      <a:pt x="39" y="9"/>
                      <a:pt x="33" y="8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06" name="Freeform 197"/>
              <p:cNvSpPr>
                <a:spLocks/>
              </p:cNvSpPr>
              <p:nvPr/>
            </p:nvSpPr>
            <p:spPr bwMode="auto">
              <a:xfrm>
                <a:off x="5562600" y="1414463"/>
                <a:ext cx="144463" cy="119063"/>
              </a:xfrm>
              <a:custGeom>
                <a:avLst/>
                <a:gdLst>
                  <a:gd name="T0" fmla="*/ 51 w 63"/>
                  <a:gd name="T1" fmla="*/ 18 h 52"/>
                  <a:gd name="T2" fmla="*/ 44 w 63"/>
                  <a:gd name="T3" fmla="*/ 13 h 52"/>
                  <a:gd name="T4" fmla="*/ 32 w 63"/>
                  <a:gd name="T5" fmla="*/ 12 h 52"/>
                  <a:gd name="T6" fmla="*/ 28 w 63"/>
                  <a:gd name="T7" fmla="*/ 19 h 52"/>
                  <a:gd name="T8" fmla="*/ 19 w 63"/>
                  <a:gd name="T9" fmla="*/ 29 h 52"/>
                  <a:gd name="T10" fmla="*/ 15 w 63"/>
                  <a:gd name="T11" fmla="*/ 35 h 52"/>
                  <a:gd name="T12" fmla="*/ 6 w 63"/>
                  <a:gd name="T13" fmla="*/ 38 h 52"/>
                  <a:gd name="T14" fmla="*/ 3 w 63"/>
                  <a:gd name="T15" fmla="*/ 45 h 52"/>
                  <a:gd name="T16" fmla="*/ 15 w 63"/>
                  <a:gd name="T17" fmla="*/ 43 h 52"/>
                  <a:gd name="T18" fmla="*/ 24 w 63"/>
                  <a:gd name="T19" fmla="*/ 35 h 52"/>
                  <a:gd name="T20" fmla="*/ 24 w 63"/>
                  <a:gd name="T21" fmla="*/ 35 h 52"/>
                  <a:gd name="T22" fmla="*/ 24 w 63"/>
                  <a:gd name="T23" fmla="*/ 35 h 52"/>
                  <a:gd name="T24" fmla="*/ 32 w 63"/>
                  <a:gd name="T25" fmla="*/ 31 h 52"/>
                  <a:gd name="T26" fmla="*/ 41 w 63"/>
                  <a:gd name="T27" fmla="*/ 31 h 52"/>
                  <a:gd name="T28" fmla="*/ 51 w 63"/>
                  <a:gd name="T29" fmla="*/ 38 h 52"/>
                  <a:gd name="T30" fmla="*/ 55 w 63"/>
                  <a:gd name="T31" fmla="*/ 29 h 52"/>
                  <a:gd name="T32" fmla="*/ 51 w 63"/>
                  <a:gd name="T33" fmla="*/ 18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3" h="52">
                    <a:moveTo>
                      <a:pt x="51" y="18"/>
                    </a:moveTo>
                    <a:cubicBezTo>
                      <a:pt x="52" y="9"/>
                      <a:pt x="44" y="13"/>
                      <a:pt x="44" y="13"/>
                    </a:cubicBezTo>
                    <a:cubicBezTo>
                      <a:pt x="38" y="0"/>
                      <a:pt x="32" y="12"/>
                      <a:pt x="32" y="12"/>
                    </a:cubicBezTo>
                    <a:cubicBezTo>
                      <a:pt x="24" y="11"/>
                      <a:pt x="28" y="19"/>
                      <a:pt x="28" y="19"/>
                    </a:cubicBezTo>
                    <a:cubicBezTo>
                      <a:pt x="14" y="15"/>
                      <a:pt x="19" y="29"/>
                      <a:pt x="19" y="29"/>
                    </a:cubicBezTo>
                    <a:cubicBezTo>
                      <a:pt x="12" y="29"/>
                      <a:pt x="15" y="35"/>
                      <a:pt x="15" y="35"/>
                    </a:cubicBezTo>
                    <a:cubicBezTo>
                      <a:pt x="7" y="27"/>
                      <a:pt x="6" y="38"/>
                      <a:pt x="6" y="38"/>
                    </a:cubicBezTo>
                    <a:cubicBezTo>
                      <a:pt x="0" y="39"/>
                      <a:pt x="3" y="45"/>
                      <a:pt x="3" y="45"/>
                    </a:cubicBezTo>
                    <a:cubicBezTo>
                      <a:pt x="11" y="52"/>
                      <a:pt x="15" y="43"/>
                      <a:pt x="15" y="43"/>
                    </a:cubicBezTo>
                    <a:cubicBezTo>
                      <a:pt x="26" y="51"/>
                      <a:pt x="24" y="35"/>
                      <a:pt x="24" y="35"/>
                    </a:cubicBezTo>
                    <a:cubicBezTo>
                      <a:pt x="24" y="35"/>
                      <a:pt x="17" y="30"/>
                      <a:pt x="24" y="35"/>
                    </a:cubicBezTo>
                    <a:cubicBezTo>
                      <a:pt x="24" y="35"/>
                      <a:pt x="24" y="35"/>
                      <a:pt x="24" y="35"/>
                    </a:cubicBezTo>
                    <a:cubicBezTo>
                      <a:pt x="31" y="39"/>
                      <a:pt x="32" y="31"/>
                      <a:pt x="32" y="31"/>
                    </a:cubicBezTo>
                    <a:cubicBezTo>
                      <a:pt x="36" y="42"/>
                      <a:pt x="41" y="31"/>
                      <a:pt x="41" y="31"/>
                    </a:cubicBezTo>
                    <a:cubicBezTo>
                      <a:pt x="42" y="46"/>
                      <a:pt x="51" y="38"/>
                      <a:pt x="51" y="38"/>
                    </a:cubicBezTo>
                    <a:cubicBezTo>
                      <a:pt x="63" y="41"/>
                      <a:pt x="55" y="29"/>
                      <a:pt x="55" y="29"/>
                    </a:cubicBezTo>
                    <a:cubicBezTo>
                      <a:pt x="61" y="20"/>
                      <a:pt x="51" y="18"/>
                      <a:pt x="51" y="18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07" name="Freeform 198"/>
              <p:cNvSpPr>
                <a:spLocks/>
              </p:cNvSpPr>
              <p:nvPr/>
            </p:nvSpPr>
            <p:spPr bwMode="auto">
              <a:xfrm>
                <a:off x="5599113" y="1714500"/>
                <a:ext cx="61913" cy="150813"/>
              </a:xfrm>
              <a:custGeom>
                <a:avLst/>
                <a:gdLst>
                  <a:gd name="T0" fmla="*/ 21 w 27"/>
                  <a:gd name="T1" fmla="*/ 4 h 66"/>
                  <a:gd name="T2" fmla="*/ 10 w 27"/>
                  <a:gd name="T3" fmla="*/ 0 h 66"/>
                  <a:gd name="T4" fmla="*/ 0 w 27"/>
                  <a:gd name="T5" fmla="*/ 60 h 66"/>
                  <a:gd name="T6" fmla="*/ 27 w 27"/>
                  <a:gd name="T7" fmla="*/ 60 h 66"/>
                  <a:gd name="T8" fmla="*/ 21 w 27"/>
                  <a:gd name="T9" fmla="*/ 4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" h="66">
                    <a:moveTo>
                      <a:pt x="21" y="4"/>
                    </a:moveTo>
                    <a:cubicBezTo>
                      <a:pt x="21" y="4"/>
                      <a:pt x="20" y="0"/>
                      <a:pt x="10" y="0"/>
                    </a:cubicBezTo>
                    <a:cubicBezTo>
                      <a:pt x="10" y="0"/>
                      <a:pt x="12" y="51"/>
                      <a:pt x="0" y="60"/>
                    </a:cubicBezTo>
                    <a:cubicBezTo>
                      <a:pt x="0" y="60"/>
                      <a:pt x="19" y="66"/>
                      <a:pt x="27" y="60"/>
                    </a:cubicBezTo>
                    <a:cubicBezTo>
                      <a:pt x="27" y="60"/>
                      <a:pt x="17" y="34"/>
                      <a:pt x="21" y="4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08" name="Freeform 199"/>
              <p:cNvSpPr>
                <a:spLocks/>
              </p:cNvSpPr>
              <p:nvPr/>
            </p:nvSpPr>
            <p:spPr bwMode="auto">
              <a:xfrm>
                <a:off x="5668963" y="1706563"/>
                <a:ext cx="58738" cy="152400"/>
              </a:xfrm>
              <a:custGeom>
                <a:avLst/>
                <a:gdLst>
                  <a:gd name="T0" fmla="*/ 20 w 26"/>
                  <a:gd name="T1" fmla="*/ 4 h 66"/>
                  <a:gd name="T2" fmla="*/ 9 w 26"/>
                  <a:gd name="T3" fmla="*/ 0 h 66"/>
                  <a:gd name="T4" fmla="*/ 0 w 26"/>
                  <a:gd name="T5" fmla="*/ 60 h 66"/>
                  <a:gd name="T6" fmla="*/ 26 w 26"/>
                  <a:gd name="T7" fmla="*/ 60 h 66"/>
                  <a:gd name="T8" fmla="*/ 20 w 26"/>
                  <a:gd name="T9" fmla="*/ 4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" h="66">
                    <a:moveTo>
                      <a:pt x="20" y="4"/>
                    </a:moveTo>
                    <a:cubicBezTo>
                      <a:pt x="20" y="4"/>
                      <a:pt x="19" y="0"/>
                      <a:pt x="9" y="0"/>
                    </a:cubicBezTo>
                    <a:cubicBezTo>
                      <a:pt x="9" y="0"/>
                      <a:pt x="12" y="51"/>
                      <a:pt x="0" y="60"/>
                    </a:cubicBezTo>
                    <a:cubicBezTo>
                      <a:pt x="0" y="60"/>
                      <a:pt x="18" y="66"/>
                      <a:pt x="26" y="60"/>
                    </a:cubicBezTo>
                    <a:cubicBezTo>
                      <a:pt x="26" y="60"/>
                      <a:pt x="16" y="34"/>
                      <a:pt x="20" y="4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09" name="Freeform 200"/>
              <p:cNvSpPr>
                <a:spLocks/>
              </p:cNvSpPr>
              <p:nvPr/>
            </p:nvSpPr>
            <p:spPr bwMode="auto">
              <a:xfrm>
                <a:off x="5581650" y="1471613"/>
                <a:ext cx="95250" cy="111125"/>
              </a:xfrm>
              <a:custGeom>
                <a:avLst/>
                <a:gdLst>
                  <a:gd name="T0" fmla="*/ 31 w 42"/>
                  <a:gd name="T1" fmla="*/ 14 h 49"/>
                  <a:gd name="T2" fmla="*/ 23 w 42"/>
                  <a:gd name="T3" fmla="*/ 0 h 49"/>
                  <a:gd name="T4" fmla="*/ 16 w 42"/>
                  <a:gd name="T5" fmla="*/ 10 h 49"/>
                  <a:gd name="T6" fmla="*/ 13 w 42"/>
                  <a:gd name="T7" fmla="*/ 27 h 49"/>
                  <a:gd name="T8" fmla="*/ 41 w 42"/>
                  <a:gd name="T9" fmla="*/ 19 h 49"/>
                  <a:gd name="T10" fmla="*/ 31 w 42"/>
                  <a:gd name="T11" fmla="*/ 14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2" h="49">
                    <a:moveTo>
                      <a:pt x="31" y="14"/>
                    </a:moveTo>
                    <a:cubicBezTo>
                      <a:pt x="32" y="0"/>
                      <a:pt x="23" y="0"/>
                      <a:pt x="23" y="0"/>
                    </a:cubicBezTo>
                    <a:cubicBezTo>
                      <a:pt x="15" y="0"/>
                      <a:pt x="16" y="10"/>
                      <a:pt x="16" y="10"/>
                    </a:cubicBezTo>
                    <a:cubicBezTo>
                      <a:pt x="0" y="19"/>
                      <a:pt x="13" y="27"/>
                      <a:pt x="13" y="27"/>
                    </a:cubicBezTo>
                    <a:cubicBezTo>
                      <a:pt x="42" y="49"/>
                      <a:pt x="41" y="19"/>
                      <a:pt x="41" y="19"/>
                    </a:cubicBezTo>
                    <a:cubicBezTo>
                      <a:pt x="39" y="9"/>
                      <a:pt x="31" y="14"/>
                      <a:pt x="31" y="14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10" name="Freeform 201"/>
              <p:cNvSpPr>
                <a:spLocks/>
              </p:cNvSpPr>
              <p:nvPr/>
            </p:nvSpPr>
            <p:spPr bwMode="auto">
              <a:xfrm>
                <a:off x="5608638" y="1539875"/>
                <a:ext cx="3175" cy="6350"/>
              </a:xfrm>
              <a:custGeom>
                <a:avLst/>
                <a:gdLst>
                  <a:gd name="T0" fmla="*/ 0 w 1"/>
                  <a:gd name="T1" fmla="*/ 0 h 3"/>
                  <a:gd name="T2" fmla="*/ 1 w 1"/>
                  <a:gd name="T3" fmla="*/ 3 h 3"/>
                  <a:gd name="T4" fmla="*/ 0 w 1"/>
                  <a:gd name="T5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3">
                    <a:moveTo>
                      <a:pt x="0" y="0"/>
                    </a:moveTo>
                    <a:cubicBezTo>
                      <a:pt x="0" y="1"/>
                      <a:pt x="0" y="2"/>
                      <a:pt x="1" y="3"/>
                    </a:cubicBezTo>
                    <a:cubicBezTo>
                      <a:pt x="1" y="3"/>
                      <a:pt x="0" y="2"/>
                      <a:pt x="0" y="0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11" name="Freeform 202"/>
              <p:cNvSpPr>
                <a:spLocks/>
              </p:cNvSpPr>
              <p:nvPr/>
            </p:nvSpPr>
            <p:spPr bwMode="auto">
              <a:xfrm>
                <a:off x="5559425" y="1514475"/>
                <a:ext cx="153988" cy="212725"/>
              </a:xfrm>
              <a:custGeom>
                <a:avLst/>
                <a:gdLst>
                  <a:gd name="T0" fmla="*/ 55 w 68"/>
                  <a:gd name="T1" fmla="*/ 42 h 93"/>
                  <a:gd name="T2" fmla="*/ 54 w 68"/>
                  <a:gd name="T3" fmla="*/ 34 h 93"/>
                  <a:gd name="T4" fmla="*/ 49 w 68"/>
                  <a:gd name="T5" fmla="*/ 18 h 93"/>
                  <a:gd name="T6" fmla="*/ 46 w 68"/>
                  <a:gd name="T7" fmla="*/ 8 h 93"/>
                  <a:gd name="T8" fmla="*/ 36 w 68"/>
                  <a:gd name="T9" fmla="*/ 13 h 93"/>
                  <a:gd name="T10" fmla="*/ 28 w 68"/>
                  <a:gd name="T11" fmla="*/ 0 h 93"/>
                  <a:gd name="T12" fmla="*/ 22 w 68"/>
                  <a:gd name="T13" fmla="*/ 11 h 93"/>
                  <a:gd name="T14" fmla="*/ 23 w 68"/>
                  <a:gd name="T15" fmla="*/ 14 h 93"/>
                  <a:gd name="T16" fmla="*/ 22 w 68"/>
                  <a:gd name="T17" fmla="*/ 11 h 93"/>
                  <a:gd name="T18" fmla="*/ 17 w 68"/>
                  <a:gd name="T19" fmla="*/ 8 h 93"/>
                  <a:gd name="T20" fmla="*/ 15 w 68"/>
                  <a:gd name="T21" fmla="*/ 21 h 93"/>
                  <a:gd name="T22" fmla="*/ 10 w 68"/>
                  <a:gd name="T23" fmla="*/ 34 h 93"/>
                  <a:gd name="T24" fmla="*/ 7 w 68"/>
                  <a:gd name="T25" fmla="*/ 51 h 93"/>
                  <a:gd name="T26" fmla="*/ 11 w 68"/>
                  <a:gd name="T27" fmla="*/ 64 h 93"/>
                  <a:gd name="T28" fmla="*/ 9 w 68"/>
                  <a:gd name="T29" fmla="*/ 80 h 93"/>
                  <a:gd name="T30" fmla="*/ 31 w 68"/>
                  <a:gd name="T31" fmla="*/ 79 h 93"/>
                  <a:gd name="T32" fmla="*/ 47 w 68"/>
                  <a:gd name="T33" fmla="*/ 80 h 93"/>
                  <a:gd name="T34" fmla="*/ 59 w 68"/>
                  <a:gd name="T35" fmla="*/ 72 h 93"/>
                  <a:gd name="T36" fmla="*/ 57 w 68"/>
                  <a:gd name="T37" fmla="*/ 60 h 93"/>
                  <a:gd name="T38" fmla="*/ 55 w 68"/>
                  <a:gd name="T39" fmla="*/ 42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68" h="93">
                    <a:moveTo>
                      <a:pt x="55" y="42"/>
                    </a:moveTo>
                    <a:cubicBezTo>
                      <a:pt x="55" y="42"/>
                      <a:pt x="64" y="40"/>
                      <a:pt x="54" y="34"/>
                    </a:cubicBezTo>
                    <a:cubicBezTo>
                      <a:pt x="54" y="34"/>
                      <a:pt x="66" y="19"/>
                      <a:pt x="49" y="18"/>
                    </a:cubicBezTo>
                    <a:cubicBezTo>
                      <a:pt x="49" y="18"/>
                      <a:pt x="53" y="11"/>
                      <a:pt x="46" y="8"/>
                    </a:cubicBezTo>
                    <a:cubicBezTo>
                      <a:pt x="46" y="8"/>
                      <a:pt x="38" y="3"/>
                      <a:pt x="36" y="13"/>
                    </a:cubicBezTo>
                    <a:cubicBezTo>
                      <a:pt x="36" y="13"/>
                      <a:pt x="37" y="3"/>
                      <a:pt x="28" y="0"/>
                    </a:cubicBezTo>
                    <a:cubicBezTo>
                      <a:pt x="28" y="0"/>
                      <a:pt x="20" y="1"/>
                      <a:pt x="22" y="11"/>
                    </a:cubicBezTo>
                    <a:cubicBezTo>
                      <a:pt x="22" y="13"/>
                      <a:pt x="23" y="14"/>
                      <a:pt x="23" y="14"/>
                    </a:cubicBezTo>
                    <a:cubicBezTo>
                      <a:pt x="22" y="13"/>
                      <a:pt x="22" y="12"/>
                      <a:pt x="22" y="11"/>
                    </a:cubicBezTo>
                    <a:cubicBezTo>
                      <a:pt x="21" y="9"/>
                      <a:pt x="20" y="7"/>
                      <a:pt x="17" y="8"/>
                    </a:cubicBezTo>
                    <a:cubicBezTo>
                      <a:pt x="17" y="8"/>
                      <a:pt x="11" y="13"/>
                      <a:pt x="15" y="21"/>
                    </a:cubicBezTo>
                    <a:cubicBezTo>
                      <a:pt x="15" y="21"/>
                      <a:pt x="6" y="22"/>
                      <a:pt x="10" y="34"/>
                    </a:cubicBezTo>
                    <a:cubicBezTo>
                      <a:pt x="10" y="34"/>
                      <a:pt x="0" y="40"/>
                      <a:pt x="7" y="51"/>
                    </a:cubicBezTo>
                    <a:cubicBezTo>
                      <a:pt x="7" y="51"/>
                      <a:pt x="2" y="57"/>
                      <a:pt x="11" y="64"/>
                    </a:cubicBezTo>
                    <a:cubicBezTo>
                      <a:pt x="11" y="64"/>
                      <a:pt x="3" y="70"/>
                      <a:pt x="9" y="80"/>
                    </a:cubicBezTo>
                    <a:cubicBezTo>
                      <a:pt x="9" y="80"/>
                      <a:pt x="18" y="93"/>
                      <a:pt x="31" y="79"/>
                    </a:cubicBezTo>
                    <a:cubicBezTo>
                      <a:pt x="31" y="79"/>
                      <a:pt x="34" y="71"/>
                      <a:pt x="47" y="80"/>
                    </a:cubicBezTo>
                    <a:cubicBezTo>
                      <a:pt x="47" y="80"/>
                      <a:pt x="54" y="83"/>
                      <a:pt x="59" y="72"/>
                    </a:cubicBezTo>
                    <a:cubicBezTo>
                      <a:pt x="59" y="72"/>
                      <a:pt x="62" y="64"/>
                      <a:pt x="57" y="60"/>
                    </a:cubicBezTo>
                    <a:cubicBezTo>
                      <a:pt x="57" y="60"/>
                      <a:pt x="68" y="49"/>
                      <a:pt x="55" y="42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12" name="Freeform 203"/>
              <p:cNvSpPr>
                <a:spLocks/>
              </p:cNvSpPr>
              <p:nvPr/>
            </p:nvSpPr>
            <p:spPr bwMode="auto">
              <a:xfrm>
                <a:off x="5586413" y="1576388"/>
                <a:ext cx="103188" cy="184150"/>
              </a:xfrm>
              <a:custGeom>
                <a:avLst/>
                <a:gdLst>
                  <a:gd name="T0" fmla="*/ 34 w 45"/>
                  <a:gd name="T1" fmla="*/ 35 h 80"/>
                  <a:gd name="T2" fmla="*/ 34 w 45"/>
                  <a:gd name="T3" fmla="*/ 18 h 80"/>
                  <a:gd name="T4" fmla="*/ 29 w 45"/>
                  <a:gd name="T5" fmla="*/ 2 h 80"/>
                  <a:gd name="T6" fmla="*/ 19 w 45"/>
                  <a:gd name="T7" fmla="*/ 11 h 80"/>
                  <a:gd name="T8" fmla="*/ 7 w 45"/>
                  <a:gd name="T9" fmla="*/ 14 h 80"/>
                  <a:gd name="T10" fmla="*/ 9 w 45"/>
                  <a:gd name="T11" fmla="*/ 22 h 80"/>
                  <a:gd name="T12" fmla="*/ 7 w 45"/>
                  <a:gd name="T13" fmla="*/ 37 h 80"/>
                  <a:gd name="T14" fmla="*/ 0 w 45"/>
                  <a:gd name="T15" fmla="*/ 47 h 80"/>
                  <a:gd name="T16" fmla="*/ 6 w 45"/>
                  <a:gd name="T17" fmla="*/ 53 h 80"/>
                  <a:gd name="T18" fmla="*/ 15 w 45"/>
                  <a:gd name="T19" fmla="*/ 62 h 80"/>
                  <a:gd name="T20" fmla="*/ 32 w 45"/>
                  <a:gd name="T21" fmla="*/ 62 h 80"/>
                  <a:gd name="T22" fmla="*/ 35 w 45"/>
                  <a:gd name="T23" fmla="*/ 49 h 80"/>
                  <a:gd name="T24" fmla="*/ 34 w 45"/>
                  <a:gd name="T25" fmla="*/ 35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5" h="80">
                    <a:moveTo>
                      <a:pt x="34" y="35"/>
                    </a:moveTo>
                    <a:cubicBezTo>
                      <a:pt x="34" y="35"/>
                      <a:pt x="45" y="28"/>
                      <a:pt x="34" y="18"/>
                    </a:cubicBezTo>
                    <a:cubicBezTo>
                      <a:pt x="34" y="18"/>
                      <a:pt x="39" y="9"/>
                      <a:pt x="29" y="2"/>
                    </a:cubicBezTo>
                    <a:cubicBezTo>
                      <a:pt x="29" y="2"/>
                      <a:pt x="21" y="0"/>
                      <a:pt x="19" y="11"/>
                    </a:cubicBezTo>
                    <a:cubicBezTo>
                      <a:pt x="19" y="11"/>
                      <a:pt x="13" y="3"/>
                      <a:pt x="7" y="14"/>
                    </a:cubicBezTo>
                    <a:cubicBezTo>
                      <a:pt x="7" y="14"/>
                      <a:pt x="5" y="19"/>
                      <a:pt x="9" y="22"/>
                    </a:cubicBezTo>
                    <a:cubicBezTo>
                      <a:pt x="9" y="22"/>
                      <a:pt x="2" y="27"/>
                      <a:pt x="7" y="37"/>
                    </a:cubicBezTo>
                    <a:cubicBezTo>
                      <a:pt x="7" y="37"/>
                      <a:pt x="2" y="36"/>
                      <a:pt x="0" y="47"/>
                    </a:cubicBezTo>
                    <a:cubicBezTo>
                      <a:pt x="0" y="47"/>
                      <a:pt x="1" y="53"/>
                      <a:pt x="6" y="53"/>
                    </a:cubicBezTo>
                    <a:cubicBezTo>
                      <a:pt x="6" y="53"/>
                      <a:pt x="2" y="67"/>
                      <a:pt x="15" y="62"/>
                    </a:cubicBezTo>
                    <a:cubicBezTo>
                      <a:pt x="15" y="62"/>
                      <a:pt x="21" y="80"/>
                      <a:pt x="32" y="62"/>
                    </a:cubicBezTo>
                    <a:cubicBezTo>
                      <a:pt x="32" y="62"/>
                      <a:pt x="44" y="58"/>
                      <a:pt x="35" y="49"/>
                    </a:cubicBezTo>
                    <a:cubicBezTo>
                      <a:pt x="35" y="49"/>
                      <a:pt x="45" y="43"/>
                      <a:pt x="34" y="35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13" name="Freeform 204"/>
              <p:cNvSpPr>
                <a:spLocks/>
              </p:cNvSpPr>
              <p:nvPr/>
            </p:nvSpPr>
            <p:spPr bwMode="auto">
              <a:xfrm>
                <a:off x="5868988" y="1706563"/>
                <a:ext cx="61913" cy="153988"/>
              </a:xfrm>
              <a:custGeom>
                <a:avLst/>
                <a:gdLst>
                  <a:gd name="T0" fmla="*/ 21 w 27"/>
                  <a:gd name="T1" fmla="*/ 5 h 67"/>
                  <a:gd name="T2" fmla="*/ 10 w 27"/>
                  <a:gd name="T3" fmla="*/ 1 h 67"/>
                  <a:gd name="T4" fmla="*/ 0 w 27"/>
                  <a:gd name="T5" fmla="*/ 61 h 67"/>
                  <a:gd name="T6" fmla="*/ 27 w 27"/>
                  <a:gd name="T7" fmla="*/ 61 h 67"/>
                  <a:gd name="T8" fmla="*/ 21 w 27"/>
                  <a:gd name="T9" fmla="*/ 5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" h="67">
                    <a:moveTo>
                      <a:pt x="21" y="5"/>
                    </a:moveTo>
                    <a:cubicBezTo>
                      <a:pt x="21" y="5"/>
                      <a:pt x="20" y="0"/>
                      <a:pt x="10" y="1"/>
                    </a:cubicBezTo>
                    <a:cubicBezTo>
                      <a:pt x="10" y="1"/>
                      <a:pt x="12" y="52"/>
                      <a:pt x="0" y="61"/>
                    </a:cubicBezTo>
                    <a:cubicBezTo>
                      <a:pt x="0" y="61"/>
                      <a:pt x="19" y="67"/>
                      <a:pt x="27" y="61"/>
                    </a:cubicBezTo>
                    <a:cubicBezTo>
                      <a:pt x="27" y="61"/>
                      <a:pt x="17" y="35"/>
                      <a:pt x="21" y="5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14" name="Freeform 205"/>
              <p:cNvSpPr>
                <a:spLocks/>
              </p:cNvSpPr>
              <p:nvPr/>
            </p:nvSpPr>
            <p:spPr bwMode="auto">
              <a:xfrm>
                <a:off x="5819775" y="1681163"/>
                <a:ext cx="61913" cy="152400"/>
              </a:xfrm>
              <a:custGeom>
                <a:avLst/>
                <a:gdLst>
                  <a:gd name="T0" fmla="*/ 21 w 27"/>
                  <a:gd name="T1" fmla="*/ 5 h 66"/>
                  <a:gd name="T2" fmla="*/ 10 w 27"/>
                  <a:gd name="T3" fmla="*/ 0 h 66"/>
                  <a:gd name="T4" fmla="*/ 0 w 27"/>
                  <a:gd name="T5" fmla="*/ 60 h 66"/>
                  <a:gd name="T6" fmla="*/ 27 w 27"/>
                  <a:gd name="T7" fmla="*/ 60 h 66"/>
                  <a:gd name="T8" fmla="*/ 21 w 27"/>
                  <a:gd name="T9" fmla="*/ 5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" h="66">
                    <a:moveTo>
                      <a:pt x="21" y="5"/>
                    </a:moveTo>
                    <a:cubicBezTo>
                      <a:pt x="21" y="5"/>
                      <a:pt x="20" y="0"/>
                      <a:pt x="10" y="0"/>
                    </a:cubicBezTo>
                    <a:cubicBezTo>
                      <a:pt x="10" y="0"/>
                      <a:pt x="12" y="52"/>
                      <a:pt x="0" y="60"/>
                    </a:cubicBezTo>
                    <a:cubicBezTo>
                      <a:pt x="0" y="60"/>
                      <a:pt x="19" y="66"/>
                      <a:pt x="27" y="60"/>
                    </a:cubicBezTo>
                    <a:cubicBezTo>
                      <a:pt x="27" y="60"/>
                      <a:pt x="17" y="34"/>
                      <a:pt x="21" y="5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15" name="Freeform 206"/>
              <p:cNvSpPr>
                <a:spLocks/>
              </p:cNvSpPr>
              <p:nvPr/>
            </p:nvSpPr>
            <p:spPr bwMode="auto">
              <a:xfrm>
                <a:off x="5851525" y="1471613"/>
                <a:ext cx="95250" cy="114300"/>
              </a:xfrm>
              <a:custGeom>
                <a:avLst/>
                <a:gdLst>
                  <a:gd name="T0" fmla="*/ 31 w 42"/>
                  <a:gd name="T1" fmla="*/ 15 h 50"/>
                  <a:gd name="T2" fmla="*/ 23 w 42"/>
                  <a:gd name="T3" fmla="*/ 0 h 50"/>
                  <a:gd name="T4" fmla="*/ 16 w 42"/>
                  <a:gd name="T5" fmla="*/ 11 h 50"/>
                  <a:gd name="T6" fmla="*/ 13 w 42"/>
                  <a:gd name="T7" fmla="*/ 28 h 50"/>
                  <a:gd name="T8" fmla="*/ 41 w 42"/>
                  <a:gd name="T9" fmla="*/ 20 h 50"/>
                  <a:gd name="T10" fmla="*/ 31 w 42"/>
                  <a:gd name="T11" fmla="*/ 15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2" h="50">
                    <a:moveTo>
                      <a:pt x="31" y="15"/>
                    </a:moveTo>
                    <a:cubicBezTo>
                      <a:pt x="32" y="0"/>
                      <a:pt x="23" y="0"/>
                      <a:pt x="23" y="0"/>
                    </a:cubicBezTo>
                    <a:cubicBezTo>
                      <a:pt x="15" y="1"/>
                      <a:pt x="16" y="11"/>
                      <a:pt x="16" y="11"/>
                    </a:cubicBezTo>
                    <a:cubicBezTo>
                      <a:pt x="0" y="20"/>
                      <a:pt x="13" y="28"/>
                      <a:pt x="13" y="28"/>
                    </a:cubicBezTo>
                    <a:cubicBezTo>
                      <a:pt x="42" y="50"/>
                      <a:pt x="41" y="20"/>
                      <a:pt x="41" y="20"/>
                    </a:cubicBezTo>
                    <a:cubicBezTo>
                      <a:pt x="39" y="10"/>
                      <a:pt x="31" y="15"/>
                      <a:pt x="31" y="15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16" name="Freeform 207"/>
              <p:cNvSpPr>
                <a:spLocks/>
              </p:cNvSpPr>
              <p:nvPr/>
            </p:nvSpPr>
            <p:spPr bwMode="auto">
              <a:xfrm>
                <a:off x="5829300" y="1517650"/>
                <a:ext cx="153988" cy="212725"/>
              </a:xfrm>
              <a:custGeom>
                <a:avLst/>
                <a:gdLst>
                  <a:gd name="T0" fmla="*/ 55 w 68"/>
                  <a:gd name="T1" fmla="*/ 42 h 93"/>
                  <a:gd name="T2" fmla="*/ 54 w 68"/>
                  <a:gd name="T3" fmla="*/ 34 h 93"/>
                  <a:gd name="T4" fmla="*/ 49 w 68"/>
                  <a:gd name="T5" fmla="*/ 17 h 93"/>
                  <a:gd name="T6" fmla="*/ 46 w 68"/>
                  <a:gd name="T7" fmla="*/ 7 h 93"/>
                  <a:gd name="T8" fmla="*/ 36 w 68"/>
                  <a:gd name="T9" fmla="*/ 12 h 93"/>
                  <a:gd name="T10" fmla="*/ 28 w 68"/>
                  <a:gd name="T11" fmla="*/ 0 h 93"/>
                  <a:gd name="T12" fmla="*/ 22 w 68"/>
                  <a:gd name="T13" fmla="*/ 11 h 93"/>
                  <a:gd name="T14" fmla="*/ 23 w 68"/>
                  <a:gd name="T15" fmla="*/ 13 h 93"/>
                  <a:gd name="T16" fmla="*/ 22 w 68"/>
                  <a:gd name="T17" fmla="*/ 11 h 93"/>
                  <a:gd name="T18" fmla="*/ 17 w 68"/>
                  <a:gd name="T19" fmla="*/ 8 h 93"/>
                  <a:gd name="T20" fmla="*/ 15 w 68"/>
                  <a:gd name="T21" fmla="*/ 20 h 93"/>
                  <a:gd name="T22" fmla="*/ 10 w 68"/>
                  <a:gd name="T23" fmla="*/ 33 h 93"/>
                  <a:gd name="T24" fmla="*/ 7 w 68"/>
                  <a:gd name="T25" fmla="*/ 50 h 93"/>
                  <a:gd name="T26" fmla="*/ 11 w 68"/>
                  <a:gd name="T27" fmla="*/ 64 h 93"/>
                  <a:gd name="T28" fmla="*/ 9 w 68"/>
                  <a:gd name="T29" fmla="*/ 79 h 93"/>
                  <a:gd name="T30" fmla="*/ 31 w 68"/>
                  <a:gd name="T31" fmla="*/ 78 h 93"/>
                  <a:gd name="T32" fmla="*/ 47 w 68"/>
                  <a:gd name="T33" fmla="*/ 79 h 93"/>
                  <a:gd name="T34" fmla="*/ 59 w 68"/>
                  <a:gd name="T35" fmla="*/ 71 h 93"/>
                  <a:gd name="T36" fmla="*/ 57 w 68"/>
                  <a:gd name="T37" fmla="*/ 59 h 93"/>
                  <a:gd name="T38" fmla="*/ 55 w 68"/>
                  <a:gd name="T39" fmla="*/ 42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68" h="93">
                    <a:moveTo>
                      <a:pt x="55" y="42"/>
                    </a:moveTo>
                    <a:cubicBezTo>
                      <a:pt x="55" y="42"/>
                      <a:pt x="64" y="40"/>
                      <a:pt x="54" y="34"/>
                    </a:cubicBezTo>
                    <a:cubicBezTo>
                      <a:pt x="54" y="34"/>
                      <a:pt x="66" y="18"/>
                      <a:pt x="49" y="17"/>
                    </a:cubicBezTo>
                    <a:cubicBezTo>
                      <a:pt x="49" y="17"/>
                      <a:pt x="53" y="11"/>
                      <a:pt x="46" y="7"/>
                    </a:cubicBezTo>
                    <a:cubicBezTo>
                      <a:pt x="46" y="7"/>
                      <a:pt x="38" y="3"/>
                      <a:pt x="36" y="12"/>
                    </a:cubicBezTo>
                    <a:cubicBezTo>
                      <a:pt x="36" y="12"/>
                      <a:pt x="37" y="3"/>
                      <a:pt x="28" y="0"/>
                    </a:cubicBezTo>
                    <a:cubicBezTo>
                      <a:pt x="28" y="0"/>
                      <a:pt x="20" y="0"/>
                      <a:pt x="22" y="11"/>
                    </a:cubicBezTo>
                    <a:cubicBezTo>
                      <a:pt x="22" y="12"/>
                      <a:pt x="23" y="13"/>
                      <a:pt x="23" y="13"/>
                    </a:cubicBezTo>
                    <a:cubicBezTo>
                      <a:pt x="22" y="12"/>
                      <a:pt x="22" y="12"/>
                      <a:pt x="22" y="11"/>
                    </a:cubicBezTo>
                    <a:cubicBezTo>
                      <a:pt x="21" y="9"/>
                      <a:pt x="20" y="7"/>
                      <a:pt x="17" y="8"/>
                    </a:cubicBezTo>
                    <a:cubicBezTo>
                      <a:pt x="17" y="8"/>
                      <a:pt x="11" y="12"/>
                      <a:pt x="15" y="20"/>
                    </a:cubicBezTo>
                    <a:cubicBezTo>
                      <a:pt x="15" y="20"/>
                      <a:pt x="6" y="21"/>
                      <a:pt x="10" y="33"/>
                    </a:cubicBezTo>
                    <a:cubicBezTo>
                      <a:pt x="10" y="33"/>
                      <a:pt x="0" y="39"/>
                      <a:pt x="7" y="50"/>
                    </a:cubicBezTo>
                    <a:cubicBezTo>
                      <a:pt x="7" y="50"/>
                      <a:pt x="2" y="56"/>
                      <a:pt x="11" y="64"/>
                    </a:cubicBezTo>
                    <a:cubicBezTo>
                      <a:pt x="11" y="64"/>
                      <a:pt x="3" y="69"/>
                      <a:pt x="9" y="79"/>
                    </a:cubicBezTo>
                    <a:cubicBezTo>
                      <a:pt x="9" y="79"/>
                      <a:pt x="18" y="93"/>
                      <a:pt x="31" y="78"/>
                    </a:cubicBezTo>
                    <a:cubicBezTo>
                      <a:pt x="31" y="78"/>
                      <a:pt x="34" y="71"/>
                      <a:pt x="47" y="79"/>
                    </a:cubicBezTo>
                    <a:cubicBezTo>
                      <a:pt x="47" y="79"/>
                      <a:pt x="54" y="82"/>
                      <a:pt x="59" y="71"/>
                    </a:cubicBezTo>
                    <a:cubicBezTo>
                      <a:pt x="59" y="71"/>
                      <a:pt x="62" y="64"/>
                      <a:pt x="57" y="59"/>
                    </a:cubicBezTo>
                    <a:cubicBezTo>
                      <a:pt x="57" y="59"/>
                      <a:pt x="68" y="49"/>
                      <a:pt x="55" y="42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17" name="Freeform 208"/>
              <p:cNvSpPr>
                <a:spLocks/>
              </p:cNvSpPr>
              <p:nvPr/>
            </p:nvSpPr>
            <p:spPr bwMode="auto">
              <a:xfrm>
                <a:off x="5878513" y="1541463"/>
                <a:ext cx="3175" cy="4763"/>
              </a:xfrm>
              <a:custGeom>
                <a:avLst/>
                <a:gdLst>
                  <a:gd name="T0" fmla="*/ 0 w 1"/>
                  <a:gd name="T1" fmla="*/ 0 h 2"/>
                  <a:gd name="T2" fmla="*/ 1 w 1"/>
                  <a:gd name="T3" fmla="*/ 2 h 2"/>
                  <a:gd name="T4" fmla="*/ 0 w 1"/>
                  <a:gd name="T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2">
                    <a:moveTo>
                      <a:pt x="0" y="0"/>
                    </a:moveTo>
                    <a:cubicBezTo>
                      <a:pt x="0" y="1"/>
                      <a:pt x="0" y="1"/>
                      <a:pt x="1" y="2"/>
                    </a:cubicBezTo>
                    <a:cubicBezTo>
                      <a:pt x="1" y="2"/>
                      <a:pt x="0" y="1"/>
                      <a:pt x="0" y="0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18" name="Freeform 209"/>
              <p:cNvSpPr>
                <a:spLocks/>
              </p:cNvSpPr>
              <p:nvPr/>
            </p:nvSpPr>
            <p:spPr bwMode="auto">
              <a:xfrm>
                <a:off x="5856288" y="1576388"/>
                <a:ext cx="103188" cy="185738"/>
              </a:xfrm>
              <a:custGeom>
                <a:avLst/>
                <a:gdLst>
                  <a:gd name="T0" fmla="*/ 34 w 45"/>
                  <a:gd name="T1" fmla="*/ 35 h 81"/>
                  <a:gd name="T2" fmla="*/ 34 w 45"/>
                  <a:gd name="T3" fmla="*/ 18 h 81"/>
                  <a:gd name="T4" fmla="*/ 29 w 45"/>
                  <a:gd name="T5" fmla="*/ 3 h 81"/>
                  <a:gd name="T6" fmla="*/ 19 w 45"/>
                  <a:gd name="T7" fmla="*/ 11 h 81"/>
                  <a:gd name="T8" fmla="*/ 7 w 45"/>
                  <a:gd name="T9" fmla="*/ 15 h 81"/>
                  <a:gd name="T10" fmla="*/ 9 w 45"/>
                  <a:gd name="T11" fmla="*/ 23 h 81"/>
                  <a:gd name="T12" fmla="*/ 7 w 45"/>
                  <a:gd name="T13" fmla="*/ 37 h 81"/>
                  <a:gd name="T14" fmla="*/ 0 w 45"/>
                  <a:gd name="T15" fmla="*/ 47 h 81"/>
                  <a:gd name="T16" fmla="*/ 6 w 45"/>
                  <a:gd name="T17" fmla="*/ 53 h 81"/>
                  <a:gd name="T18" fmla="*/ 15 w 45"/>
                  <a:gd name="T19" fmla="*/ 63 h 81"/>
                  <a:gd name="T20" fmla="*/ 32 w 45"/>
                  <a:gd name="T21" fmla="*/ 62 h 81"/>
                  <a:gd name="T22" fmla="*/ 35 w 45"/>
                  <a:gd name="T23" fmla="*/ 49 h 81"/>
                  <a:gd name="T24" fmla="*/ 34 w 45"/>
                  <a:gd name="T25" fmla="*/ 35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5" h="81">
                    <a:moveTo>
                      <a:pt x="34" y="35"/>
                    </a:moveTo>
                    <a:cubicBezTo>
                      <a:pt x="34" y="35"/>
                      <a:pt x="45" y="28"/>
                      <a:pt x="34" y="18"/>
                    </a:cubicBezTo>
                    <a:cubicBezTo>
                      <a:pt x="34" y="18"/>
                      <a:pt x="39" y="10"/>
                      <a:pt x="29" y="3"/>
                    </a:cubicBezTo>
                    <a:cubicBezTo>
                      <a:pt x="29" y="3"/>
                      <a:pt x="21" y="0"/>
                      <a:pt x="19" y="11"/>
                    </a:cubicBezTo>
                    <a:cubicBezTo>
                      <a:pt x="19" y="11"/>
                      <a:pt x="13" y="4"/>
                      <a:pt x="7" y="15"/>
                    </a:cubicBezTo>
                    <a:cubicBezTo>
                      <a:pt x="7" y="15"/>
                      <a:pt x="5" y="20"/>
                      <a:pt x="9" y="23"/>
                    </a:cubicBezTo>
                    <a:cubicBezTo>
                      <a:pt x="9" y="23"/>
                      <a:pt x="2" y="27"/>
                      <a:pt x="7" y="37"/>
                    </a:cubicBezTo>
                    <a:cubicBezTo>
                      <a:pt x="7" y="37"/>
                      <a:pt x="2" y="36"/>
                      <a:pt x="0" y="47"/>
                    </a:cubicBezTo>
                    <a:cubicBezTo>
                      <a:pt x="0" y="47"/>
                      <a:pt x="1" y="53"/>
                      <a:pt x="6" y="53"/>
                    </a:cubicBezTo>
                    <a:cubicBezTo>
                      <a:pt x="6" y="53"/>
                      <a:pt x="2" y="67"/>
                      <a:pt x="15" y="63"/>
                    </a:cubicBezTo>
                    <a:cubicBezTo>
                      <a:pt x="15" y="63"/>
                      <a:pt x="21" y="81"/>
                      <a:pt x="32" y="62"/>
                    </a:cubicBezTo>
                    <a:cubicBezTo>
                      <a:pt x="32" y="62"/>
                      <a:pt x="44" y="59"/>
                      <a:pt x="35" y="49"/>
                    </a:cubicBezTo>
                    <a:cubicBezTo>
                      <a:pt x="35" y="49"/>
                      <a:pt x="45" y="43"/>
                      <a:pt x="34" y="35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19" name="Freeform 210"/>
              <p:cNvSpPr>
                <a:spLocks/>
              </p:cNvSpPr>
              <p:nvPr/>
            </p:nvSpPr>
            <p:spPr bwMode="auto">
              <a:xfrm>
                <a:off x="6767513" y="1404938"/>
                <a:ext cx="98425" cy="149225"/>
              </a:xfrm>
              <a:custGeom>
                <a:avLst/>
                <a:gdLst>
                  <a:gd name="T0" fmla="*/ 35 w 43"/>
                  <a:gd name="T1" fmla="*/ 26 h 65"/>
                  <a:gd name="T2" fmla="*/ 35 w 43"/>
                  <a:gd name="T3" fmla="*/ 5 h 65"/>
                  <a:gd name="T4" fmla="*/ 24 w 43"/>
                  <a:gd name="T5" fmla="*/ 12 h 65"/>
                  <a:gd name="T6" fmla="*/ 17 w 43"/>
                  <a:gd name="T7" fmla="*/ 20 h 65"/>
                  <a:gd name="T8" fmla="*/ 9 w 43"/>
                  <a:gd name="T9" fmla="*/ 31 h 65"/>
                  <a:gd name="T10" fmla="*/ 9 w 43"/>
                  <a:gd name="T11" fmla="*/ 43 h 65"/>
                  <a:gd name="T12" fmla="*/ 12 w 43"/>
                  <a:gd name="T13" fmla="*/ 56 h 65"/>
                  <a:gd name="T14" fmla="*/ 17 w 43"/>
                  <a:gd name="T15" fmla="*/ 65 h 65"/>
                  <a:gd name="T16" fmla="*/ 24 w 43"/>
                  <a:gd name="T17" fmla="*/ 54 h 65"/>
                  <a:gd name="T18" fmla="*/ 29 w 43"/>
                  <a:gd name="T19" fmla="*/ 43 h 65"/>
                  <a:gd name="T20" fmla="*/ 35 w 43"/>
                  <a:gd name="T21" fmla="*/ 26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3" h="65">
                    <a:moveTo>
                      <a:pt x="35" y="26"/>
                    </a:moveTo>
                    <a:cubicBezTo>
                      <a:pt x="35" y="26"/>
                      <a:pt x="41" y="9"/>
                      <a:pt x="35" y="5"/>
                    </a:cubicBezTo>
                    <a:cubicBezTo>
                      <a:pt x="35" y="5"/>
                      <a:pt x="25" y="0"/>
                      <a:pt x="24" y="12"/>
                    </a:cubicBezTo>
                    <a:cubicBezTo>
                      <a:pt x="24" y="12"/>
                      <a:pt x="16" y="11"/>
                      <a:pt x="17" y="20"/>
                    </a:cubicBezTo>
                    <a:cubicBezTo>
                      <a:pt x="17" y="20"/>
                      <a:pt x="4" y="16"/>
                      <a:pt x="9" y="31"/>
                    </a:cubicBezTo>
                    <a:cubicBezTo>
                      <a:pt x="9" y="31"/>
                      <a:pt x="0" y="36"/>
                      <a:pt x="9" y="43"/>
                    </a:cubicBezTo>
                    <a:cubicBezTo>
                      <a:pt x="9" y="43"/>
                      <a:pt x="1" y="52"/>
                      <a:pt x="12" y="56"/>
                    </a:cubicBezTo>
                    <a:cubicBezTo>
                      <a:pt x="12" y="56"/>
                      <a:pt x="10" y="65"/>
                      <a:pt x="17" y="65"/>
                    </a:cubicBezTo>
                    <a:cubicBezTo>
                      <a:pt x="17" y="65"/>
                      <a:pt x="26" y="65"/>
                      <a:pt x="24" y="54"/>
                    </a:cubicBezTo>
                    <a:cubicBezTo>
                      <a:pt x="24" y="54"/>
                      <a:pt x="35" y="50"/>
                      <a:pt x="29" y="43"/>
                    </a:cubicBezTo>
                    <a:cubicBezTo>
                      <a:pt x="29" y="43"/>
                      <a:pt x="43" y="32"/>
                      <a:pt x="35" y="26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20" name="Freeform 211"/>
              <p:cNvSpPr>
                <a:spLocks/>
              </p:cNvSpPr>
              <p:nvPr/>
            </p:nvSpPr>
            <p:spPr bwMode="auto">
              <a:xfrm>
                <a:off x="6869113" y="1582738"/>
                <a:ext cx="0" cy="3175"/>
              </a:xfrm>
              <a:custGeom>
                <a:avLst/>
                <a:gdLst>
                  <a:gd name="T0" fmla="*/ 0 h 1"/>
                  <a:gd name="T1" fmla="*/ 1 h 1"/>
                  <a:gd name="T2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0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21" name="Freeform 212"/>
              <p:cNvSpPr>
                <a:spLocks/>
              </p:cNvSpPr>
              <p:nvPr/>
            </p:nvSpPr>
            <p:spPr bwMode="auto">
              <a:xfrm>
                <a:off x="6862763" y="1576388"/>
                <a:ext cx="0" cy="1588"/>
              </a:xfrm>
              <a:custGeom>
                <a:avLst/>
                <a:gdLst>
                  <a:gd name="T0" fmla="*/ 0 h 1"/>
                  <a:gd name="T1" fmla="*/ 1 h 1"/>
                  <a:gd name="T2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1"/>
                      <a:pt x="0" y="1"/>
                    </a:cubicBezTo>
                    <a:cubicBezTo>
                      <a:pt x="0" y="1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22" name="Freeform 213"/>
              <p:cNvSpPr>
                <a:spLocks/>
              </p:cNvSpPr>
              <p:nvPr/>
            </p:nvSpPr>
            <p:spPr bwMode="auto">
              <a:xfrm>
                <a:off x="6843713" y="1541463"/>
                <a:ext cx="47625" cy="127000"/>
              </a:xfrm>
              <a:custGeom>
                <a:avLst/>
                <a:gdLst>
                  <a:gd name="T0" fmla="*/ 11 w 21"/>
                  <a:gd name="T1" fmla="*/ 18 h 55"/>
                  <a:gd name="T2" fmla="*/ 11 w 21"/>
                  <a:gd name="T3" fmla="*/ 19 h 55"/>
                  <a:gd name="T4" fmla="*/ 11 w 21"/>
                  <a:gd name="T5" fmla="*/ 18 h 55"/>
                  <a:gd name="T6" fmla="*/ 13 w 21"/>
                  <a:gd name="T7" fmla="*/ 2 h 55"/>
                  <a:gd name="T8" fmla="*/ 10 w 21"/>
                  <a:gd name="T9" fmla="*/ 0 h 55"/>
                  <a:gd name="T10" fmla="*/ 8 w 21"/>
                  <a:gd name="T11" fmla="*/ 15 h 55"/>
                  <a:gd name="T12" fmla="*/ 8 w 21"/>
                  <a:gd name="T13" fmla="*/ 16 h 55"/>
                  <a:gd name="T14" fmla="*/ 8 w 21"/>
                  <a:gd name="T15" fmla="*/ 15 h 55"/>
                  <a:gd name="T16" fmla="*/ 2 w 21"/>
                  <a:gd name="T17" fmla="*/ 5 h 55"/>
                  <a:gd name="T18" fmla="*/ 0 w 21"/>
                  <a:gd name="T19" fmla="*/ 10 h 55"/>
                  <a:gd name="T20" fmla="*/ 4 w 21"/>
                  <a:gd name="T21" fmla="*/ 32 h 55"/>
                  <a:gd name="T22" fmla="*/ 2 w 21"/>
                  <a:gd name="T23" fmla="*/ 55 h 55"/>
                  <a:gd name="T24" fmla="*/ 3 w 21"/>
                  <a:gd name="T25" fmla="*/ 55 h 55"/>
                  <a:gd name="T26" fmla="*/ 14 w 21"/>
                  <a:gd name="T27" fmla="*/ 55 h 55"/>
                  <a:gd name="T28" fmla="*/ 13 w 21"/>
                  <a:gd name="T29" fmla="*/ 25 h 55"/>
                  <a:gd name="T30" fmla="*/ 21 w 21"/>
                  <a:gd name="T31" fmla="*/ 8 h 55"/>
                  <a:gd name="T32" fmla="*/ 20 w 21"/>
                  <a:gd name="T33" fmla="*/ 2 h 55"/>
                  <a:gd name="T34" fmla="*/ 11 w 21"/>
                  <a:gd name="T35" fmla="*/ 18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1" h="55">
                    <a:moveTo>
                      <a:pt x="11" y="18"/>
                    </a:moveTo>
                    <a:cubicBezTo>
                      <a:pt x="11" y="19"/>
                      <a:pt x="11" y="19"/>
                      <a:pt x="11" y="19"/>
                    </a:cubicBezTo>
                    <a:cubicBezTo>
                      <a:pt x="11" y="19"/>
                      <a:pt x="11" y="19"/>
                      <a:pt x="11" y="18"/>
                    </a:cubicBezTo>
                    <a:cubicBezTo>
                      <a:pt x="11" y="15"/>
                      <a:pt x="12" y="4"/>
                      <a:pt x="13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10" y="0"/>
                      <a:pt x="8" y="13"/>
                      <a:pt x="8" y="15"/>
                    </a:cubicBezTo>
                    <a:cubicBezTo>
                      <a:pt x="8" y="15"/>
                      <a:pt x="8" y="16"/>
                      <a:pt x="8" y="16"/>
                    </a:cubicBezTo>
                    <a:cubicBezTo>
                      <a:pt x="8" y="16"/>
                      <a:pt x="8" y="15"/>
                      <a:pt x="8" y="15"/>
                    </a:cubicBezTo>
                    <a:cubicBezTo>
                      <a:pt x="7" y="14"/>
                      <a:pt x="6" y="8"/>
                      <a:pt x="2" y="5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10"/>
                      <a:pt x="6" y="15"/>
                      <a:pt x="4" y="32"/>
                    </a:cubicBezTo>
                    <a:cubicBezTo>
                      <a:pt x="4" y="32"/>
                      <a:pt x="3" y="52"/>
                      <a:pt x="2" y="55"/>
                    </a:cubicBezTo>
                    <a:cubicBezTo>
                      <a:pt x="3" y="55"/>
                      <a:pt x="3" y="55"/>
                      <a:pt x="3" y="55"/>
                    </a:cubicBezTo>
                    <a:cubicBezTo>
                      <a:pt x="14" y="55"/>
                      <a:pt x="14" y="55"/>
                      <a:pt x="14" y="55"/>
                    </a:cubicBezTo>
                    <a:cubicBezTo>
                      <a:pt x="14" y="55"/>
                      <a:pt x="11" y="34"/>
                      <a:pt x="13" y="25"/>
                    </a:cubicBezTo>
                    <a:cubicBezTo>
                      <a:pt x="15" y="16"/>
                      <a:pt x="18" y="9"/>
                      <a:pt x="21" y="8"/>
                    </a:cubicBezTo>
                    <a:cubicBezTo>
                      <a:pt x="20" y="2"/>
                      <a:pt x="20" y="2"/>
                      <a:pt x="20" y="2"/>
                    </a:cubicBezTo>
                    <a:cubicBezTo>
                      <a:pt x="20" y="2"/>
                      <a:pt x="11" y="11"/>
                      <a:pt x="11" y="18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23" name="Freeform 214"/>
              <p:cNvSpPr>
                <a:spLocks/>
              </p:cNvSpPr>
              <p:nvPr/>
            </p:nvSpPr>
            <p:spPr bwMode="auto">
              <a:xfrm>
                <a:off x="6796088" y="1466850"/>
                <a:ext cx="47625" cy="71438"/>
              </a:xfrm>
              <a:custGeom>
                <a:avLst/>
                <a:gdLst>
                  <a:gd name="T0" fmla="*/ 14 w 21"/>
                  <a:gd name="T1" fmla="*/ 2 h 31"/>
                  <a:gd name="T2" fmla="*/ 7 w 21"/>
                  <a:gd name="T3" fmla="*/ 10 h 31"/>
                  <a:gd name="T4" fmla="*/ 6 w 21"/>
                  <a:gd name="T5" fmla="*/ 20 h 31"/>
                  <a:gd name="T6" fmla="*/ 12 w 21"/>
                  <a:gd name="T7" fmla="*/ 29 h 31"/>
                  <a:gd name="T8" fmla="*/ 14 w 21"/>
                  <a:gd name="T9" fmla="*/ 2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31">
                    <a:moveTo>
                      <a:pt x="14" y="2"/>
                    </a:moveTo>
                    <a:cubicBezTo>
                      <a:pt x="14" y="2"/>
                      <a:pt x="3" y="0"/>
                      <a:pt x="7" y="10"/>
                    </a:cubicBezTo>
                    <a:cubicBezTo>
                      <a:pt x="7" y="10"/>
                      <a:pt x="0" y="14"/>
                      <a:pt x="6" y="20"/>
                    </a:cubicBezTo>
                    <a:cubicBezTo>
                      <a:pt x="6" y="20"/>
                      <a:pt x="2" y="31"/>
                      <a:pt x="12" y="29"/>
                    </a:cubicBezTo>
                    <a:cubicBezTo>
                      <a:pt x="12" y="29"/>
                      <a:pt x="21" y="3"/>
                      <a:pt x="14" y="2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24" name="Freeform 215"/>
              <p:cNvSpPr>
                <a:spLocks/>
              </p:cNvSpPr>
              <p:nvPr/>
            </p:nvSpPr>
            <p:spPr bwMode="auto">
              <a:xfrm>
                <a:off x="6845300" y="1441450"/>
                <a:ext cx="3175" cy="0"/>
              </a:xfrm>
              <a:custGeom>
                <a:avLst/>
                <a:gdLst>
                  <a:gd name="T0" fmla="*/ 0 w 1"/>
                  <a:gd name="T1" fmla="*/ 1 w 1"/>
                  <a:gd name="T2" fmla="*/ 0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0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25" name="Freeform 216"/>
              <p:cNvSpPr>
                <a:spLocks/>
              </p:cNvSpPr>
              <p:nvPr/>
            </p:nvSpPr>
            <p:spPr bwMode="auto">
              <a:xfrm>
                <a:off x="6826250" y="1395413"/>
                <a:ext cx="79375" cy="98425"/>
              </a:xfrm>
              <a:custGeom>
                <a:avLst/>
                <a:gdLst>
                  <a:gd name="T0" fmla="*/ 31 w 35"/>
                  <a:gd name="T1" fmla="*/ 7 h 43"/>
                  <a:gd name="T2" fmla="*/ 27 w 35"/>
                  <a:gd name="T3" fmla="*/ 1 h 43"/>
                  <a:gd name="T4" fmla="*/ 18 w 35"/>
                  <a:gd name="T5" fmla="*/ 7 h 43"/>
                  <a:gd name="T6" fmla="*/ 8 w 35"/>
                  <a:gd name="T7" fmla="*/ 13 h 43"/>
                  <a:gd name="T8" fmla="*/ 9 w 35"/>
                  <a:gd name="T9" fmla="*/ 20 h 43"/>
                  <a:gd name="T10" fmla="*/ 10 w 35"/>
                  <a:gd name="T11" fmla="*/ 20 h 43"/>
                  <a:gd name="T12" fmla="*/ 9 w 35"/>
                  <a:gd name="T13" fmla="*/ 20 h 43"/>
                  <a:gd name="T14" fmla="*/ 3 w 35"/>
                  <a:gd name="T15" fmla="*/ 24 h 43"/>
                  <a:gd name="T16" fmla="*/ 5 w 35"/>
                  <a:gd name="T17" fmla="*/ 30 h 43"/>
                  <a:gd name="T18" fmla="*/ 1 w 35"/>
                  <a:gd name="T19" fmla="*/ 37 h 43"/>
                  <a:gd name="T20" fmla="*/ 9 w 35"/>
                  <a:gd name="T21" fmla="*/ 43 h 43"/>
                  <a:gd name="T22" fmla="*/ 18 w 35"/>
                  <a:gd name="T23" fmla="*/ 33 h 43"/>
                  <a:gd name="T24" fmla="*/ 23 w 35"/>
                  <a:gd name="T25" fmla="*/ 23 h 43"/>
                  <a:gd name="T26" fmla="*/ 28 w 35"/>
                  <a:gd name="T27" fmla="*/ 16 h 43"/>
                  <a:gd name="T28" fmla="*/ 31 w 35"/>
                  <a:gd name="T29" fmla="*/ 7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5" h="43">
                    <a:moveTo>
                      <a:pt x="31" y="7"/>
                    </a:moveTo>
                    <a:cubicBezTo>
                      <a:pt x="31" y="7"/>
                      <a:pt x="31" y="1"/>
                      <a:pt x="27" y="1"/>
                    </a:cubicBezTo>
                    <a:cubicBezTo>
                      <a:pt x="27" y="1"/>
                      <a:pt x="18" y="0"/>
                      <a:pt x="18" y="7"/>
                    </a:cubicBezTo>
                    <a:cubicBezTo>
                      <a:pt x="18" y="7"/>
                      <a:pt x="9" y="4"/>
                      <a:pt x="8" y="13"/>
                    </a:cubicBezTo>
                    <a:cubicBezTo>
                      <a:pt x="8" y="13"/>
                      <a:pt x="7" y="19"/>
                      <a:pt x="9" y="20"/>
                    </a:cubicBezTo>
                    <a:cubicBezTo>
                      <a:pt x="10" y="20"/>
                      <a:pt x="10" y="20"/>
                      <a:pt x="10" y="20"/>
                    </a:cubicBezTo>
                    <a:cubicBezTo>
                      <a:pt x="10" y="20"/>
                      <a:pt x="10" y="20"/>
                      <a:pt x="9" y="20"/>
                    </a:cubicBezTo>
                    <a:cubicBezTo>
                      <a:pt x="8" y="20"/>
                      <a:pt x="4" y="20"/>
                      <a:pt x="3" y="24"/>
                    </a:cubicBezTo>
                    <a:cubicBezTo>
                      <a:pt x="3" y="24"/>
                      <a:pt x="2" y="25"/>
                      <a:pt x="5" y="30"/>
                    </a:cubicBezTo>
                    <a:cubicBezTo>
                      <a:pt x="5" y="30"/>
                      <a:pt x="0" y="33"/>
                      <a:pt x="1" y="37"/>
                    </a:cubicBezTo>
                    <a:cubicBezTo>
                      <a:pt x="1" y="37"/>
                      <a:pt x="2" y="43"/>
                      <a:pt x="9" y="43"/>
                    </a:cubicBezTo>
                    <a:cubicBezTo>
                      <a:pt x="9" y="43"/>
                      <a:pt x="20" y="43"/>
                      <a:pt x="18" y="33"/>
                    </a:cubicBezTo>
                    <a:cubicBezTo>
                      <a:pt x="18" y="33"/>
                      <a:pt x="31" y="30"/>
                      <a:pt x="23" y="23"/>
                    </a:cubicBezTo>
                    <a:cubicBezTo>
                      <a:pt x="23" y="23"/>
                      <a:pt x="35" y="27"/>
                      <a:pt x="28" y="16"/>
                    </a:cubicBezTo>
                    <a:cubicBezTo>
                      <a:pt x="28" y="16"/>
                      <a:pt x="32" y="11"/>
                      <a:pt x="31" y="7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26" name="Freeform 217"/>
              <p:cNvSpPr>
                <a:spLocks/>
              </p:cNvSpPr>
              <p:nvPr/>
            </p:nvSpPr>
            <p:spPr bwMode="auto">
              <a:xfrm>
                <a:off x="6853238" y="1404938"/>
                <a:ext cx="100013" cy="98425"/>
              </a:xfrm>
              <a:custGeom>
                <a:avLst/>
                <a:gdLst>
                  <a:gd name="T0" fmla="*/ 28 w 44"/>
                  <a:gd name="T1" fmla="*/ 8 h 43"/>
                  <a:gd name="T2" fmla="*/ 22 w 44"/>
                  <a:gd name="T3" fmla="*/ 1 h 43"/>
                  <a:gd name="T4" fmla="*/ 16 w 44"/>
                  <a:gd name="T5" fmla="*/ 9 h 43"/>
                  <a:gd name="T6" fmla="*/ 10 w 44"/>
                  <a:gd name="T7" fmla="*/ 14 h 43"/>
                  <a:gd name="T8" fmla="*/ 10 w 44"/>
                  <a:gd name="T9" fmla="*/ 23 h 43"/>
                  <a:gd name="T10" fmla="*/ 14 w 44"/>
                  <a:gd name="T11" fmla="*/ 33 h 43"/>
                  <a:gd name="T12" fmla="*/ 24 w 44"/>
                  <a:gd name="T13" fmla="*/ 35 h 43"/>
                  <a:gd name="T14" fmla="*/ 32 w 44"/>
                  <a:gd name="T15" fmla="*/ 29 h 43"/>
                  <a:gd name="T16" fmla="*/ 36 w 44"/>
                  <a:gd name="T17" fmla="*/ 16 h 43"/>
                  <a:gd name="T18" fmla="*/ 28 w 44"/>
                  <a:gd name="T19" fmla="*/ 8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4" h="43">
                    <a:moveTo>
                      <a:pt x="28" y="8"/>
                    </a:moveTo>
                    <a:cubicBezTo>
                      <a:pt x="28" y="8"/>
                      <a:pt x="28" y="2"/>
                      <a:pt x="22" y="1"/>
                    </a:cubicBezTo>
                    <a:cubicBezTo>
                      <a:pt x="22" y="1"/>
                      <a:pt x="17" y="0"/>
                      <a:pt x="16" y="9"/>
                    </a:cubicBezTo>
                    <a:cubicBezTo>
                      <a:pt x="16" y="9"/>
                      <a:pt x="9" y="7"/>
                      <a:pt x="10" y="14"/>
                    </a:cubicBezTo>
                    <a:cubicBezTo>
                      <a:pt x="10" y="14"/>
                      <a:pt x="0" y="17"/>
                      <a:pt x="10" y="23"/>
                    </a:cubicBezTo>
                    <a:cubicBezTo>
                      <a:pt x="10" y="23"/>
                      <a:pt x="8" y="34"/>
                      <a:pt x="14" y="33"/>
                    </a:cubicBezTo>
                    <a:cubicBezTo>
                      <a:pt x="14" y="33"/>
                      <a:pt x="17" y="43"/>
                      <a:pt x="24" y="35"/>
                    </a:cubicBezTo>
                    <a:cubicBezTo>
                      <a:pt x="24" y="35"/>
                      <a:pt x="34" y="39"/>
                      <a:pt x="32" y="29"/>
                    </a:cubicBezTo>
                    <a:cubicBezTo>
                      <a:pt x="32" y="29"/>
                      <a:pt x="44" y="24"/>
                      <a:pt x="36" y="16"/>
                    </a:cubicBezTo>
                    <a:cubicBezTo>
                      <a:pt x="36" y="16"/>
                      <a:pt x="37" y="8"/>
                      <a:pt x="28" y="8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27" name="Freeform 218"/>
              <p:cNvSpPr>
                <a:spLocks/>
              </p:cNvSpPr>
              <p:nvPr/>
            </p:nvSpPr>
            <p:spPr bwMode="auto">
              <a:xfrm>
                <a:off x="6889750" y="1438275"/>
                <a:ext cx="90488" cy="95250"/>
              </a:xfrm>
              <a:custGeom>
                <a:avLst/>
                <a:gdLst>
                  <a:gd name="T0" fmla="*/ 31 w 40"/>
                  <a:gd name="T1" fmla="*/ 16 h 41"/>
                  <a:gd name="T2" fmla="*/ 27 w 40"/>
                  <a:gd name="T3" fmla="*/ 8 h 41"/>
                  <a:gd name="T4" fmla="*/ 22 w 40"/>
                  <a:gd name="T5" fmla="*/ 1 h 41"/>
                  <a:gd name="T6" fmla="*/ 16 w 40"/>
                  <a:gd name="T7" fmla="*/ 9 h 41"/>
                  <a:gd name="T8" fmla="*/ 8 w 40"/>
                  <a:gd name="T9" fmla="*/ 11 h 41"/>
                  <a:gd name="T10" fmla="*/ 9 w 40"/>
                  <a:gd name="T11" fmla="*/ 18 h 41"/>
                  <a:gd name="T12" fmla="*/ 3 w 40"/>
                  <a:gd name="T13" fmla="*/ 27 h 41"/>
                  <a:gd name="T14" fmla="*/ 17 w 40"/>
                  <a:gd name="T15" fmla="*/ 32 h 41"/>
                  <a:gd name="T16" fmla="*/ 24 w 40"/>
                  <a:gd name="T17" fmla="*/ 32 h 41"/>
                  <a:gd name="T18" fmla="*/ 31 w 40"/>
                  <a:gd name="T19" fmla="*/ 28 h 41"/>
                  <a:gd name="T20" fmla="*/ 33 w 40"/>
                  <a:gd name="T21" fmla="*/ 28 h 41"/>
                  <a:gd name="T22" fmla="*/ 31 w 40"/>
                  <a:gd name="T23" fmla="*/ 16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41">
                    <a:moveTo>
                      <a:pt x="31" y="16"/>
                    </a:moveTo>
                    <a:cubicBezTo>
                      <a:pt x="31" y="16"/>
                      <a:pt x="36" y="9"/>
                      <a:pt x="27" y="8"/>
                    </a:cubicBezTo>
                    <a:cubicBezTo>
                      <a:pt x="27" y="8"/>
                      <a:pt x="27" y="0"/>
                      <a:pt x="22" y="1"/>
                    </a:cubicBezTo>
                    <a:cubicBezTo>
                      <a:pt x="22" y="1"/>
                      <a:pt x="14" y="0"/>
                      <a:pt x="16" y="9"/>
                    </a:cubicBezTo>
                    <a:cubicBezTo>
                      <a:pt x="16" y="9"/>
                      <a:pt x="10" y="5"/>
                      <a:pt x="8" y="11"/>
                    </a:cubicBezTo>
                    <a:cubicBezTo>
                      <a:pt x="8" y="11"/>
                      <a:pt x="5" y="17"/>
                      <a:pt x="9" y="18"/>
                    </a:cubicBezTo>
                    <a:cubicBezTo>
                      <a:pt x="9" y="18"/>
                      <a:pt x="0" y="19"/>
                      <a:pt x="3" y="27"/>
                    </a:cubicBezTo>
                    <a:cubicBezTo>
                      <a:pt x="3" y="27"/>
                      <a:pt x="8" y="41"/>
                      <a:pt x="17" y="32"/>
                    </a:cubicBezTo>
                    <a:cubicBezTo>
                      <a:pt x="17" y="32"/>
                      <a:pt x="23" y="37"/>
                      <a:pt x="24" y="32"/>
                    </a:cubicBezTo>
                    <a:cubicBezTo>
                      <a:pt x="24" y="32"/>
                      <a:pt x="32" y="38"/>
                      <a:pt x="31" y="28"/>
                    </a:cubicBezTo>
                    <a:cubicBezTo>
                      <a:pt x="31" y="28"/>
                      <a:pt x="32" y="28"/>
                      <a:pt x="33" y="28"/>
                    </a:cubicBezTo>
                    <a:cubicBezTo>
                      <a:pt x="33" y="28"/>
                      <a:pt x="40" y="20"/>
                      <a:pt x="31" y="16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28" name="Freeform 219"/>
              <p:cNvSpPr>
                <a:spLocks/>
              </p:cNvSpPr>
              <p:nvPr/>
            </p:nvSpPr>
            <p:spPr bwMode="auto">
              <a:xfrm>
                <a:off x="6932613" y="1565275"/>
                <a:ext cx="7938" cy="9525"/>
              </a:xfrm>
              <a:custGeom>
                <a:avLst/>
                <a:gdLst>
                  <a:gd name="T0" fmla="*/ 3 w 3"/>
                  <a:gd name="T1" fmla="*/ 0 h 4"/>
                  <a:gd name="T2" fmla="*/ 0 w 3"/>
                  <a:gd name="T3" fmla="*/ 4 h 4"/>
                  <a:gd name="T4" fmla="*/ 0 w 3"/>
                  <a:gd name="T5" fmla="*/ 4 h 4"/>
                  <a:gd name="T6" fmla="*/ 3 w 3"/>
                  <a:gd name="T7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4">
                    <a:moveTo>
                      <a:pt x="3" y="0"/>
                    </a:moveTo>
                    <a:cubicBezTo>
                      <a:pt x="2" y="0"/>
                      <a:pt x="1" y="3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2" y="1"/>
                      <a:pt x="2" y="0"/>
                      <a:pt x="3" y="0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29" name="Freeform 220"/>
              <p:cNvSpPr>
                <a:spLocks/>
              </p:cNvSpPr>
              <p:nvPr/>
            </p:nvSpPr>
            <p:spPr bwMode="auto">
              <a:xfrm>
                <a:off x="6883400" y="1487488"/>
                <a:ext cx="100013" cy="104775"/>
              </a:xfrm>
              <a:custGeom>
                <a:avLst/>
                <a:gdLst>
                  <a:gd name="T0" fmla="*/ 34 w 44"/>
                  <a:gd name="T1" fmla="*/ 7 h 46"/>
                  <a:gd name="T2" fmla="*/ 27 w 44"/>
                  <a:gd name="T3" fmla="*/ 1 h 46"/>
                  <a:gd name="T4" fmla="*/ 26 w 44"/>
                  <a:gd name="T5" fmla="*/ 1 h 46"/>
                  <a:gd name="T6" fmla="*/ 23 w 44"/>
                  <a:gd name="T7" fmla="*/ 5 h 46"/>
                  <a:gd name="T8" fmla="*/ 15 w 44"/>
                  <a:gd name="T9" fmla="*/ 10 h 46"/>
                  <a:gd name="T10" fmla="*/ 8 w 44"/>
                  <a:gd name="T11" fmla="*/ 15 h 46"/>
                  <a:gd name="T12" fmla="*/ 5 w 44"/>
                  <a:gd name="T13" fmla="*/ 22 h 46"/>
                  <a:gd name="T14" fmla="*/ 5 w 44"/>
                  <a:gd name="T15" fmla="*/ 29 h 46"/>
                  <a:gd name="T16" fmla="*/ 6 w 44"/>
                  <a:gd name="T17" fmla="*/ 35 h 46"/>
                  <a:gd name="T18" fmla="*/ 13 w 44"/>
                  <a:gd name="T19" fmla="*/ 39 h 46"/>
                  <a:gd name="T20" fmla="*/ 13 w 44"/>
                  <a:gd name="T21" fmla="*/ 39 h 46"/>
                  <a:gd name="T22" fmla="*/ 22 w 44"/>
                  <a:gd name="T23" fmla="*/ 38 h 46"/>
                  <a:gd name="T24" fmla="*/ 22 w 44"/>
                  <a:gd name="T25" fmla="*/ 38 h 46"/>
                  <a:gd name="T26" fmla="*/ 25 w 44"/>
                  <a:gd name="T27" fmla="*/ 34 h 46"/>
                  <a:gd name="T28" fmla="*/ 25 w 44"/>
                  <a:gd name="T29" fmla="*/ 34 h 46"/>
                  <a:gd name="T30" fmla="*/ 22 w 44"/>
                  <a:gd name="T31" fmla="*/ 38 h 46"/>
                  <a:gd name="T32" fmla="*/ 22 w 44"/>
                  <a:gd name="T33" fmla="*/ 38 h 46"/>
                  <a:gd name="T34" fmla="*/ 22 w 44"/>
                  <a:gd name="T35" fmla="*/ 38 h 46"/>
                  <a:gd name="T36" fmla="*/ 29 w 44"/>
                  <a:gd name="T37" fmla="*/ 30 h 46"/>
                  <a:gd name="T38" fmla="*/ 34 w 44"/>
                  <a:gd name="T39" fmla="*/ 24 h 46"/>
                  <a:gd name="T40" fmla="*/ 34 w 44"/>
                  <a:gd name="T41" fmla="*/ 17 h 46"/>
                  <a:gd name="T42" fmla="*/ 34 w 44"/>
                  <a:gd name="T43" fmla="*/ 7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4" h="46">
                    <a:moveTo>
                      <a:pt x="34" y="7"/>
                    </a:moveTo>
                    <a:cubicBezTo>
                      <a:pt x="34" y="7"/>
                      <a:pt x="34" y="0"/>
                      <a:pt x="27" y="1"/>
                    </a:cubicBezTo>
                    <a:cubicBezTo>
                      <a:pt x="27" y="1"/>
                      <a:pt x="27" y="1"/>
                      <a:pt x="26" y="1"/>
                    </a:cubicBezTo>
                    <a:cubicBezTo>
                      <a:pt x="26" y="1"/>
                      <a:pt x="23" y="2"/>
                      <a:pt x="23" y="5"/>
                    </a:cubicBezTo>
                    <a:cubicBezTo>
                      <a:pt x="23" y="5"/>
                      <a:pt x="18" y="1"/>
                      <a:pt x="15" y="10"/>
                    </a:cubicBezTo>
                    <a:cubicBezTo>
                      <a:pt x="15" y="10"/>
                      <a:pt x="7" y="7"/>
                      <a:pt x="8" y="15"/>
                    </a:cubicBezTo>
                    <a:cubicBezTo>
                      <a:pt x="8" y="15"/>
                      <a:pt x="1" y="18"/>
                      <a:pt x="5" y="22"/>
                    </a:cubicBezTo>
                    <a:cubicBezTo>
                      <a:pt x="5" y="22"/>
                      <a:pt x="0" y="28"/>
                      <a:pt x="5" y="29"/>
                    </a:cubicBezTo>
                    <a:cubicBezTo>
                      <a:pt x="5" y="29"/>
                      <a:pt x="2" y="32"/>
                      <a:pt x="6" y="35"/>
                    </a:cubicBezTo>
                    <a:cubicBezTo>
                      <a:pt x="6" y="35"/>
                      <a:pt x="4" y="45"/>
                      <a:pt x="13" y="39"/>
                    </a:cubicBezTo>
                    <a:cubicBezTo>
                      <a:pt x="13" y="39"/>
                      <a:pt x="13" y="39"/>
                      <a:pt x="13" y="39"/>
                    </a:cubicBezTo>
                    <a:cubicBezTo>
                      <a:pt x="13" y="39"/>
                      <a:pt x="16" y="46"/>
                      <a:pt x="22" y="38"/>
                    </a:cubicBezTo>
                    <a:cubicBezTo>
                      <a:pt x="22" y="38"/>
                      <a:pt x="22" y="38"/>
                      <a:pt x="22" y="38"/>
                    </a:cubicBezTo>
                    <a:cubicBezTo>
                      <a:pt x="23" y="37"/>
                      <a:pt x="24" y="34"/>
                      <a:pt x="25" y="34"/>
                    </a:cubicBezTo>
                    <a:cubicBezTo>
                      <a:pt x="25" y="34"/>
                      <a:pt x="25" y="34"/>
                      <a:pt x="25" y="34"/>
                    </a:cubicBezTo>
                    <a:cubicBezTo>
                      <a:pt x="24" y="34"/>
                      <a:pt x="24" y="35"/>
                      <a:pt x="22" y="38"/>
                    </a:cubicBezTo>
                    <a:cubicBezTo>
                      <a:pt x="22" y="38"/>
                      <a:pt x="22" y="38"/>
                      <a:pt x="22" y="38"/>
                    </a:cubicBezTo>
                    <a:cubicBezTo>
                      <a:pt x="22" y="38"/>
                      <a:pt x="22" y="38"/>
                      <a:pt x="22" y="38"/>
                    </a:cubicBezTo>
                    <a:cubicBezTo>
                      <a:pt x="22" y="38"/>
                      <a:pt x="30" y="42"/>
                      <a:pt x="29" y="30"/>
                    </a:cubicBezTo>
                    <a:cubicBezTo>
                      <a:pt x="29" y="30"/>
                      <a:pt x="35" y="34"/>
                      <a:pt x="34" y="24"/>
                    </a:cubicBezTo>
                    <a:cubicBezTo>
                      <a:pt x="34" y="24"/>
                      <a:pt x="42" y="21"/>
                      <a:pt x="34" y="17"/>
                    </a:cubicBezTo>
                    <a:cubicBezTo>
                      <a:pt x="34" y="17"/>
                      <a:pt x="44" y="11"/>
                      <a:pt x="34" y="7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9" name="Freeform 222"/>
              <p:cNvSpPr>
                <a:spLocks/>
              </p:cNvSpPr>
              <p:nvPr/>
            </p:nvSpPr>
            <p:spPr bwMode="auto">
              <a:xfrm>
                <a:off x="6808788" y="1455738"/>
                <a:ext cx="92075" cy="125413"/>
              </a:xfrm>
              <a:custGeom>
                <a:avLst/>
                <a:gdLst>
                  <a:gd name="T0" fmla="*/ 33 w 40"/>
                  <a:gd name="T1" fmla="*/ 9 h 55"/>
                  <a:gd name="T2" fmla="*/ 28 w 40"/>
                  <a:gd name="T3" fmla="*/ 0 h 55"/>
                  <a:gd name="T4" fmla="*/ 22 w 40"/>
                  <a:gd name="T5" fmla="*/ 6 h 55"/>
                  <a:gd name="T6" fmla="*/ 13 w 40"/>
                  <a:gd name="T7" fmla="*/ 15 h 55"/>
                  <a:gd name="T8" fmla="*/ 8 w 40"/>
                  <a:gd name="T9" fmla="*/ 17 h 55"/>
                  <a:gd name="T10" fmla="*/ 8 w 40"/>
                  <a:gd name="T11" fmla="*/ 23 h 55"/>
                  <a:gd name="T12" fmla="*/ 4 w 40"/>
                  <a:gd name="T13" fmla="*/ 29 h 55"/>
                  <a:gd name="T14" fmla="*/ 5 w 40"/>
                  <a:gd name="T15" fmla="*/ 35 h 55"/>
                  <a:gd name="T16" fmla="*/ 2 w 40"/>
                  <a:gd name="T17" fmla="*/ 42 h 55"/>
                  <a:gd name="T18" fmla="*/ 17 w 40"/>
                  <a:gd name="T19" fmla="*/ 37 h 55"/>
                  <a:gd name="T20" fmla="*/ 23 w 40"/>
                  <a:gd name="T21" fmla="*/ 31 h 55"/>
                  <a:gd name="T22" fmla="*/ 23 w 40"/>
                  <a:gd name="T23" fmla="*/ 31 h 55"/>
                  <a:gd name="T24" fmla="*/ 30 w 40"/>
                  <a:gd name="T25" fmla="*/ 31 h 55"/>
                  <a:gd name="T26" fmla="*/ 39 w 40"/>
                  <a:gd name="T27" fmla="*/ 19 h 55"/>
                  <a:gd name="T28" fmla="*/ 33 w 40"/>
                  <a:gd name="T29" fmla="*/ 9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0" h="55">
                    <a:moveTo>
                      <a:pt x="33" y="9"/>
                    </a:moveTo>
                    <a:cubicBezTo>
                      <a:pt x="33" y="9"/>
                      <a:pt x="34" y="1"/>
                      <a:pt x="28" y="0"/>
                    </a:cubicBezTo>
                    <a:cubicBezTo>
                      <a:pt x="28" y="0"/>
                      <a:pt x="22" y="1"/>
                      <a:pt x="22" y="6"/>
                    </a:cubicBezTo>
                    <a:cubicBezTo>
                      <a:pt x="22" y="6"/>
                      <a:pt x="12" y="6"/>
                      <a:pt x="13" y="15"/>
                    </a:cubicBezTo>
                    <a:cubicBezTo>
                      <a:pt x="13" y="15"/>
                      <a:pt x="10" y="14"/>
                      <a:pt x="8" y="17"/>
                    </a:cubicBezTo>
                    <a:cubicBezTo>
                      <a:pt x="8" y="17"/>
                      <a:pt x="6" y="21"/>
                      <a:pt x="8" y="23"/>
                    </a:cubicBezTo>
                    <a:cubicBezTo>
                      <a:pt x="8" y="23"/>
                      <a:pt x="3" y="24"/>
                      <a:pt x="4" y="29"/>
                    </a:cubicBezTo>
                    <a:cubicBezTo>
                      <a:pt x="4" y="29"/>
                      <a:pt x="4" y="34"/>
                      <a:pt x="5" y="35"/>
                    </a:cubicBezTo>
                    <a:cubicBezTo>
                      <a:pt x="5" y="35"/>
                      <a:pt x="0" y="38"/>
                      <a:pt x="2" y="42"/>
                    </a:cubicBezTo>
                    <a:cubicBezTo>
                      <a:pt x="2" y="42"/>
                      <a:pt x="7" y="55"/>
                      <a:pt x="17" y="37"/>
                    </a:cubicBezTo>
                    <a:cubicBezTo>
                      <a:pt x="17" y="37"/>
                      <a:pt x="26" y="39"/>
                      <a:pt x="23" y="31"/>
                    </a:cubicBezTo>
                    <a:cubicBezTo>
                      <a:pt x="23" y="31"/>
                      <a:pt x="23" y="31"/>
                      <a:pt x="23" y="31"/>
                    </a:cubicBezTo>
                    <a:cubicBezTo>
                      <a:pt x="23" y="31"/>
                      <a:pt x="27" y="36"/>
                      <a:pt x="30" y="31"/>
                    </a:cubicBezTo>
                    <a:cubicBezTo>
                      <a:pt x="30" y="31"/>
                      <a:pt x="39" y="44"/>
                      <a:pt x="39" y="19"/>
                    </a:cubicBezTo>
                    <a:cubicBezTo>
                      <a:pt x="39" y="19"/>
                      <a:pt x="40" y="10"/>
                      <a:pt x="33" y="9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0" name="Freeform 223"/>
              <p:cNvSpPr>
                <a:spLocks/>
              </p:cNvSpPr>
              <p:nvPr/>
            </p:nvSpPr>
            <p:spPr bwMode="auto">
              <a:xfrm>
                <a:off x="6792913" y="1471613"/>
                <a:ext cx="142875" cy="120650"/>
              </a:xfrm>
              <a:custGeom>
                <a:avLst/>
                <a:gdLst>
                  <a:gd name="T0" fmla="*/ 50 w 62"/>
                  <a:gd name="T1" fmla="*/ 19 h 53"/>
                  <a:gd name="T2" fmla="*/ 43 w 62"/>
                  <a:gd name="T3" fmla="*/ 14 h 53"/>
                  <a:gd name="T4" fmla="*/ 31 w 62"/>
                  <a:gd name="T5" fmla="*/ 13 h 53"/>
                  <a:gd name="T6" fmla="*/ 27 w 62"/>
                  <a:gd name="T7" fmla="*/ 20 h 53"/>
                  <a:gd name="T8" fmla="*/ 19 w 62"/>
                  <a:gd name="T9" fmla="*/ 30 h 53"/>
                  <a:gd name="T10" fmla="*/ 14 w 62"/>
                  <a:gd name="T11" fmla="*/ 36 h 53"/>
                  <a:gd name="T12" fmla="*/ 5 w 62"/>
                  <a:gd name="T13" fmla="*/ 39 h 53"/>
                  <a:gd name="T14" fmla="*/ 3 w 62"/>
                  <a:gd name="T15" fmla="*/ 46 h 53"/>
                  <a:gd name="T16" fmla="*/ 14 w 62"/>
                  <a:gd name="T17" fmla="*/ 44 h 53"/>
                  <a:gd name="T18" fmla="*/ 23 w 62"/>
                  <a:gd name="T19" fmla="*/ 36 h 53"/>
                  <a:gd name="T20" fmla="*/ 23 w 62"/>
                  <a:gd name="T21" fmla="*/ 36 h 53"/>
                  <a:gd name="T22" fmla="*/ 24 w 62"/>
                  <a:gd name="T23" fmla="*/ 36 h 53"/>
                  <a:gd name="T24" fmla="*/ 31 w 62"/>
                  <a:gd name="T25" fmla="*/ 32 h 53"/>
                  <a:gd name="T26" fmla="*/ 41 w 62"/>
                  <a:gd name="T27" fmla="*/ 32 h 53"/>
                  <a:gd name="T28" fmla="*/ 50 w 62"/>
                  <a:gd name="T29" fmla="*/ 39 h 53"/>
                  <a:gd name="T30" fmla="*/ 54 w 62"/>
                  <a:gd name="T31" fmla="*/ 30 h 53"/>
                  <a:gd name="T32" fmla="*/ 50 w 62"/>
                  <a:gd name="T33" fmla="*/ 19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2" h="53">
                    <a:moveTo>
                      <a:pt x="50" y="19"/>
                    </a:moveTo>
                    <a:cubicBezTo>
                      <a:pt x="52" y="9"/>
                      <a:pt x="43" y="14"/>
                      <a:pt x="43" y="14"/>
                    </a:cubicBezTo>
                    <a:cubicBezTo>
                      <a:pt x="37" y="0"/>
                      <a:pt x="31" y="13"/>
                      <a:pt x="31" y="13"/>
                    </a:cubicBezTo>
                    <a:cubicBezTo>
                      <a:pt x="23" y="12"/>
                      <a:pt x="27" y="20"/>
                      <a:pt x="27" y="20"/>
                    </a:cubicBezTo>
                    <a:cubicBezTo>
                      <a:pt x="13" y="16"/>
                      <a:pt x="19" y="30"/>
                      <a:pt x="19" y="30"/>
                    </a:cubicBezTo>
                    <a:cubicBezTo>
                      <a:pt x="12" y="30"/>
                      <a:pt x="14" y="36"/>
                      <a:pt x="14" y="36"/>
                    </a:cubicBezTo>
                    <a:cubicBezTo>
                      <a:pt x="6" y="28"/>
                      <a:pt x="5" y="39"/>
                      <a:pt x="5" y="39"/>
                    </a:cubicBezTo>
                    <a:cubicBezTo>
                      <a:pt x="0" y="40"/>
                      <a:pt x="3" y="46"/>
                      <a:pt x="3" y="46"/>
                    </a:cubicBezTo>
                    <a:cubicBezTo>
                      <a:pt x="10" y="53"/>
                      <a:pt x="14" y="44"/>
                      <a:pt x="14" y="44"/>
                    </a:cubicBezTo>
                    <a:cubicBezTo>
                      <a:pt x="25" y="51"/>
                      <a:pt x="23" y="36"/>
                      <a:pt x="23" y="36"/>
                    </a:cubicBezTo>
                    <a:cubicBezTo>
                      <a:pt x="23" y="36"/>
                      <a:pt x="16" y="31"/>
                      <a:pt x="23" y="36"/>
                    </a:cubicBezTo>
                    <a:cubicBezTo>
                      <a:pt x="23" y="36"/>
                      <a:pt x="23" y="36"/>
                      <a:pt x="24" y="36"/>
                    </a:cubicBezTo>
                    <a:cubicBezTo>
                      <a:pt x="30" y="40"/>
                      <a:pt x="31" y="32"/>
                      <a:pt x="31" y="32"/>
                    </a:cubicBezTo>
                    <a:cubicBezTo>
                      <a:pt x="35" y="43"/>
                      <a:pt x="41" y="32"/>
                      <a:pt x="41" y="32"/>
                    </a:cubicBezTo>
                    <a:cubicBezTo>
                      <a:pt x="41" y="47"/>
                      <a:pt x="50" y="39"/>
                      <a:pt x="50" y="39"/>
                    </a:cubicBezTo>
                    <a:cubicBezTo>
                      <a:pt x="62" y="41"/>
                      <a:pt x="54" y="30"/>
                      <a:pt x="54" y="30"/>
                    </a:cubicBezTo>
                    <a:cubicBezTo>
                      <a:pt x="60" y="21"/>
                      <a:pt x="50" y="19"/>
                      <a:pt x="50" y="19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1" name="Freeform 224"/>
              <p:cNvSpPr>
                <a:spLocks/>
              </p:cNvSpPr>
              <p:nvPr/>
            </p:nvSpPr>
            <p:spPr bwMode="auto">
              <a:xfrm>
                <a:off x="6845300" y="1512888"/>
                <a:ext cx="119063" cy="177800"/>
              </a:xfrm>
              <a:custGeom>
                <a:avLst/>
                <a:gdLst>
                  <a:gd name="T0" fmla="*/ 41 w 52"/>
                  <a:gd name="T1" fmla="*/ 37 h 78"/>
                  <a:gd name="T2" fmla="*/ 32 w 52"/>
                  <a:gd name="T3" fmla="*/ 24 h 78"/>
                  <a:gd name="T4" fmla="*/ 24 w 52"/>
                  <a:gd name="T5" fmla="*/ 14 h 78"/>
                  <a:gd name="T6" fmla="*/ 10 w 52"/>
                  <a:gd name="T7" fmla="*/ 7 h 78"/>
                  <a:gd name="T8" fmla="*/ 10 w 52"/>
                  <a:gd name="T9" fmla="*/ 31 h 78"/>
                  <a:gd name="T10" fmla="*/ 18 w 52"/>
                  <a:gd name="T11" fmla="*/ 52 h 78"/>
                  <a:gd name="T12" fmla="*/ 23 w 52"/>
                  <a:gd name="T13" fmla="*/ 65 h 78"/>
                  <a:gd name="T14" fmla="*/ 32 w 52"/>
                  <a:gd name="T15" fmla="*/ 78 h 78"/>
                  <a:gd name="T16" fmla="*/ 38 w 52"/>
                  <a:gd name="T17" fmla="*/ 68 h 78"/>
                  <a:gd name="T18" fmla="*/ 41 w 52"/>
                  <a:gd name="T19" fmla="*/ 52 h 78"/>
                  <a:gd name="T20" fmla="*/ 41 w 52"/>
                  <a:gd name="T21" fmla="*/ 37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2" h="78">
                    <a:moveTo>
                      <a:pt x="41" y="37"/>
                    </a:moveTo>
                    <a:cubicBezTo>
                      <a:pt x="47" y="20"/>
                      <a:pt x="32" y="24"/>
                      <a:pt x="32" y="24"/>
                    </a:cubicBezTo>
                    <a:cubicBezTo>
                      <a:pt x="33" y="14"/>
                      <a:pt x="24" y="14"/>
                      <a:pt x="24" y="14"/>
                    </a:cubicBezTo>
                    <a:cubicBezTo>
                      <a:pt x="22" y="0"/>
                      <a:pt x="10" y="7"/>
                      <a:pt x="10" y="7"/>
                    </a:cubicBezTo>
                    <a:cubicBezTo>
                      <a:pt x="3" y="11"/>
                      <a:pt x="10" y="31"/>
                      <a:pt x="10" y="31"/>
                    </a:cubicBezTo>
                    <a:cubicBezTo>
                      <a:pt x="0" y="39"/>
                      <a:pt x="18" y="52"/>
                      <a:pt x="18" y="52"/>
                    </a:cubicBezTo>
                    <a:cubicBezTo>
                      <a:pt x="10" y="61"/>
                      <a:pt x="23" y="65"/>
                      <a:pt x="23" y="65"/>
                    </a:cubicBezTo>
                    <a:cubicBezTo>
                      <a:pt x="21" y="78"/>
                      <a:pt x="32" y="78"/>
                      <a:pt x="32" y="78"/>
                    </a:cubicBezTo>
                    <a:cubicBezTo>
                      <a:pt x="40" y="78"/>
                      <a:pt x="38" y="68"/>
                      <a:pt x="38" y="68"/>
                    </a:cubicBezTo>
                    <a:cubicBezTo>
                      <a:pt x="51" y="63"/>
                      <a:pt x="41" y="52"/>
                      <a:pt x="41" y="52"/>
                    </a:cubicBezTo>
                    <a:cubicBezTo>
                      <a:pt x="52" y="44"/>
                      <a:pt x="41" y="37"/>
                      <a:pt x="41" y="37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2" name="Freeform 225"/>
              <p:cNvSpPr>
                <a:spLocks/>
              </p:cNvSpPr>
              <p:nvPr/>
            </p:nvSpPr>
            <p:spPr bwMode="auto">
              <a:xfrm>
                <a:off x="6843713" y="1727200"/>
                <a:ext cx="1588" cy="3175"/>
              </a:xfrm>
              <a:custGeom>
                <a:avLst/>
                <a:gdLst>
                  <a:gd name="T0" fmla="*/ 0 w 1"/>
                  <a:gd name="T1" fmla="*/ 0 h 1"/>
                  <a:gd name="T2" fmla="*/ 1 w 1"/>
                  <a:gd name="T3" fmla="*/ 1 h 1"/>
                  <a:gd name="T4" fmla="*/ 0 w 1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0" y="1"/>
                      <a:pt x="0" y="0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3" name="Freeform 226"/>
              <p:cNvSpPr>
                <a:spLocks/>
              </p:cNvSpPr>
              <p:nvPr/>
            </p:nvSpPr>
            <p:spPr bwMode="auto">
              <a:xfrm>
                <a:off x="6853238" y="1720850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4" name="Freeform 227"/>
              <p:cNvSpPr>
                <a:spLocks/>
              </p:cNvSpPr>
              <p:nvPr/>
            </p:nvSpPr>
            <p:spPr bwMode="auto">
              <a:xfrm>
                <a:off x="6816725" y="1677988"/>
                <a:ext cx="57150" cy="150813"/>
              </a:xfrm>
              <a:custGeom>
                <a:avLst/>
                <a:gdLst>
                  <a:gd name="T0" fmla="*/ 23 w 25"/>
                  <a:gd name="T1" fmla="*/ 6 h 66"/>
                  <a:gd name="T2" fmla="*/ 16 w 25"/>
                  <a:gd name="T3" fmla="*/ 19 h 66"/>
                  <a:gd name="T4" fmla="*/ 16 w 25"/>
                  <a:gd name="T5" fmla="*/ 19 h 66"/>
                  <a:gd name="T6" fmla="*/ 16 w 25"/>
                  <a:gd name="T7" fmla="*/ 19 h 66"/>
                  <a:gd name="T8" fmla="*/ 14 w 25"/>
                  <a:gd name="T9" fmla="*/ 0 h 66"/>
                  <a:gd name="T10" fmla="*/ 10 w 25"/>
                  <a:gd name="T11" fmla="*/ 3 h 66"/>
                  <a:gd name="T12" fmla="*/ 12 w 25"/>
                  <a:gd name="T13" fmla="*/ 22 h 66"/>
                  <a:gd name="T14" fmla="*/ 13 w 25"/>
                  <a:gd name="T15" fmla="*/ 23 h 66"/>
                  <a:gd name="T16" fmla="*/ 12 w 25"/>
                  <a:gd name="T17" fmla="*/ 22 h 66"/>
                  <a:gd name="T18" fmla="*/ 1 w 25"/>
                  <a:gd name="T19" fmla="*/ 3 h 66"/>
                  <a:gd name="T20" fmla="*/ 0 w 25"/>
                  <a:gd name="T21" fmla="*/ 10 h 66"/>
                  <a:gd name="T22" fmla="*/ 10 w 25"/>
                  <a:gd name="T23" fmla="*/ 31 h 66"/>
                  <a:gd name="T24" fmla="*/ 8 w 25"/>
                  <a:gd name="T25" fmla="*/ 66 h 66"/>
                  <a:gd name="T26" fmla="*/ 21 w 25"/>
                  <a:gd name="T27" fmla="*/ 66 h 66"/>
                  <a:gd name="T28" fmla="*/ 23 w 25"/>
                  <a:gd name="T29" fmla="*/ 66 h 66"/>
                  <a:gd name="T30" fmla="*/ 20 w 25"/>
                  <a:gd name="T31" fmla="*/ 39 h 66"/>
                  <a:gd name="T32" fmla="*/ 25 w 25"/>
                  <a:gd name="T33" fmla="*/ 12 h 66"/>
                  <a:gd name="T34" fmla="*/ 23 w 25"/>
                  <a:gd name="T35" fmla="*/ 6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5" h="66">
                    <a:moveTo>
                      <a:pt x="23" y="6"/>
                    </a:moveTo>
                    <a:cubicBezTo>
                      <a:pt x="18" y="10"/>
                      <a:pt x="17" y="17"/>
                      <a:pt x="16" y="19"/>
                    </a:cubicBezTo>
                    <a:cubicBezTo>
                      <a:pt x="16" y="19"/>
                      <a:pt x="16" y="19"/>
                      <a:pt x="16" y="19"/>
                    </a:cubicBezTo>
                    <a:cubicBezTo>
                      <a:pt x="16" y="19"/>
                      <a:pt x="16" y="19"/>
                      <a:pt x="16" y="19"/>
                    </a:cubicBezTo>
                    <a:cubicBezTo>
                      <a:pt x="16" y="16"/>
                      <a:pt x="14" y="0"/>
                      <a:pt x="14" y="0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12" y="6"/>
                      <a:pt x="12" y="19"/>
                      <a:pt x="12" y="22"/>
                    </a:cubicBezTo>
                    <a:cubicBezTo>
                      <a:pt x="12" y="23"/>
                      <a:pt x="13" y="23"/>
                      <a:pt x="13" y="23"/>
                    </a:cubicBezTo>
                    <a:cubicBezTo>
                      <a:pt x="13" y="23"/>
                      <a:pt x="13" y="23"/>
                      <a:pt x="12" y="22"/>
                    </a:cubicBezTo>
                    <a:cubicBezTo>
                      <a:pt x="12" y="14"/>
                      <a:pt x="1" y="3"/>
                      <a:pt x="1" y="3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4" y="11"/>
                      <a:pt x="7" y="20"/>
                      <a:pt x="10" y="31"/>
                    </a:cubicBezTo>
                    <a:cubicBezTo>
                      <a:pt x="12" y="41"/>
                      <a:pt x="8" y="66"/>
                      <a:pt x="8" y="66"/>
                    </a:cubicBezTo>
                    <a:cubicBezTo>
                      <a:pt x="21" y="66"/>
                      <a:pt x="21" y="66"/>
                      <a:pt x="21" y="66"/>
                    </a:cubicBezTo>
                    <a:cubicBezTo>
                      <a:pt x="23" y="66"/>
                      <a:pt x="23" y="66"/>
                      <a:pt x="23" y="66"/>
                    </a:cubicBezTo>
                    <a:cubicBezTo>
                      <a:pt x="22" y="62"/>
                      <a:pt x="20" y="39"/>
                      <a:pt x="20" y="39"/>
                    </a:cubicBezTo>
                    <a:cubicBezTo>
                      <a:pt x="19" y="18"/>
                      <a:pt x="25" y="12"/>
                      <a:pt x="25" y="12"/>
                    </a:cubicBezTo>
                    <a:lnTo>
                      <a:pt x="23" y="6"/>
                    </a:ln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5" name="Freeform 228"/>
              <p:cNvSpPr>
                <a:spLocks/>
              </p:cNvSpPr>
              <p:nvPr/>
            </p:nvSpPr>
            <p:spPr bwMode="auto">
              <a:xfrm>
                <a:off x="6873875" y="1587500"/>
                <a:ext cx="58738" cy="85725"/>
              </a:xfrm>
              <a:custGeom>
                <a:avLst/>
                <a:gdLst>
                  <a:gd name="T0" fmla="*/ 18 w 26"/>
                  <a:gd name="T1" fmla="*/ 12 h 37"/>
                  <a:gd name="T2" fmla="*/ 9 w 26"/>
                  <a:gd name="T3" fmla="*/ 2 h 37"/>
                  <a:gd name="T4" fmla="*/ 11 w 26"/>
                  <a:gd name="T5" fmla="*/ 34 h 37"/>
                  <a:gd name="T6" fmla="*/ 19 w 26"/>
                  <a:gd name="T7" fmla="*/ 23 h 37"/>
                  <a:gd name="T8" fmla="*/ 18 w 26"/>
                  <a:gd name="T9" fmla="*/ 12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" h="37">
                    <a:moveTo>
                      <a:pt x="18" y="12"/>
                    </a:moveTo>
                    <a:cubicBezTo>
                      <a:pt x="23" y="0"/>
                      <a:pt x="9" y="2"/>
                      <a:pt x="9" y="2"/>
                    </a:cubicBezTo>
                    <a:cubicBezTo>
                      <a:pt x="0" y="4"/>
                      <a:pt x="11" y="34"/>
                      <a:pt x="11" y="34"/>
                    </a:cubicBezTo>
                    <a:cubicBezTo>
                      <a:pt x="24" y="37"/>
                      <a:pt x="19" y="23"/>
                      <a:pt x="19" y="23"/>
                    </a:cubicBezTo>
                    <a:cubicBezTo>
                      <a:pt x="26" y="16"/>
                      <a:pt x="18" y="12"/>
                      <a:pt x="18" y="12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6" name="Freeform 229"/>
              <p:cNvSpPr>
                <a:spLocks/>
              </p:cNvSpPr>
              <p:nvPr/>
            </p:nvSpPr>
            <p:spPr bwMode="auto">
              <a:xfrm>
                <a:off x="6869113" y="1557338"/>
                <a:ext cx="1588" cy="0"/>
              </a:xfrm>
              <a:custGeom>
                <a:avLst/>
                <a:gdLst>
                  <a:gd name="T0" fmla="*/ 1 w 1"/>
                  <a:gd name="T1" fmla="*/ 0 w 1"/>
                  <a:gd name="T2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1" y="0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7" name="Freeform 230"/>
              <p:cNvSpPr>
                <a:spLocks/>
              </p:cNvSpPr>
              <p:nvPr/>
            </p:nvSpPr>
            <p:spPr bwMode="auto">
              <a:xfrm>
                <a:off x="6800850" y="1503363"/>
                <a:ext cx="98425" cy="119063"/>
              </a:xfrm>
              <a:custGeom>
                <a:avLst/>
                <a:gdLst>
                  <a:gd name="T0" fmla="*/ 36 w 43"/>
                  <a:gd name="T1" fmla="*/ 36 h 52"/>
                  <a:gd name="T2" fmla="*/ 38 w 43"/>
                  <a:gd name="T3" fmla="*/ 28 h 52"/>
                  <a:gd name="T4" fmla="*/ 31 w 43"/>
                  <a:gd name="T5" fmla="*/ 24 h 52"/>
                  <a:gd name="T6" fmla="*/ 30 w 43"/>
                  <a:gd name="T7" fmla="*/ 24 h 52"/>
                  <a:gd name="T8" fmla="*/ 31 w 43"/>
                  <a:gd name="T9" fmla="*/ 24 h 52"/>
                  <a:gd name="T10" fmla="*/ 33 w 43"/>
                  <a:gd name="T11" fmla="*/ 16 h 52"/>
                  <a:gd name="T12" fmla="*/ 20 w 43"/>
                  <a:gd name="T13" fmla="*/ 9 h 52"/>
                  <a:gd name="T14" fmla="*/ 10 w 43"/>
                  <a:gd name="T15" fmla="*/ 1 h 52"/>
                  <a:gd name="T16" fmla="*/ 5 w 43"/>
                  <a:gd name="T17" fmla="*/ 9 h 52"/>
                  <a:gd name="T18" fmla="*/ 9 w 43"/>
                  <a:gd name="T19" fmla="*/ 18 h 52"/>
                  <a:gd name="T20" fmla="*/ 14 w 43"/>
                  <a:gd name="T21" fmla="*/ 28 h 52"/>
                  <a:gd name="T22" fmla="*/ 21 w 43"/>
                  <a:gd name="T23" fmla="*/ 39 h 52"/>
                  <a:gd name="T24" fmla="*/ 32 w 43"/>
                  <a:gd name="T25" fmla="*/ 51 h 52"/>
                  <a:gd name="T26" fmla="*/ 41 w 43"/>
                  <a:gd name="T27" fmla="*/ 45 h 52"/>
                  <a:gd name="T28" fmla="*/ 36 w 43"/>
                  <a:gd name="T29" fmla="*/ 36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3" h="52">
                    <a:moveTo>
                      <a:pt x="36" y="36"/>
                    </a:moveTo>
                    <a:cubicBezTo>
                      <a:pt x="39" y="30"/>
                      <a:pt x="38" y="28"/>
                      <a:pt x="38" y="28"/>
                    </a:cubicBezTo>
                    <a:cubicBezTo>
                      <a:pt x="37" y="24"/>
                      <a:pt x="33" y="24"/>
                      <a:pt x="31" y="24"/>
                    </a:cubicBezTo>
                    <a:cubicBezTo>
                      <a:pt x="30" y="24"/>
                      <a:pt x="30" y="24"/>
                      <a:pt x="30" y="24"/>
                    </a:cubicBezTo>
                    <a:cubicBezTo>
                      <a:pt x="30" y="24"/>
                      <a:pt x="30" y="24"/>
                      <a:pt x="31" y="24"/>
                    </a:cubicBezTo>
                    <a:cubicBezTo>
                      <a:pt x="34" y="23"/>
                      <a:pt x="33" y="16"/>
                      <a:pt x="33" y="16"/>
                    </a:cubicBezTo>
                    <a:cubicBezTo>
                      <a:pt x="31" y="4"/>
                      <a:pt x="20" y="9"/>
                      <a:pt x="20" y="9"/>
                    </a:cubicBezTo>
                    <a:cubicBezTo>
                      <a:pt x="20" y="0"/>
                      <a:pt x="10" y="1"/>
                      <a:pt x="10" y="1"/>
                    </a:cubicBezTo>
                    <a:cubicBezTo>
                      <a:pt x="4" y="1"/>
                      <a:pt x="5" y="9"/>
                      <a:pt x="5" y="9"/>
                    </a:cubicBezTo>
                    <a:cubicBezTo>
                      <a:pt x="4" y="12"/>
                      <a:pt x="9" y="18"/>
                      <a:pt x="9" y="18"/>
                    </a:cubicBezTo>
                    <a:cubicBezTo>
                      <a:pt x="0" y="32"/>
                      <a:pt x="14" y="28"/>
                      <a:pt x="14" y="28"/>
                    </a:cubicBezTo>
                    <a:cubicBezTo>
                      <a:pt x="4" y="36"/>
                      <a:pt x="21" y="39"/>
                      <a:pt x="21" y="39"/>
                    </a:cubicBezTo>
                    <a:cubicBezTo>
                      <a:pt x="18" y="52"/>
                      <a:pt x="32" y="51"/>
                      <a:pt x="32" y="51"/>
                    </a:cubicBezTo>
                    <a:cubicBezTo>
                      <a:pt x="40" y="52"/>
                      <a:pt x="41" y="45"/>
                      <a:pt x="41" y="45"/>
                    </a:cubicBezTo>
                    <a:cubicBezTo>
                      <a:pt x="43" y="40"/>
                      <a:pt x="36" y="36"/>
                      <a:pt x="36" y="36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8" name="Freeform 231"/>
              <p:cNvSpPr>
                <a:spLocks/>
              </p:cNvSpPr>
              <p:nvPr/>
            </p:nvSpPr>
            <p:spPr bwMode="auto">
              <a:xfrm>
                <a:off x="6743700" y="1514475"/>
                <a:ext cx="119063" cy="117475"/>
              </a:xfrm>
              <a:custGeom>
                <a:avLst/>
                <a:gdLst>
                  <a:gd name="T0" fmla="*/ 41 w 52"/>
                  <a:gd name="T1" fmla="*/ 17 h 51"/>
                  <a:gd name="T2" fmla="*/ 34 w 52"/>
                  <a:gd name="T3" fmla="*/ 10 h 51"/>
                  <a:gd name="T4" fmla="*/ 26 w 52"/>
                  <a:gd name="T5" fmla="*/ 1 h 51"/>
                  <a:gd name="T6" fmla="*/ 19 w 52"/>
                  <a:gd name="T7" fmla="*/ 9 h 51"/>
                  <a:gd name="T8" fmla="*/ 10 w 52"/>
                  <a:gd name="T9" fmla="*/ 18 h 51"/>
                  <a:gd name="T10" fmla="*/ 15 w 52"/>
                  <a:gd name="T11" fmla="*/ 34 h 51"/>
                  <a:gd name="T12" fmla="*/ 24 w 52"/>
                  <a:gd name="T13" fmla="*/ 42 h 51"/>
                  <a:gd name="T14" fmla="*/ 36 w 52"/>
                  <a:gd name="T15" fmla="*/ 39 h 51"/>
                  <a:gd name="T16" fmla="*/ 41 w 52"/>
                  <a:gd name="T17" fmla="*/ 27 h 51"/>
                  <a:gd name="T18" fmla="*/ 41 w 52"/>
                  <a:gd name="T19" fmla="*/ 17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2" h="51">
                    <a:moveTo>
                      <a:pt x="41" y="17"/>
                    </a:moveTo>
                    <a:cubicBezTo>
                      <a:pt x="42" y="8"/>
                      <a:pt x="34" y="10"/>
                      <a:pt x="34" y="10"/>
                    </a:cubicBezTo>
                    <a:cubicBezTo>
                      <a:pt x="32" y="0"/>
                      <a:pt x="26" y="1"/>
                      <a:pt x="26" y="1"/>
                    </a:cubicBezTo>
                    <a:cubicBezTo>
                      <a:pt x="20" y="2"/>
                      <a:pt x="19" y="9"/>
                      <a:pt x="19" y="9"/>
                    </a:cubicBezTo>
                    <a:cubicBezTo>
                      <a:pt x="8" y="9"/>
                      <a:pt x="10" y="18"/>
                      <a:pt x="10" y="18"/>
                    </a:cubicBezTo>
                    <a:cubicBezTo>
                      <a:pt x="0" y="28"/>
                      <a:pt x="15" y="34"/>
                      <a:pt x="15" y="34"/>
                    </a:cubicBezTo>
                    <a:cubicBezTo>
                      <a:pt x="12" y="47"/>
                      <a:pt x="24" y="42"/>
                      <a:pt x="24" y="42"/>
                    </a:cubicBezTo>
                    <a:cubicBezTo>
                      <a:pt x="32" y="51"/>
                      <a:pt x="36" y="39"/>
                      <a:pt x="36" y="39"/>
                    </a:cubicBezTo>
                    <a:cubicBezTo>
                      <a:pt x="43" y="40"/>
                      <a:pt x="41" y="27"/>
                      <a:pt x="41" y="27"/>
                    </a:cubicBezTo>
                    <a:cubicBezTo>
                      <a:pt x="52" y="20"/>
                      <a:pt x="41" y="17"/>
                      <a:pt x="41" y="17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9" name="Freeform 232"/>
              <p:cNvSpPr>
                <a:spLocks/>
              </p:cNvSpPr>
              <p:nvPr/>
            </p:nvSpPr>
            <p:spPr bwMode="auto">
              <a:xfrm>
                <a:off x="6710363" y="1555750"/>
                <a:ext cx="111125" cy="109538"/>
              </a:xfrm>
              <a:custGeom>
                <a:avLst/>
                <a:gdLst>
                  <a:gd name="T0" fmla="*/ 37 w 48"/>
                  <a:gd name="T1" fmla="*/ 21 h 48"/>
                  <a:gd name="T2" fmla="*/ 38 w 48"/>
                  <a:gd name="T3" fmla="*/ 12 h 48"/>
                  <a:gd name="T4" fmla="*/ 28 w 48"/>
                  <a:gd name="T5" fmla="*/ 10 h 48"/>
                  <a:gd name="T6" fmla="*/ 22 w 48"/>
                  <a:gd name="T7" fmla="*/ 0 h 48"/>
                  <a:gd name="T8" fmla="*/ 15 w 48"/>
                  <a:gd name="T9" fmla="*/ 9 h 48"/>
                  <a:gd name="T10" fmla="*/ 10 w 48"/>
                  <a:gd name="T11" fmla="*/ 19 h 48"/>
                  <a:gd name="T12" fmla="*/ 8 w 48"/>
                  <a:gd name="T13" fmla="*/ 33 h 48"/>
                  <a:gd name="T14" fmla="*/ 10 w 48"/>
                  <a:gd name="T15" fmla="*/ 33 h 48"/>
                  <a:gd name="T16" fmla="*/ 19 w 48"/>
                  <a:gd name="T17" fmla="*/ 38 h 48"/>
                  <a:gd name="T18" fmla="*/ 28 w 48"/>
                  <a:gd name="T19" fmla="*/ 37 h 48"/>
                  <a:gd name="T20" fmla="*/ 44 w 48"/>
                  <a:gd name="T21" fmla="*/ 32 h 48"/>
                  <a:gd name="T22" fmla="*/ 37 w 48"/>
                  <a:gd name="T23" fmla="*/ 21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8" h="48">
                    <a:moveTo>
                      <a:pt x="37" y="21"/>
                    </a:moveTo>
                    <a:cubicBezTo>
                      <a:pt x="41" y="19"/>
                      <a:pt x="38" y="12"/>
                      <a:pt x="38" y="12"/>
                    </a:cubicBezTo>
                    <a:cubicBezTo>
                      <a:pt x="36" y="5"/>
                      <a:pt x="28" y="10"/>
                      <a:pt x="28" y="10"/>
                    </a:cubicBezTo>
                    <a:cubicBezTo>
                      <a:pt x="31" y="0"/>
                      <a:pt x="22" y="0"/>
                      <a:pt x="22" y="0"/>
                    </a:cubicBezTo>
                    <a:cubicBezTo>
                      <a:pt x="16" y="0"/>
                      <a:pt x="15" y="9"/>
                      <a:pt x="15" y="9"/>
                    </a:cubicBezTo>
                    <a:cubicBezTo>
                      <a:pt x="5" y="10"/>
                      <a:pt x="10" y="19"/>
                      <a:pt x="10" y="19"/>
                    </a:cubicBezTo>
                    <a:cubicBezTo>
                      <a:pt x="0" y="23"/>
                      <a:pt x="8" y="33"/>
                      <a:pt x="8" y="33"/>
                    </a:cubicBezTo>
                    <a:cubicBezTo>
                      <a:pt x="9" y="34"/>
                      <a:pt x="10" y="33"/>
                      <a:pt x="10" y="33"/>
                    </a:cubicBezTo>
                    <a:cubicBezTo>
                      <a:pt x="9" y="45"/>
                      <a:pt x="19" y="38"/>
                      <a:pt x="19" y="38"/>
                    </a:cubicBezTo>
                    <a:cubicBezTo>
                      <a:pt x="20" y="44"/>
                      <a:pt x="28" y="37"/>
                      <a:pt x="28" y="37"/>
                    </a:cubicBezTo>
                    <a:cubicBezTo>
                      <a:pt x="38" y="48"/>
                      <a:pt x="44" y="32"/>
                      <a:pt x="44" y="32"/>
                    </a:cubicBezTo>
                    <a:cubicBezTo>
                      <a:pt x="48" y="22"/>
                      <a:pt x="37" y="21"/>
                      <a:pt x="37" y="21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40" name="Freeform 233"/>
              <p:cNvSpPr>
                <a:spLocks/>
              </p:cNvSpPr>
              <p:nvPr/>
            </p:nvSpPr>
            <p:spPr bwMode="auto">
              <a:xfrm>
                <a:off x="6708775" y="1612900"/>
                <a:ext cx="119063" cy="127000"/>
              </a:xfrm>
              <a:custGeom>
                <a:avLst/>
                <a:gdLst>
                  <a:gd name="T0" fmla="*/ 43 w 52"/>
                  <a:gd name="T1" fmla="*/ 18 h 55"/>
                  <a:gd name="T2" fmla="*/ 34 w 52"/>
                  <a:gd name="T3" fmla="*/ 11 h 55"/>
                  <a:gd name="T4" fmla="*/ 24 w 52"/>
                  <a:gd name="T5" fmla="*/ 5 h 55"/>
                  <a:gd name="T6" fmla="*/ 21 w 52"/>
                  <a:gd name="T7" fmla="*/ 1 h 55"/>
                  <a:gd name="T8" fmla="*/ 20 w 52"/>
                  <a:gd name="T9" fmla="*/ 1 h 55"/>
                  <a:gd name="T10" fmla="*/ 12 w 52"/>
                  <a:gd name="T11" fmla="*/ 8 h 55"/>
                  <a:gd name="T12" fmla="*/ 11 w 52"/>
                  <a:gd name="T13" fmla="*/ 19 h 55"/>
                  <a:gd name="T14" fmla="*/ 12 w 52"/>
                  <a:gd name="T15" fmla="*/ 29 h 55"/>
                  <a:gd name="T16" fmla="*/ 17 w 52"/>
                  <a:gd name="T17" fmla="*/ 36 h 55"/>
                  <a:gd name="T18" fmla="*/ 26 w 52"/>
                  <a:gd name="T19" fmla="*/ 45 h 55"/>
                  <a:gd name="T20" fmla="*/ 26 w 52"/>
                  <a:gd name="T21" fmla="*/ 45 h 55"/>
                  <a:gd name="T22" fmla="*/ 26 w 52"/>
                  <a:gd name="T23" fmla="*/ 45 h 55"/>
                  <a:gd name="T24" fmla="*/ 26 w 52"/>
                  <a:gd name="T25" fmla="*/ 45 h 55"/>
                  <a:gd name="T26" fmla="*/ 26 w 52"/>
                  <a:gd name="T27" fmla="*/ 45 h 55"/>
                  <a:gd name="T28" fmla="*/ 36 w 52"/>
                  <a:gd name="T29" fmla="*/ 46 h 55"/>
                  <a:gd name="T30" fmla="*/ 37 w 52"/>
                  <a:gd name="T31" fmla="*/ 47 h 55"/>
                  <a:gd name="T32" fmla="*/ 45 w 52"/>
                  <a:gd name="T33" fmla="*/ 41 h 55"/>
                  <a:gd name="T34" fmla="*/ 46 w 52"/>
                  <a:gd name="T35" fmla="*/ 35 h 55"/>
                  <a:gd name="T36" fmla="*/ 47 w 52"/>
                  <a:gd name="T37" fmla="*/ 26 h 55"/>
                  <a:gd name="T38" fmla="*/ 43 w 52"/>
                  <a:gd name="T39" fmla="*/ 18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52" h="55">
                    <a:moveTo>
                      <a:pt x="43" y="18"/>
                    </a:moveTo>
                    <a:cubicBezTo>
                      <a:pt x="43" y="8"/>
                      <a:pt x="34" y="11"/>
                      <a:pt x="34" y="11"/>
                    </a:cubicBezTo>
                    <a:cubicBezTo>
                      <a:pt x="31" y="0"/>
                      <a:pt x="24" y="5"/>
                      <a:pt x="24" y="5"/>
                    </a:cubicBezTo>
                    <a:cubicBezTo>
                      <a:pt x="24" y="2"/>
                      <a:pt x="21" y="1"/>
                      <a:pt x="21" y="1"/>
                    </a:cubicBezTo>
                    <a:cubicBezTo>
                      <a:pt x="20" y="1"/>
                      <a:pt x="20" y="1"/>
                      <a:pt x="20" y="1"/>
                    </a:cubicBezTo>
                    <a:cubicBezTo>
                      <a:pt x="11" y="0"/>
                      <a:pt x="12" y="8"/>
                      <a:pt x="12" y="8"/>
                    </a:cubicBezTo>
                    <a:cubicBezTo>
                      <a:pt x="0" y="13"/>
                      <a:pt x="11" y="19"/>
                      <a:pt x="11" y="19"/>
                    </a:cubicBezTo>
                    <a:cubicBezTo>
                      <a:pt x="2" y="24"/>
                      <a:pt x="12" y="29"/>
                      <a:pt x="12" y="29"/>
                    </a:cubicBezTo>
                    <a:cubicBezTo>
                      <a:pt x="10" y="40"/>
                      <a:pt x="17" y="36"/>
                      <a:pt x="17" y="36"/>
                    </a:cubicBezTo>
                    <a:cubicBezTo>
                      <a:pt x="16" y="51"/>
                      <a:pt x="26" y="45"/>
                      <a:pt x="26" y="45"/>
                    </a:cubicBezTo>
                    <a:cubicBezTo>
                      <a:pt x="26" y="45"/>
                      <a:pt x="26" y="45"/>
                      <a:pt x="26" y="45"/>
                    </a:cubicBezTo>
                    <a:cubicBezTo>
                      <a:pt x="26" y="45"/>
                      <a:pt x="26" y="45"/>
                      <a:pt x="26" y="45"/>
                    </a:cubicBezTo>
                    <a:cubicBezTo>
                      <a:pt x="20" y="35"/>
                      <a:pt x="25" y="44"/>
                      <a:pt x="26" y="45"/>
                    </a:cubicBezTo>
                    <a:cubicBezTo>
                      <a:pt x="26" y="45"/>
                      <a:pt x="26" y="45"/>
                      <a:pt x="26" y="45"/>
                    </a:cubicBezTo>
                    <a:cubicBezTo>
                      <a:pt x="32" y="55"/>
                      <a:pt x="36" y="46"/>
                      <a:pt x="36" y="46"/>
                    </a:cubicBezTo>
                    <a:cubicBezTo>
                      <a:pt x="36" y="46"/>
                      <a:pt x="37" y="46"/>
                      <a:pt x="37" y="47"/>
                    </a:cubicBezTo>
                    <a:cubicBezTo>
                      <a:pt x="48" y="53"/>
                      <a:pt x="45" y="41"/>
                      <a:pt x="45" y="41"/>
                    </a:cubicBezTo>
                    <a:cubicBezTo>
                      <a:pt x="50" y="38"/>
                      <a:pt x="46" y="35"/>
                      <a:pt x="46" y="35"/>
                    </a:cubicBezTo>
                    <a:cubicBezTo>
                      <a:pt x="52" y="33"/>
                      <a:pt x="47" y="26"/>
                      <a:pt x="47" y="26"/>
                    </a:cubicBezTo>
                    <a:cubicBezTo>
                      <a:pt x="51" y="21"/>
                      <a:pt x="43" y="18"/>
                      <a:pt x="43" y="18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41" name="Freeform 234"/>
              <p:cNvSpPr>
                <a:spLocks/>
              </p:cNvSpPr>
              <p:nvPr/>
            </p:nvSpPr>
            <p:spPr bwMode="auto">
              <a:xfrm>
                <a:off x="6754813" y="1693863"/>
                <a:ext cx="12700" cy="22225"/>
              </a:xfrm>
              <a:custGeom>
                <a:avLst/>
                <a:gdLst>
                  <a:gd name="T0" fmla="*/ 6 w 6"/>
                  <a:gd name="T1" fmla="*/ 10 h 10"/>
                  <a:gd name="T2" fmla="*/ 6 w 6"/>
                  <a:gd name="T3" fmla="*/ 10 h 10"/>
                  <a:gd name="T4" fmla="*/ 6 w 6"/>
                  <a:gd name="T5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10">
                    <a:moveTo>
                      <a:pt x="6" y="10"/>
                    </a:moveTo>
                    <a:cubicBezTo>
                      <a:pt x="6" y="10"/>
                      <a:pt x="6" y="10"/>
                      <a:pt x="6" y="10"/>
                    </a:cubicBezTo>
                    <a:cubicBezTo>
                      <a:pt x="5" y="9"/>
                      <a:pt x="0" y="0"/>
                      <a:pt x="6" y="10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42" name="Freeform 235"/>
              <p:cNvSpPr>
                <a:spLocks/>
              </p:cNvSpPr>
              <p:nvPr/>
            </p:nvSpPr>
            <p:spPr bwMode="auto">
              <a:xfrm>
                <a:off x="6807200" y="1574800"/>
                <a:ext cx="109538" cy="150813"/>
              </a:xfrm>
              <a:custGeom>
                <a:avLst/>
                <a:gdLst>
                  <a:gd name="T0" fmla="*/ 41 w 48"/>
                  <a:gd name="T1" fmla="*/ 42 h 66"/>
                  <a:gd name="T2" fmla="*/ 43 w 48"/>
                  <a:gd name="T3" fmla="*/ 34 h 66"/>
                  <a:gd name="T4" fmla="*/ 38 w 48"/>
                  <a:gd name="T5" fmla="*/ 27 h 66"/>
                  <a:gd name="T6" fmla="*/ 38 w 48"/>
                  <a:gd name="T7" fmla="*/ 20 h 66"/>
                  <a:gd name="T8" fmla="*/ 32 w 48"/>
                  <a:gd name="T9" fmla="*/ 18 h 66"/>
                  <a:gd name="T10" fmla="*/ 22 w 48"/>
                  <a:gd name="T11" fmla="*/ 7 h 66"/>
                  <a:gd name="T12" fmla="*/ 14 w 48"/>
                  <a:gd name="T13" fmla="*/ 0 h 66"/>
                  <a:gd name="T14" fmla="*/ 8 w 48"/>
                  <a:gd name="T15" fmla="*/ 11 h 66"/>
                  <a:gd name="T16" fmla="*/ 1 w 48"/>
                  <a:gd name="T17" fmla="*/ 23 h 66"/>
                  <a:gd name="T18" fmla="*/ 12 w 48"/>
                  <a:gd name="T19" fmla="*/ 37 h 66"/>
                  <a:gd name="T20" fmla="*/ 20 w 48"/>
                  <a:gd name="T21" fmla="*/ 37 h 66"/>
                  <a:gd name="T22" fmla="*/ 20 w 48"/>
                  <a:gd name="T23" fmla="*/ 37 h 66"/>
                  <a:gd name="T24" fmla="*/ 28 w 48"/>
                  <a:gd name="T25" fmla="*/ 45 h 66"/>
                  <a:gd name="T26" fmla="*/ 45 w 48"/>
                  <a:gd name="T27" fmla="*/ 50 h 66"/>
                  <a:gd name="T28" fmla="*/ 41 w 48"/>
                  <a:gd name="T29" fmla="*/ 42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8" h="66">
                    <a:moveTo>
                      <a:pt x="41" y="42"/>
                    </a:moveTo>
                    <a:cubicBezTo>
                      <a:pt x="43" y="41"/>
                      <a:pt x="43" y="34"/>
                      <a:pt x="43" y="34"/>
                    </a:cubicBezTo>
                    <a:cubicBezTo>
                      <a:pt x="43" y="29"/>
                      <a:pt x="38" y="27"/>
                      <a:pt x="38" y="27"/>
                    </a:cubicBezTo>
                    <a:cubicBezTo>
                      <a:pt x="40" y="25"/>
                      <a:pt x="38" y="20"/>
                      <a:pt x="38" y="20"/>
                    </a:cubicBezTo>
                    <a:cubicBezTo>
                      <a:pt x="35" y="17"/>
                      <a:pt x="32" y="18"/>
                      <a:pt x="32" y="18"/>
                    </a:cubicBezTo>
                    <a:cubicBezTo>
                      <a:pt x="33" y="7"/>
                      <a:pt x="22" y="7"/>
                      <a:pt x="22" y="7"/>
                    </a:cubicBezTo>
                    <a:cubicBezTo>
                      <a:pt x="22" y="1"/>
                      <a:pt x="14" y="0"/>
                      <a:pt x="14" y="0"/>
                    </a:cubicBezTo>
                    <a:cubicBezTo>
                      <a:pt x="6" y="2"/>
                      <a:pt x="8" y="11"/>
                      <a:pt x="8" y="11"/>
                    </a:cubicBezTo>
                    <a:cubicBezTo>
                      <a:pt x="0" y="12"/>
                      <a:pt x="1" y="23"/>
                      <a:pt x="1" y="23"/>
                    </a:cubicBezTo>
                    <a:cubicBezTo>
                      <a:pt x="1" y="53"/>
                      <a:pt x="12" y="37"/>
                      <a:pt x="12" y="37"/>
                    </a:cubicBezTo>
                    <a:cubicBezTo>
                      <a:pt x="15" y="43"/>
                      <a:pt x="20" y="37"/>
                      <a:pt x="20" y="37"/>
                    </a:cubicBezTo>
                    <a:cubicBezTo>
                      <a:pt x="20" y="37"/>
                      <a:pt x="20" y="37"/>
                      <a:pt x="20" y="37"/>
                    </a:cubicBezTo>
                    <a:cubicBezTo>
                      <a:pt x="17" y="47"/>
                      <a:pt x="28" y="45"/>
                      <a:pt x="28" y="45"/>
                    </a:cubicBezTo>
                    <a:cubicBezTo>
                      <a:pt x="39" y="66"/>
                      <a:pt x="45" y="50"/>
                      <a:pt x="45" y="50"/>
                    </a:cubicBezTo>
                    <a:cubicBezTo>
                      <a:pt x="48" y="45"/>
                      <a:pt x="41" y="42"/>
                      <a:pt x="41" y="42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43" name="Freeform 236"/>
              <p:cNvSpPr>
                <a:spLocks/>
              </p:cNvSpPr>
              <p:nvPr/>
            </p:nvSpPr>
            <p:spPr bwMode="auto">
              <a:xfrm>
                <a:off x="6765925" y="1595438"/>
                <a:ext cx="169863" cy="144463"/>
              </a:xfrm>
              <a:custGeom>
                <a:avLst/>
                <a:gdLst>
                  <a:gd name="T0" fmla="*/ 68 w 74"/>
                  <a:gd name="T1" fmla="*/ 46 h 63"/>
                  <a:gd name="T2" fmla="*/ 57 w 74"/>
                  <a:gd name="T3" fmla="*/ 42 h 63"/>
                  <a:gd name="T4" fmla="*/ 52 w 74"/>
                  <a:gd name="T5" fmla="*/ 35 h 63"/>
                  <a:gd name="T6" fmla="*/ 41 w 74"/>
                  <a:gd name="T7" fmla="*/ 23 h 63"/>
                  <a:gd name="T8" fmla="*/ 36 w 74"/>
                  <a:gd name="T9" fmla="*/ 14 h 63"/>
                  <a:gd name="T10" fmla="*/ 22 w 74"/>
                  <a:gd name="T11" fmla="*/ 16 h 63"/>
                  <a:gd name="T12" fmla="*/ 14 w 74"/>
                  <a:gd name="T13" fmla="*/ 22 h 63"/>
                  <a:gd name="T14" fmla="*/ 9 w 74"/>
                  <a:gd name="T15" fmla="*/ 35 h 63"/>
                  <a:gd name="T16" fmla="*/ 14 w 74"/>
                  <a:gd name="T17" fmla="*/ 46 h 63"/>
                  <a:gd name="T18" fmla="*/ 25 w 74"/>
                  <a:gd name="T19" fmla="*/ 38 h 63"/>
                  <a:gd name="T20" fmla="*/ 37 w 74"/>
                  <a:gd name="T21" fmla="*/ 38 h 63"/>
                  <a:gd name="T22" fmla="*/ 46 w 74"/>
                  <a:gd name="T23" fmla="*/ 42 h 63"/>
                  <a:gd name="T24" fmla="*/ 46 w 74"/>
                  <a:gd name="T25" fmla="*/ 42 h 63"/>
                  <a:gd name="T26" fmla="*/ 46 w 74"/>
                  <a:gd name="T27" fmla="*/ 42 h 63"/>
                  <a:gd name="T28" fmla="*/ 57 w 74"/>
                  <a:gd name="T29" fmla="*/ 52 h 63"/>
                  <a:gd name="T30" fmla="*/ 71 w 74"/>
                  <a:gd name="T31" fmla="*/ 54 h 63"/>
                  <a:gd name="T32" fmla="*/ 68 w 74"/>
                  <a:gd name="T33" fmla="*/ 46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4" h="63">
                    <a:moveTo>
                      <a:pt x="68" y="46"/>
                    </a:moveTo>
                    <a:cubicBezTo>
                      <a:pt x="68" y="46"/>
                      <a:pt x="67" y="33"/>
                      <a:pt x="57" y="42"/>
                    </a:cubicBezTo>
                    <a:cubicBezTo>
                      <a:pt x="57" y="42"/>
                      <a:pt x="60" y="35"/>
                      <a:pt x="52" y="35"/>
                    </a:cubicBezTo>
                    <a:cubicBezTo>
                      <a:pt x="52" y="35"/>
                      <a:pt x="58" y="19"/>
                      <a:pt x="41" y="23"/>
                    </a:cubicBezTo>
                    <a:cubicBezTo>
                      <a:pt x="41" y="23"/>
                      <a:pt x="46" y="13"/>
                      <a:pt x="36" y="14"/>
                    </a:cubicBezTo>
                    <a:cubicBezTo>
                      <a:pt x="36" y="14"/>
                      <a:pt x="29" y="0"/>
                      <a:pt x="22" y="16"/>
                    </a:cubicBezTo>
                    <a:cubicBezTo>
                      <a:pt x="22" y="16"/>
                      <a:pt x="12" y="11"/>
                      <a:pt x="14" y="22"/>
                    </a:cubicBezTo>
                    <a:cubicBezTo>
                      <a:pt x="14" y="22"/>
                      <a:pt x="2" y="24"/>
                      <a:pt x="9" y="35"/>
                    </a:cubicBezTo>
                    <a:cubicBezTo>
                      <a:pt x="9" y="35"/>
                      <a:pt x="0" y="49"/>
                      <a:pt x="14" y="46"/>
                    </a:cubicBezTo>
                    <a:cubicBezTo>
                      <a:pt x="14" y="46"/>
                      <a:pt x="25" y="56"/>
                      <a:pt x="25" y="38"/>
                    </a:cubicBezTo>
                    <a:cubicBezTo>
                      <a:pt x="25" y="38"/>
                      <a:pt x="32" y="51"/>
                      <a:pt x="37" y="38"/>
                    </a:cubicBezTo>
                    <a:cubicBezTo>
                      <a:pt x="37" y="38"/>
                      <a:pt x="37" y="47"/>
                      <a:pt x="46" y="42"/>
                    </a:cubicBezTo>
                    <a:cubicBezTo>
                      <a:pt x="46" y="42"/>
                      <a:pt x="46" y="42"/>
                      <a:pt x="46" y="42"/>
                    </a:cubicBezTo>
                    <a:cubicBezTo>
                      <a:pt x="55" y="36"/>
                      <a:pt x="46" y="42"/>
                      <a:pt x="46" y="42"/>
                    </a:cubicBezTo>
                    <a:cubicBezTo>
                      <a:pt x="46" y="42"/>
                      <a:pt x="44" y="61"/>
                      <a:pt x="57" y="52"/>
                    </a:cubicBezTo>
                    <a:cubicBezTo>
                      <a:pt x="57" y="52"/>
                      <a:pt x="62" y="63"/>
                      <a:pt x="71" y="54"/>
                    </a:cubicBezTo>
                    <a:cubicBezTo>
                      <a:pt x="71" y="54"/>
                      <a:pt x="74" y="47"/>
                      <a:pt x="68" y="46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44" name="Freeform 237"/>
              <p:cNvSpPr>
                <a:spLocks/>
              </p:cNvSpPr>
              <p:nvPr/>
            </p:nvSpPr>
            <p:spPr bwMode="auto">
              <a:xfrm>
                <a:off x="6516688" y="1571625"/>
                <a:ext cx="100013" cy="150813"/>
              </a:xfrm>
              <a:custGeom>
                <a:avLst/>
                <a:gdLst>
                  <a:gd name="T0" fmla="*/ 36 w 44"/>
                  <a:gd name="T1" fmla="*/ 26 h 66"/>
                  <a:gd name="T2" fmla="*/ 36 w 44"/>
                  <a:gd name="T3" fmla="*/ 6 h 66"/>
                  <a:gd name="T4" fmla="*/ 24 w 44"/>
                  <a:gd name="T5" fmla="*/ 12 h 66"/>
                  <a:gd name="T6" fmla="*/ 17 w 44"/>
                  <a:gd name="T7" fmla="*/ 20 h 66"/>
                  <a:gd name="T8" fmla="*/ 9 w 44"/>
                  <a:gd name="T9" fmla="*/ 31 h 66"/>
                  <a:gd name="T10" fmla="*/ 9 w 44"/>
                  <a:gd name="T11" fmla="*/ 44 h 66"/>
                  <a:gd name="T12" fmla="*/ 12 w 44"/>
                  <a:gd name="T13" fmla="*/ 57 h 66"/>
                  <a:gd name="T14" fmla="*/ 17 w 44"/>
                  <a:gd name="T15" fmla="*/ 66 h 66"/>
                  <a:gd name="T16" fmla="*/ 25 w 44"/>
                  <a:gd name="T17" fmla="*/ 55 h 66"/>
                  <a:gd name="T18" fmla="*/ 29 w 44"/>
                  <a:gd name="T19" fmla="*/ 44 h 66"/>
                  <a:gd name="T20" fmla="*/ 36 w 44"/>
                  <a:gd name="T21" fmla="*/ 26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4" h="66">
                    <a:moveTo>
                      <a:pt x="36" y="26"/>
                    </a:moveTo>
                    <a:cubicBezTo>
                      <a:pt x="36" y="26"/>
                      <a:pt x="41" y="10"/>
                      <a:pt x="36" y="6"/>
                    </a:cubicBezTo>
                    <a:cubicBezTo>
                      <a:pt x="36" y="6"/>
                      <a:pt x="25" y="0"/>
                      <a:pt x="24" y="12"/>
                    </a:cubicBezTo>
                    <a:cubicBezTo>
                      <a:pt x="24" y="12"/>
                      <a:pt x="16" y="12"/>
                      <a:pt x="17" y="20"/>
                    </a:cubicBezTo>
                    <a:cubicBezTo>
                      <a:pt x="17" y="20"/>
                      <a:pt x="5" y="17"/>
                      <a:pt x="9" y="31"/>
                    </a:cubicBezTo>
                    <a:cubicBezTo>
                      <a:pt x="9" y="31"/>
                      <a:pt x="0" y="37"/>
                      <a:pt x="9" y="44"/>
                    </a:cubicBezTo>
                    <a:cubicBezTo>
                      <a:pt x="9" y="44"/>
                      <a:pt x="1" y="53"/>
                      <a:pt x="12" y="57"/>
                    </a:cubicBezTo>
                    <a:cubicBezTo>
                      <a:pt x="12" y="57"/>
                      <a:pt x="10" y="65"/>
                      <a:pt x="17" y="66"/>
                    </a:cubicBezTo>
                    <a:cubicBezTo>
                      <a:pt x="17" y="66"/>
                      <a:pt x="26" y="65"/>
                      <a:pt x="25" y="55"/>
                    </a:cubicBezTo>
                    <a:cubicBezTo>
                      <a:pt x="25" y="55"/>
                      <a:pt x="36" y="51"/>
                      <a:pt x="29" y="44"/>
                    </a:cubicBezTo>
                    <a:cubicBezTo>
                      <a:pt x="29" y="44"/>
                      <a:pt x="44" y="33"/>
                      <a:pt x="36" y="26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45" name="Freeform 238"/>
              <p:cNvSpPr>
                <a:spLocks/>
              </p:cNvSpPr>
              <p:nvPr/>
            </p:nvSpPr>
            <p:spPr bwMode="auto">
              <a:xfrm>
                <a:off x="6610350" y="1746250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46" name="Freeform 239"/>
              <p:cNvSpPr>
                <a:spLocks/>
              </p:cNvSpPr>
              <p:nvPr/>
            </p:nvSpPr>
            <p:spPr bwMode="auto">
              <a:xfrm>
                <a:off x="6616700" y="1752600"/>
                <a:ext cx="0" cy="3175"/>
              </a:xfrm>
              <a:custGeom>
                <a:avLst/>
                <a:gdLst>
                  <a:gd name="T0" fmla="*/ 0 h 1"/>
                  <a:gd name="T1" fmla="*/ 1 h 1"/>
                  <a:gd name="T2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0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47" name="Freeform 240"/>
              <p:cNvSpPr>
                <a:spLocks/>
              </p:cNvSpPr>
              <p:nvPr/>
            </p:nvSpPr>
            <p:spPr bwMode="auto">
              <a:xfrm>
                <a:off x="6594475" y="1711325"/>
                <a:ext cx="46038" cy="127000"/>
              </a:xfrm>
              <a:custGeom>
                <a:avLst/>
                <a:gdLst>
                  <a:gd name="T0" fmla="*/ 10 w 20"/>
                  <a:gd name="T1" fmla="*/ 18 h 55"/>
                  <a:gd name="T2" fmla="*/ 10 w 20"/>
                  <a:gd name="T3" fmla="*/ 19 h 55"/>
                  <a:gd name="T4" fmla="*/ 10 w 20"/>
                  <a:gd name="T5" fmla="*/ 18 h 55"/>
                  <a:gd name="T6" fmla="*/ 12 w 20"/>
                  <a:gd name="T7" fmla="*/ 2 h 55"/>
                  <a:gd name="T8" fmla="*/ 9 w 20"/>
                  <a:gd name="T9" fmla="*/ 0 h 55"/>
                  <a:gd name="T10" fmla="*/ 7 w 20"/>
                  <a:gd name="T11" fmla="*/ 15 h 55"/>
                  <a:gd name="T12" fmla="*/ 7 w 20"/>
                  <a:gd name="T13" fmla="*/ 15 h 55"/>
                  <a:gd name="T14" fmla="*/ 7 w 20"/>
                  <a:gd name="T15" fmla="*/ 15 h 55"/>
                  <a:gd name="T16" fmla="*/ 1 w 20"/>
                  <a:gd name="T17" fmla="*/ 5 h 55"/>
                  <a:gd name="T18" fmla="*/ 0 w 20"/>
                  <a:gd name="T19" fmla="*/ 10 h 55"/>
                  <a:gd name="T20" fmla="*/ 4 w 20"/>
                  <a:gd name="T21" fmla="*/ 32 h 55"/>
                  <a:gd name="T22" fmla="*/ 1 w 20"/>
                  <a:gd name="T23" fmla="*/ 55 h 55"/>
                  <a:gd name="T24" fmla="*/ 3 w 20"/>
                  <a:gd name="T25" fmla="*/ 55 h 55"/>
                  <a:gd name="T26" fmla="*/ 14 w 20"/>
                  <a:gd name="T27" fmla="*/ 55 h 55"/>
                  <a:gd name="T28" fmla="*/ 13 w 20"/>
                  <a:gd name="T29" fmla="*/ 25 h 55"/>
                  <a:gd name="T30" fmla="*/ 20 w 20"/>
                  <a:gd name="T31" fmla="*/ 7 h 55"/>
                  <a:gd name="T32" fmla="*/ 20 w 20"/>
                  <a:gd name="T33" fmla="*/ 2 h 55"/>
                  <a:gd name="T34" fmla="*/ 10 w 20"/>
                  <a:gd name="T35" fmla="*/ 18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0" h="55">
                    <a:moveTo>
                      <a:pt x="10" y="18"/>
                    </a:moveTo>
                    <a:cubicBezTo>
                      <a:pt x="10" y="19"/>
                      <a:pt x="10" y="19"/>
                      <a:pt x="10" y="19"/>
                    </a:cubicBezTo>
                    <a:cubicBezTo>
                      <a:pt x="10" y="19"/>
                      <a:pt x="10" y="18"/>
                      <a:pt x="10" y="18"/>
                    </a:cubicBezTo>
                    <a:cubicBezTo>
                      <a:pt x="10" y="15"/>
                      <a:pt x="11" y="4"/>
                      <a:pt x="12" y="2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9" y="0"/>
                      <a:pt x="7" y="13"/>
                      <a:pt x="7" y="15"/>
                    </a:cubicBezTo>
                    <a:cubicBezTo>
                      <a:pt x="7" y="15"/>
                      <a:pt x="7" y="15"/>
                      <a:pt x="7" y="15"/>
                    </a:cubicBezTo>
                    <a:cubicBezTo>
                      <a:pt x="7" y="15"/>
                      <a:pt x="7" y="15"/>
                      <a:pt x="7" y="15"/>
                    </a:cubicBezTo>
                    <a:cubicBezTo>
                      <a:pt x="7" y="14"/>
                      <a:pt x="5" y="8"/>
                      <a:pt x="1" y="5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10"/>
                      <a:pt x="5" y="15"/>
                      <a:pt x="4" y="32"/>
                    </a:cubicBezTo>
                    <a:cubicBezTo>
                      <a:pt x="4" y="32"/>
                      <a:pt x="3" y="52"/>
                      <a:pt x="1" y="55"/>
                    </a:cubicBezTo>
                    <a:cubicBezTo>
                      <a:pt x="3" y="55"/>
                      <a:pt x="3" y="55"/>
                      <a:pt x="3" y="55"/>
                    </a:cubicBezTo>
                    <a:cubicBezTo>
                      <a:pt x="14" y="55"/>
                      <a:pt x="14" y="55"/>
                      <a:pt x="14" y="55"/>
                    </a:cubicBezTo>
                    <a:cubicBezTo>
                      <a:pt x="14" y="55"/>
                      <a:pt x="11" y="34"/>
                      <a:pt x="13" y="25"/>
                    </a:cubicBezTo>
                    <a:cubicBezTo>
                      <a:pt x="14" y="16"/>
                      <a:pt x="17" y="8"/>
                      <a:pt x="20" y="7"/>
                    </a:cubicBezTo>
                    <a:cubicBezTo>
                      <a:pt x="20" y="2"/>
                      <a:pt x="20" y="2"/>
                      <a:pt x="20" y="2"/>
                    </a:cubicBezTo>
                    <a:cubicBezTo>
                      <a:pt x="20" y="2"/>
                      <a:pt x="11" y="11"/>
                      <a:pt x="10" y="18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48" name="Freeform 241"/>
              <p:cNvSpPr>
                <a:spLocks/>
              </p:cNvSpPr>
              <p:nvPr/>
            </p:nvSpPr>
            <p:spPr bwMode="auto">
              <a:xfrm>
                <a:off x="6673850" y="1731963"/>
                <a:ext cx="0" cy="3175"/>
              </a:xfrm>
              <a:custGeom>
                <a:avLst/>
                <a:gdLst>
                  <a:gd name="T0" fmla="*/ 0 h 1"/>
                  <a:gd name="T1" fmla="*/ 1 h 1"/>
                  <a:gd name="T2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0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49" name="Freeform 242"/>
              <p:cNvSpPr>
                <a:spLocks/>
              </p:cNvSpPr>
              <p:nvPr/>
            </p:nvSpPr>
            <p:spPr bwMode="auto">
              <a:xfrm>
                <a:off x="6650038" y="1690688"/>
                <a:ext cx="47625" cy="127000"/>
              </a:xfrm>
              <a:custGeom>
                <a:avLst/>
                <a:gdLst>
                  <a:gd name="T0" fmla="*/ 11 w 21"/>
                  <a:gd name="T1" fmla="*/ 18 h 55"/>
                  <a:gd name="T2" fmla="*/ 11 w 21"/>
                  <a:gd name="T3" fmla="*/ 19 h 55"/>
                  <a:gd name="T4" fmla="*/ 11 w 21"/>
                  <a:gd name="T5" fmla="*/ 18 h 55"/>
                  <a:gd name="T6" fmla="*/ 13 w 21"/>
                  <a:gd name="T7" fmla="*/ 2 h 55"/>
                  <a:gd name="T8" fmla="*/ 9 w 21"/>
                  <a:gd name="T9" fmla="*/ 0 h 55"/>
                  <a:gd name="T10" fmla="*/ 8 w 21"/>
                  <a:gd name="T11" fmla="*/ 15 h 55"/>
                  <a:gd name="T12" fmla="*/ 8 w 21"/>
                  <a:gd name="T13" fmla="*/ 15 h 55"/>
                  <a:gd name="T14" fmla="*/ 8 w 21"/>
                  <a:gd name="T15" fmla="*/ 15 h 55"/>
                  <a:gd name="T16" fmla="*/ 2 w 21"/>
                  <a:gd name="T17" fmla="*/ 5 h 55"/>
                  <a:gd name="T18" fmla="*/ 0 w 21"/>
                  <a:gd name="T19" fmla="*/ 10 h 55"/>
                  <a:gd name="T20" fmla="*/ 4 w 21"/>
                  <a:gd name="T21" fmla="*/ 32 h 55"/>
                  <a:gd name="T22" fmla="*/ 2 w 21"/>
                  <a:gd name="T23" fmla="*/ 55 h 55"/>
                  <a:gd name="T24" fmla="*/ 3 w 21"/>
                  <a:gd name="T25" fmla="*/ 55 h 55"/>
                  <a:gd name="T26" fmla="*/ 14 w 21"/>
                  <a:gd name="T27" fmla="*/ 55 h 55"/>
                  <a:gd name="T28" fmla="*/ 13 w 21"/>
                  <a:gd name="T29" fmla="*/ 25 h 55"/>
                  <a:gd name="T30" fmla="*/ 21 w 21"/>
                  <a:gd name="T31" fmla="*/ 8 h 55"/>
                  <a:gd name="T32" fmla="*/ 20 w 21"/>
                  <a:gd name="T33" fmla="*/ 2 h 55"/>
                  <a:gd name="T34" fmla="*/ 11 w 21"/>
                  <a:gd name="T35" fmla="*/ 18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1" h="55">
                    <a:moveTo>
                      <a:pt x="11" y="18"/>
                    </a:moveTo>
                    <a:cubicBezTo>
                      <a:pt x="11" y="19"/>
                      <a:pt x="11" y="19"/>
                      <a:pt x="11" y="19"/>
                    </a:cubicBezTo>
                    <a:cubicBezTo>
                      <a:pt x="11" y="19"/>
                      <a:pt x="11" y="19"/>
                      <a:pt x="11" y="18"/>
                    </a:cubicBezTo>
                    <a:cubicBezTo>
                      <a:pt x="11" y="15"/>
                      <a:pt x="11" y="4"/>
                      <a:pt x="13" y="2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9" y="0"/>
                      <a:pt x="7" y="13"/>
                      <a:pt x="8" y="15"/>
                    </a:cubicBezTo>
                    <a:cubicBezTo>
                      <a:pt x="8" y="15"/>
                      <a:pt x="8" y="15"/>
                      <a:pt x="8" y="15"/>
                    </a:cubicBezTo>
                    <a:cubicBezTo>
                      <a:pt x="8" y="15"/>
                      <a:pt x="8" y="15"/>
                      <a:pt x="8" y="15"/>
                    </a:cubicBezTo>
                    <a:cubicBezTo>
                      <a:pt x="7" y="14"/>
                      <a:pt x="6" y="8"/>
                      <a:pt x="2" y="5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10"/>
                      <a:pt x="5" y="15"/>
                      <a:pt x="4" y="32"/>
                    </a:cubicBezTo>
                    <a:cubicBezTo>
                      <a:pt x="4" y="32"/>
                      <a:pt x="3" y="52"/>
                      <a:pt x="2" y="55"/>
                    </a:cubicBezTo>
                    <a:cubicBezTo>
                      <a:pt x="3" y="55"/>
                      <a:pt x="3" y="55"/>
                      <a:pt x="3" y="55"/>
                    </a:cubicBezTo>
                    <a:cubicBezTo>
                      <a:pt x="14" y="55"/>
                      <a:pt x="14" y="55"/>
                      <a:pt x="14" y="55"/>
                    </a:cubicBezTo>
                    <a:cubicBezTo>
                      <a:pt x="14" y="55"/>
                      <a:pt x="11" y="34"/>
                      <a:pt x="13" y="25"/>
                    </a:cubicBezTo>
                    <a:cubicBezTo>
                      <a:pt x="15" y="16"/>
                      <a:pt x="18" y="8"/>
                      <a:pt x="21" y="8"/>
                    </a:cubicBezTo>
                    <a:cubicBezTo>
                      <a:pt x="20" y="2"/>
                      <a:pt x="20" y="2"/>
                      <a:pt x="20" y="2"/>
                    </a:cubicBezTo>
                    <a:cubicBezTo>
                      <a:pt x="20" y="2"/>
                      <a:pt x="11" y="11"/>
                      <a:pt x="11" y="18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0" name="Freeform 243"/>
              <p:cNvSpPr>
                <a:spLocks/>
              </p:cNvSpPr>
              <p:nvPr/>
            </p:nvSpPr>
            <p:spPr bwMode="auto">
              <a:xfrm>
                <a:off x="6667500" y="1725613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1" name="Freeform 244"/>
              <p:cNvSpPr>
                <a:spLocks/>
              </p:cNvSpPr>
              <p:nvPr/>
            </p:nvSpPr>
            <p:spPr bwMode="auto">
              <a:xfrm>
                <a:off x="6543675" y="1633538"/>
                <a:ext cx="50800" cy="73025"/>
              </a:xfrm>
              <a:custGeom>
                <a:avLst/>
                <a:gdLst>
                  <a:gd name="T0" fmla="*/ 14 w 22"/>
                  <a:gd name="T1" fmla="*/ 3 h 32"/>
                  <a:gd name="T2" fmla="*/ 7 w 22"/>
                  <a:gd name="T3" fmla="*/ 11 h 32"/>
                  <a:gd name="T4" fmla="*/ 6 w 22"/>
                  <a:gd name="T5" fmla="*/ 20 h 32"/>
                  <a:gd name="T6" fmla="*/ 13 w 22"/>
                  <a:gd name="T7" fmla="*/ 29 h 32"/>
                  <a:gd name="T8" fmla="*/ 14 w 22"/>
                  <a:gd name="T9" fmla="*/ 3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" h="32">
                    <a:moveTo>
                      <a:pt x="14" y="3"/>
                    </a:moveTo>
                    <a:cubicBezTo>
                      <a:pt x="14" y="3"/>
                      <a:pt x="3" y="0"/>
                      <a:pt x="7" y="11"/>
                    </a:cubicBezTo>
                    <a:cubicBezTo>
                      <a:pt x="7" y="11"/>
                      <a:pt x="0" y="14"/>
                      <a:pt x="6" y="20"/>
                    </a:cubicBezTo>
                    <a:cubicBezTo>
                      <a:pt x="6" y="20"/>
                      <a:pt x="2" y="32"/>
                      <a:pt x="13" y="29"/>
                    </a:cubicBezTo>
                    <a:cubicBezTo>
                      <a:pt x="13" y="29"/>
                      <a:pt x="22" y="4"/>
                      <a:pt x="14" y="3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2" name="Freeform 245"/>
              <p:cNvSpPr>
                <a:spLocks/>
              </p:cNvSpPr>
              <p:nvPr/>
            </p:nvSpPr>
            <p:spPr bwMode="auto">
              <a:xfrm>
                <a:off x="6596063" y="1611313"/>
                <a:ext cx="3175" cy="0"/>
              </a:xfrm>
              <a:custGeom>
                <a:avLst/>
                <a:gdLst>
                  <a:gd name="T0" fmla="*/ 0 w 1"/>
                  <a:gd name="T1" fmla="*/ 1 w 1"/>
                  <a:gd name="T2" fmla="*/ 0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1" y="0"/>
                    </a:cubicBezTo>
                    <a:cubicBezTo>
                      <a:pt x="1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3" name="Freeform 246"/>
              <p:cNvSpPr>
                <a:spLocks/>
              </p:cNvSpPr>
              <p:nvPr/>
            </p:nvSpPr>
            <p:spPr bwMode="auto">
              <a:xfrm>
                <a:off x="6573838" y="1565275"/>
                <a:ext cx="79375" cy="98425"/>
              </a:xfrm>
              <a:custGeom>
                <a:avLst/>
                <a:gdLst>
                  <a:gd name="T0" fmla="*/ 32 w 35"/>
                  <a:gd name="T1" fmla="*/ 7 h 43"/>
                  <a:gd name="T2" fmla="*/ 27 w 35"/>
                  <a:gd name="T3" fmla="*/ 1 h 43"/>
                  <a:gd name="T4" fmla="*/ 19 w 35"/>
                  <a:gd name="T5" fmla="*/ 7 h 43"/>
                  <a:gd name="T6" fmla="*/ 8 w 35"/>
                  <a:gd name="T7" fmla="*/ 13 h 43"/>
                  <a:gd name="T8" fmla="*/ 10 w 35"/>
                  <a:gd name="T9" fmla="*/ 20 h 43"/>
                  <a:gd name="T10" fmla="*/ 11 w 35"/>
                  <a:gd name="T11" fmla="*/ 20 h 43"/>
                  <a:gd name="T12" fmla="*/ 10 w 35"/>
                  <a:gd name="T13" fmla="*/ 20 h 43"/>
                  <a:gd name="T14" fmla="*/ 4 w 35"/>
                  <a:gd name="T15" fmla="*/ 23 h 43"/>
                  <a:gd name="T16" fmla="*/ 5 w 35"/>
                  <a:gd name="T17" fmla="*/ 30 h 43"/>
                  <a:gd name="T18" fmla="*/ 1 w 35"/>
                  <a:gd name="T19" fmla="*/ 37 h 43"/>
                  <a:gd name="T20" fmla="*/ 9 w 35"/>
                  <a:gd name="T21" fmla="*/ 42 h 43"/>
                  <a:gd name="T22" fmla="*/ 18 w 35"/>
                  <a:gd name="T23" fmla="*/ 33 h 43"/>
                  <a:gd name="T24" fmla="*/ 24 w 35"/>
                  <a:gd name="T25" fmla="*/ 23 h 43"/>
                  <a:gd name="T26" fmla="*/ 28 w 35"/>
                  <a:gd name="T27" fmla="*/ 15 h 43"/>
                  <a:gd name="T28" fmla="*/ 32 w 35"/>
                  <a:gd name="T29" fmla="*/ 7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5" h="43">
                    <a:moveTo>
                      <a:pt x="32" y="7"/>
                    </a:moveTo>
                    <a:cubicBezTo>
                      <a:pt x="32" y="7"/>
                      <a:pt x="32" y="1"/>
                      <a:pt x="27" y="1"/>
                    </a:cubicBezTo>
                    <a:cubicBezTo>
                      <a:pt x="27" y="1"/>
                      <a:pt x="19" y="0"/>
                      <a:pt x="19" y="7"/>
                    </a:cubicBezTo>
                    <a:cubicBezTo>
                      <a:pt x="19" y="7"/>
                      <a:pt x="9" y="3"/>
                      <a:pt x="8" y="13"/>
                    </a:cubicBezTo>
                    <a:cubicBezTo>
                      <a:pt x="8" y="13"/>
                      <a:pt x="7" y="19"/>
                      <a:pt x="10" y="20"/>
                    </a:cubicBezTo>
                    <a:cubicBezTo>
                      <a:pt x="10" y="20"/>
                      <a:pt x="11" y="20"/>
                      <a:pt x="11" y="20"/>
                    </a:cubicBezTo>
                    <a:cubicBezTo>
                      <a:pt x="10" y="20"/>
                      <a:pt x="10" y="20"/>
                      <a:pt x="10" y="20"/>
                    </a:cubicBezTo>
                    <a:cubicBezTo>
                      <a:pt x="8" y="20"/>
                      <a:pt x="5" y="20"/>
                      <a:pt x="4" y="23"/>
                    </a:cubicBezTo>
                    <a:cubicBezTo>
                      <a:pt x="4" y="23"/>
                      <a:pt x="2" y="25"/>
                      <a:pt x="5" y="30"/>
                    </a:cubicBezTo>
                    <a:cubicBezTo>
                      <a:pt x="5" y="30"/>
                      <a:pt x="0" y="33"/>
                      <a:pt x="1" y="37"/>
                    </a:cubicBezTo>
                    <a:cubicBezTo>
                      <a:pt x="1" y="37"/>
                      <a:pt x="2" y="43"/>
                      <a:pt x="9" y="42"/>
                    </a:cubicBezTo>
                    <a:cubicBezTo>
                      <a:pt x="9" y="42"/>
                      <a:pt x="20" y="43"/>
                      <a:pt x="18" y="33"/>
                    </a:cubicBezTo>
                    <a:cubicBezTo>
                      <a:pt x="18" y="33"/>
                      <a:pt x="32" y="30"/>
                      <a:pt x="24" y="23"/>
                    </a:cubicBezTo>
                    <a:cubicBezTo>
                      <a:pt x="24" y="23"/>
                      <a:pt x="35" y="27"/>
                      <a:pt x="28" y="15"/>
                    </a:cubicBezTo>
                    <a:cubicBezTo>
                      <a:pt x="28" y="15"/>
                      <a:pt x="32" y="10"/>
                      <a:pt x="32" y="7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4" name="Freeform 247"/>
              <p:cNvSpPr>
                <a:spLocks/>
              </p:cNvSpPr>
              <p:nvPr/>
            </p:nvSpPr>
            <p:spPr bwMode="auto">
              <a:xfrm>
                <a:off x="6604000" y="1574800"/>
                <a:ext cx="98425" cy="98425"/>
              </a:xfrm>
              <a:custGeom>
                <a:avLst/>
                <a:gdLst>
                  <a:gd name="T0" fmla="*/ 27 w 43"/>
                  <a:gd name="T1" fmla="*/ 8 h 43"/>
                  <a:gd name="T2" fmla="*/ 22 w 43"/>
                  <a:gd name="T3" fmla="*/ 1 h 43"/>
                  <a:gd name="T4" fmla="*/ 15 w 43"/>
                  <a:gd name="T5" fmla="*/ 8 h 43"/>
                  <a:gd name="T6" fmla="*/ 9 w 43"/>
                  <a:gd name="T7" fmla="*/ 14 h 43"/>
                  <a:gd name="T8" fmla="*/ 9 w 43"/>
                  <a:gd name="T9" fmla="*/ 22 h 43"/>
                  <a:gd name="T10" fmla="*/ 13 w 43"/>
                  <a:gd name="T11" fmla="*/ 33 h 43"/>
                  <a:gd name="T12" fmla="*/ 23 w 43"/>
                  <a:gd name="T13" fmla="*/ 35 h 43"/>
                  <a:gd name="T14" fmla="*/ 31 w 43"/>
                  <a:gd name="T15" fmla="*/ 29 h 43"/>
                  <a:gd name="T16" fmla="*/ 35 w 43"/>
                  <a:gd name="T17" fmla="*/ 15 h 43"/>
                  <a:gd name="T18" fmla="*/ 27 w 43"/>
                  <a:gd name="T19" fmla="*/ 8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3" h="43">
                    <a:moveTo>
                      <a:pt x="27" y="8"/>
                    </a:moveTo>
                    <a:cubicBezTo>
                      <a:pt x="27" y="8"/>
                      <a:pt x="27" y="1"/>
                      <a:pt x="22" y="1"/>
                    </a:cubicBezTo>
                    <a:cubicBezTo>
                      <a:pt x="22" y="1"/>
                      <a:pt x="16" y="0"/>
                      <a:pt x="15" y="8"/>
                    </a:cubicBezTo>
                    <a:cubicBezTo>
                      <a:pt x="15" y="8"/>
                      <a:pt x="9" y="7"/>
                      <a:pt x="9" y="14"/>
                    </a:cubicBezTo>
                    <a:cubicBezTo>
                      <a:pt x="9" y="14"/>
                      <a:pt x="0" y="17"/>
                      <a:pt x="9" y="22"/>
                    </a:cubicBezTo>
                    <a:cubicBezTo>
                      <a:pt x="9" y="22"/>
                      <a:pt x="7" y="34"/>
                      <a:pt x="13" y="33"/>
                    </a:cubicBezTo>
                    <a:cubicBezTo>
                      <a:pt x="13" y="33"/>
                      <a:pt x="16" y="43"/>
                      <a:pt x="23" y="35"/>
                    </a:cubicBezTo>
                    <a:cubicBezTo>
                      <a:pt x="23" y="35"/>
                      <a:pt x="33" y="39"/>
                      <a:pt x="31" y="29"/>
                    </a:cubicBezTo>
                    <a:cubicBezTo>
                      <a:pt x="31" y="29"/>
                      <a:pt x="43" y="23"/>
                      <a:pt x="35" y="15"/>
                    </a:cubicBezTo>
                    <a:cubicBezTo>
                      <a:pt x="35" y="15"/>
                      <a:pt x="37" y="7"/>
                      <a:pt x="27" y="8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5" name="Freeform 248"/>
              <p:cNvSpPr>
                <a:spLocks/>
              </p:cNvSpPr>
              <p:nvPr/>
            </p:nvSpPr>
            <p:spPr bwMode="auto">
              <a:xfrm>
                <a:off x="6637338" y="1608138"/>
                <a:ext cx="92075" cy="92075"/>
              </a:xfrm>
              <a:custGeom>
                <a:avLst/>
                <a:gdLst>
                  <a:gd name="T0" fmla="*/ 31 w 40"/>
                  <a:gd name="T1" fmla="*/ 16 h 40"/>
                  <a:gd name="T2" fmla="*/ 28 w 40"/>
                  <a:gd name="T3" fmla="*/ 8 h 40"/>
                  <a:gd name="T4" fmla="*/ 22 w 40"/>
                  <a:gd name="T5" fmla="*/ 0 h 40"/>
                  <a:gd name="T6" fmla="*/ 17 w 40"/>
                  <a:gd name="T7" fmla="*/ 9 h 40"/>
                  <a:gd name="T8" fmla="*/ 8 w 40"/>
                  <a:gd name="T9" fmla="*/ 10 h 40"/>
                  <a:gd name="T10" fmla="*/ 9 w 40"/>
                  <a:gd name="T11" fmla="*/ 17 h 40"/>
                  <a:gd name="T12" fmla="*/ 3 w 40"/>
                  <a:gd name="T13" fmla="*/ 27 h 40"/>
                  <a:gd name="T14" fmla="*/ 17 w 40"/>
                  <a:gd name="T15" fmla="*/ 31 h 40"/>
                  <a:gd name="T16" fmla="*/ 24 w 40"/>
                  <a:gd name="T17" fmla="*/ 32 h 40"/>
                  <a:gd name="T18" fmla="*/ 32 w 40"/>
                  <a:gd name="T19" fmla="*/ 28 h 40"/>
                  <a:gd name="T20" fmla="*/ 33 w 40"/>
                  <a:gd name="T21" fmla="*/ 28 h 40"/>
                  <a:gd name="T22" fmla="*/ 31 w 40"/>
                  <a:gd name="T23" fmla="*/ 1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40">
                    <a:moveTo>
                      <a:pt x="31" y="16"/>
                    </a:moveTo>
                    <a:cubicBezTo>
                      <a:pt x="31" y="16"/>
                      <a:pt x="36" y="9"/>
                      <a:pt x="28" y="8"/>
                    </a:cubicBezTo>
                    <a:cubicBezTo>
                      <a:pt x="28" y="8"/>
                      <a:pt x="27" y="0"/>
                      <a:pt x="22" y="0"/>
                    </a:cubicBezTo>
                    <a:cubicBezTo>
                      <a:pt x="22" y="0"/>
                      <a:pt x="14" y="0"/>
                      <a:pt x="17" y="9"/>
                    </a:cubicBezTo>
                    <a:cubicBezTo>
                      <a:pt x="17" y="9"/>
                      <a:pt x="10" y="5"/>
                      <a:pt x="8" y="10"/>
                    </a:cubicBezTo>
                    <a:cubicBezTo>
                      <a:pt x="8" y="10"/>
                      <a:pt x="5" y="16"/>
                      <a:pt x="9" y="17"/>
                    </a:cubicBezTo>
                    <a:cubicBezTo>
                      <a:pt x="9" y="17"/>
                      <a:pt x="0" y="18"/>
                      <a:pt x="3" y="27"/>
                    </a:cubicBezTo>
                    <a:cubicBezTo>
                      <a:pt x="3" y="27"/>
                      <a:pt x="8" y="40"/>
                      <a:pt x="17" y="31"/>
                    </a:cubicBezTo>
                    <a:cubicBezTo>
                      <a:pt x="17" y="31"/>
                      <a:pt x="23" y="37"/>
                      <a:pt x="24" y="32"/>
                    </a:cubicBezTo>
                    <a:cubicBezTo>
                      <a:pt x="24" y="32"/>
                      <a:pt x="33" y="37"/>
                      <a:pt x="32" y="28"/>
                    </a:cubicBezTo>
                    <a:cubicBezTo>
                      <a:pt x="32" y="28"/>
                      <a:pt x="33" y="28"/>
                      <a:pt x="33" y="28"/>
                    </a:cubicBezTo>
                    <a:cubicBezTo>
                      <a:pt x="33" y="28"/>
                      <a:pt x="40" y="20"/>
                      <a:pt x="31" y="16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6" name="Freeform 249"/>
              <p:cNvSpPr>
                <a:spLocks/>
              </p:cNvSpPr>
              <p:nvPr/>
            </p:nvSpPr>
            <p:spPr bwMode="auto">
              <a:xfrm>
                <a:off x="6630988" y="1657350"/>
                <a:ext cx="100013" cy="104775"/>
              </a:xfrm>
              <a:custGeom>
                <a:avLst/>
                <a:gdLst>
                  <a:gd name="T0" fmla="*/ 34 w 44"/>
                  <a:gd name="T1" fmla="*/ 6 h 46"/>
                  <a:gd name="T2" fmla="*/ 27 w 44"/>
                  <a:gd name="T3" fmla="*/ 1 h 46"/>
                  <a:gd name="T4" fmla="*/ 27 w 44"/>
                  <a:gd name="T5" fmla="*/ 1 h 46"/>
                  <a:gd name="T6" fmla="*/ 23 w 44"/>
                  <a:gd name="T7" fmla="*/ 4 h 46"/>
                  <a:gd name="T8" fmla="*/ 15 w 44"/>
                  <a:gd name="T9" fmla="*/ 9 h 46"/>
                  <a:gd name="T10" fmla="*/ 8 w 44"/>
                  <a:gd name="T11" fmla="*/ 15 h 46"/>
                  <a:gd name="T12" fmla="*/ 5 w 44"/>
                  <a:gd name="T13" fmla="*/ 22 h 46"/>
                  <a:gd name="T14" fmla="*/ 6 w 44"/>
                  <a:gd name="T15" fmla="*/ 29 h 46"/>
                  <a:gd name="T16" fmla="*/ 6 w 44"/>
                  <a:gd name="T17" fmla="*/ 34 h 46"/>
                  <a:gd name="T18" fmla="*/ 13 w 44"/>
                  <a:gd name="T19" fmla="*/ 39 h 46"/>
                  <a:gd name="T20" fmla="*/ 14 w 44"/>
                  <a:gd name="T21" fmla="*/ 39 h 46"/>
                  <a:gd name="T22" fmla="*/ 22 w 44"/>
                  <a:gd name="T23" fmla="*/ 38 h 46"/>
                  <a:gd name="T24" fmla="*/ 22 w 44"/>
                  <a:gd name="T25" fmla="*/ 38 h 46"/>
                  <a:gd name="T26" fmla="*/ 22 w 44"/>
                  <a:gd name="T27" fmla="*/ 38 h 46"/>
                  <a:gd name="T28" fmla="*/ 29 w 44"/>
                  <a:gd name="T29" fmla="*/ 30 h 46"/>
                  <a:gd name="T30" fmla="*/ 34 w 44"/>
                  <a:gd name="T31" fmla="*/ 24 h 46"/>
                  <a:gd name="T32" fmla="*/ 35 w 44"/>
                  <a:gd name="T33" fmla="*/ 16 h 46"/>
                  <a:gd name="T34" fmla="*/ 34 w 44"/>
                  <a:gd name="T35" fmla="*/ 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4" h="46">
                    <a:moveTo>
                      <a:pt x="34" y="6"/>
                    </a:moveTo>
                    <a:cubicBezTo>
                      <a:pt x="34" y="6"/>
                      <a:pt x="35" y="0"/>
                      <a:pt x="27" y="1"/>
                    </a:cubicBezTo>
                    <a:cubicBezTo>
                      <a:pt x="27" y="1"/>
                      <a:pt x="27" y="1"/>
                      <a:pt x="27" y="1"/>
                    </a:cubicBezTo>
                    <a:cubicBezTo>
                      <a:pt x="27" y="1"/>
                      <a:pt x="23" y="2"/>
                      <a:pt x="23" y="4"/>
                    </a:cubicBezTo>
                    <a:cubicBezTo>
                      <a:pt x="23" y="4"/>
                      <a:pt x="18" y="0"/>
                      <a:pt x="15" y="9"/>
                    </a:cubicBezTo>
                    <a:cubicBezTo>
                      <a:pt x="15" y="9"/>
                      <a:pt x="8" y="6"/>
                      <a:pt x="8" y="15"/>
                    </a:cubicBezTo>
                    <a:cubicBezTo>
                      <a:pt x="8" y="15"/>
                      <a:pt x="1" y="17"/>
                      <a:pt x="5" y="22"/>
                    </a:cubicBezTo>
                    <a:cubicBezTo>
                      <a:pt x="5" y="22"/>
                      <a:pt x="0" y="28"/>
                      <a:pt x="6" y="29"/>
                    </a:cubicBezTo>
                    <a:cubicBezTo>
                      <a:pt x="6" y="29"/>
                      <a:pt x="2" y="31"/>
                      <a:pt x="6" y="34"/>
                    </a:cubicBezTo>
                    <a:cubicBezTo>
                      <a:pt x="6" y="34"/>
                      <a:pt x="4" y="45"/>
                      <a:pt x="13" y="39"/>
                    </a:cubicBezTo>
                    <a:cubicBezTo>
                      <a:pt x="13" y="39"/>
                      <a:pt x="13" y="39"/>
                      <a:pt x="14" y="39"/>
                    </a:cubicBezTo>
                    <a:cubicBezTo>
                      <a:pt x="14" y="39"/>
                      <a:pt x="17" y="46"/>
                      <a:pt x="22" y="38"/>
                    </a:cubicBezTo>
                    <a:cubicBezTo>
                      <a:pt x="22" y="38"/>
                      <a:pt x="22" y="38"/>
                      <a:pt x="22" y="38"/>
                    </a:cubicBezTo>
                    <a:cubicBezTo>
                      <a:pt x="28" y="29"/>
                      <a:pt x="22" y="38"/>
                      <a:pt x="22" y="38"/>
                    </a:cubicBezTo>
                    <a:cubicBezTo>
                      <a:pt x="22" y="38"/>
                      <a:pt x="31" y="42"/>
                      <a:pt x="29" y="30"/>
                    </a:cubicBezTo>
                    <a:cubicBezTo>
                      <a:pt x="29" y="30"/>
                      <a:pt x="36" y="33"/>
                      <a:pt x="34" y="24"/>
                    </a:cubicBezTo>
                    <a:cubicBezTo>
                      <a:pt x="34" y="24"/>
                      <a:pt x="42" y="20"/>
                      <a:pt x="35" y="16"/>
                    </a:cubicBezTo>
                    <a:cubicBezTo>
                      <a:pt x="35" y="16"/>
                      <a:pt x="44" y="11"/>
                      <a:pt x="34" y="6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7" name="Freeform 250"/>
              <p:cNvSpPr>
                <a:spLocks/>
              </p:cNvSpPr>
              <p:nvPr/>
            </p:nvSpPr>
            <p:spPr bwMode="auto">
              <a:xfrm>
                <a:off x="6557963" y="1624013"/>
                <a:ext cx="92075" cy="127000"/>
              </a:xfrm>
              <a:custGeom>
                <a:avLst/>
                <a:gdLst>
                  <a:gd name="T0" fmla="*/ 33 w 40"/>
                  <a:gd name="T1" fmla="*/ 9 h 55"/>
                  <a:gd name="T2" fmla="*/ 28 w 40"/>
                  <a:gd name="T3" fmla="*/ 0 h 55"/>
                  <a:gd name="T4" fmla="*/ 22 w 40"/>
                  <a:gd name="T5" fmla="*/ 6 h 55"/>
                  <a:gd name="T6" fmla="*/ 14 w 40"/>
                  <a:gd name="T7" fmla="*/ 15 h 55"/>
                  <a:gd name="T8" fmla="*/ 8 w 40"/>
                  <a:gd name="T9" fmla="*/ 17 h 55"/>
                  <a:gd name="T10" fmla="*/ 8 w 40"/>
                  <a:gd name="T11" fmla="*/ 23 h 55"/>
                  <a:gd name="T12" fmla="*/ 4 w 40"/>
                  <a:gd name="T13" fmla="*/ 28 h 55"/>
                  <a:gd name="T14" fmla="*/ 6 w 40"/>
                  <a:gd name="T15" fmla="*/ 35 h 55"/>
                  <a:gd name="T16" fmla="*/ 2 w 40"/>
                  <a:gd name="T17" fmla="*/ 42 h 55"/>
                  <a:gd name="T18" fmla="*/ 17 w 40"/>
                  <a:gd name="T19" fmla="*/ 37 h 55"/>
                  <a:gd name="T20" fmla="*/ 23 w 40"/>
                  <a:gd name="T21" fmla="*/ 31 h 55"/>
                  <a:gd name="T22" fmla="*/ 23 w 40"/>
                  <a:gd name="T23" fmla="*/ 30 h 55"/>
                  <a:gd name="T24" fmla="*/ 30 w 40"/>
                  <a:gd name="T25" fmla="*/ 31 h 55"/>
                  <a:gd name="T26" fmla="*/ 39 w 40"/>
                  <a:gd name="T27" fmla="*/ 19 h 55"/>
                  <a:gd name="T28" fmla="*/ 33 w 40"/>
                  <a:gd name="T29" fmla="*/ 9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0" h="55">
                    <a:moveTo>
                      <a:pt x="33" y="9"/>
                    </a:moveTo>
                    <a:cubicBezTo>
                      <a:pt x="33" y="9"/>
                      <a:pt x="35" y="1"/>
                      <a:pt x="28" y="0"/>
                    </a:cubicBezTo>
                    <a:cubicBezTo>
                      <a:pt x="28" y="0"/>
                      <a:pt x="22" y="1"/>
                      <a:pt x="22" y="6"/>
                    </a:cubicBezTo>
                    <a:cubicBezTo>
                      <a:pt x="22" y="6"/>
                      <a:pt x="12" y="5"/>
                      <a:pt x="14" y="15"/>
                    </a:cubicBezTo>
                    <a:cubicBezTo>
                      <a:pt x="14" y="15"/>
                      <a:pt x="10" y="14"/>
                      <a:pt x="8" y="17"/>
                    </a:cubicBezTo>
                    <a:cubicBezTo>
                      <a:pt x="8" y="17"/>
                      <a:pt x="7" y="21"/>
                      <a:pt x="8" y="23"/>
                    </a:cubicBezTo>
                    <a:cubicBezTo>
                      <a:pt x="8" y="23"/>
                      <a:pt x="4" y="24"/>
                      <a:pt x="4" y="28"/>
                    </a:cubicBezTo>
                    <a:cubicBezTo>
                      <a:pt x="4" y="28"/>
                      <a:pt x="4" y="34"/>
                      <a:pt x="6" y="35"/>
                    </a:cubicBezTo>
                    <a:cubicBezTo>
                      <a:pt x="6" y="35"/>
                      <a:pt x="0" y="38"/>
                      <a:pt x="2" y="42"/>
                    </a:cubicBezTo>
                    <a:cubicBezTo>
                      <a:pt x="2" y="42"/>
                      <a:pt x="7" y="55"/>
                      <a:pt x="17" y="37"/>
                    </a:cubicBezTo>
                    <a:cubicBezTo>
                      <a:pt x="17" y="37"/>
                      <a:pt x="26" y="39"/>
                      <a:pt x="23" y="31"/>
                    </a:cubicBezTo>
                    <a:cubicBezTo>
                      <a:pt x="23" y="31"/>
                      <a:pt x="23" y="31"/>
                      <a:pt x="23" y="30"/>
                    </a:cubicBezTo>
                    <a:cubicBezTo>
                      <a:pt x="23" y="30"/>
                      <a:pt x="27" y="36"/>
                      <a:pt x="30" y="31"/>
                    </a:cubicBezTo>
                    <a:cubicBezTo>
                      <a:pt x="30" y="31"/>
                      <a:pt x="39" y="44"/>
                      <a:pt x="39" y="19"/>
                    </a:cubicBezTo>
                    <a:cubicBezTo>
                      <a:pt x="39" y="19"/>
                      <a:pt x="40" y="10"/>
                      <a:pt x="33" y="9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8" name="Freeform 251"/>
              <p:cNvSpPr>
                <a:spLocks/>
              </p:cNvSpPr>
              <p:nvPr/>
            </p:nvSpPr>
            <p:spPr bwMode="auto">
              <a:xfrm>
                <a:off x="6542088" y="1639888"/>
                <a:ext cx="141288" cy="122238"/>
              </a:xfrm>
              <a:custGeom>
                <a:avLst/>
                <a:gdLst>
                  <a:gd name="T0" fmla="*/ 50 w 62"/>
                  <a:gd name="T1" fmla="*/ 19 h 53"/>
                  <a:gd name="T2" fmla="*/ 43 w 62"/>
                  <a:gd name="T3" fmla="*/ 13 h 53"/>
                  <a:gd name="T4" fmla="*/ 32 w 62"/>
                  <a:gd name="T5" fmla="*/ 12 h 53"/>
                  <a:gd name="T6" fmla="*/ 28 w 62"/>
                  <a:gd name="T7" fmla="*/ 19 h 53"/>
                  <a:gd name="T8" fmla="*/ 19 w 62"/>
                  <a:gd name="T9" fmla="*/ 30 h 53"/>
                  <a:gd name="T10" fmla="*/ 14 w 62"/>
                  <a:gd name="T11" fmla="*/ 36 h 53"/>
                  <a:gd name="T12" fmla="*/ 5 w 62"/>
                  <a:gd name="T13" fmla="*/ 39 h 53"/>
                  <a:gd name="T14" fmla="*/ 3 w 62"/>
                  <a:gd name="T15" fmla="*/ 46 h 53"/>
                  <a:gd name="T16" fmla="*/ 14 w 62"/>
                  <a:gd name="T17" fmla="*/ 44 h 53"/>
                  <a:gd name="T18" fmla="*/ 24 w 62"/>
                  <a:gd name="T19" fmla="*/ 35 h 53"/>
                  <a:gd name="T20" fmla="*/ 24 w 62"/>
                  <a:gd name="T21" fmla="*/ 35 h 53"/>
                  <a:gd name="T22" fmla="*/ 24 w 62"/>
                  <a:gd name="T23" fmla="*/ 36 h 53"/>
                  <a:gd name="T24" fmla="*/ 31 w 62"/>
                  <a:gd name="T25" fmla="*/ 32 h 53"/>
                  <a:gd name="T26" fmla="*/ 41 w 62"/>
                  <a:gd name="T27" fmla="*/ 32 h 53"/>
                  <a:gd name="T28" fmla="*/ 50 w 62"/>
                  <a:gd name="T29" fmla="*/ 38 h 53"/>
                  <a:gd name="T30" fmla="*/ 54 w 62"/>
                  <a:gd name="T31" fmla="*/ 30 h 53"/>
                  <a:gd name="T32" fmla="*/ 50 w 62"/>
                  <a:gd name="T33" fmla="*/ 19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2" h="53">
                    <a:moveTo>
                      <a:pt x="50" y="19"/>
                    </a:moveTo>
                    <a:cubicBezTo>
                      <a:pt x="52" y="9"/>
                      <a:pt x="43" y="13"/>
                      <a:pt x="43" y="13"/>
                    </a:cubicBezTo>
                    <a:cubicBezTo>
                      <a:pt x="37" y="0"/>
                      <a:pt x="32" y="12"/>
                      <a:pt x="32" y="12"/>
                    </a:cubicBezTo>
                    <a:cubicBezTo>
                      <a:pt x="23" y="11"/>
                      <a:pt x="28" y="19"/>
                      <a:pt x="28" y="19"/>
                    </a:cubicBezTo>
                    <a:cubicBezTo>
                      <a:pt x="14" y="16"/>
                      <a:pt x="19" y="30"/>
                      <a:pt x="19" y="30"/>
                    </a:cubicBezTo>
                    <a:cubicBezTo>
                      <a:pt x="12" y="30"/>
                      <a:pt x="14" y="36"/>
                      <a:pt x="14" y="36"/>
                    </a:cubicBezTo>
                    <a:cubicBezTo>
                      <a:pt x="6" y="28"/>
                      <a:pt x="5" y="39"/>
                      <a:pt x="5" y="39"/>
                    </a:cubicBezTo>
                    <a:cubicBezTo>
                      <a:pt x="0" y="39"/>
                      <a:pt x="3" y="46"/>
                      <a:pt x="3" y="46"/>
                    </a:cubicBezTo>
                    <a:cubicBezTo>
                      <a:pt x="10" y="53"/>
                      <a:pt x="14" y="44"/>
                      <a:pt x="14" y="44"/>
                    </a:cubicBezTo>
                    <a:cubicBezTo>
                      <a:pt x="25" y="51"/>
                      <a:pt x="24" y="35"/>
                      <a:pt x="24" y="35"/>
                    </a:cubicBezTo>
                    <a:cubicBezTo>
                      <a:pt x="24" y="35"/>
                      <a:pt x="16" y="31"/>
                      <a:pt x="24" y="35"/>
                    </a:cubicBezTo>
                    <a:cubicBezTo>
                      <a:pt x="24" y="35"/>
                      <a:pt x="24" y="35"/>
                      <a:pt x="24" y="36"/>
                    </a:cubicBezTo>
                    <a:cubicBezTo>
                      <a:pt x="31" y="40"/>
                      <a:pt x="31" y="32"/>
                      <a:pt x="31" y="32"/>
                    </a:cubicBezTo>
                    <a:cubicBezTo>
                      <a:pt x="35" y="43"/>
                      <a:pt x="41" y="32"/>
                      <a:pt x="41" y="32"/>
                    </a:cubicBezTo>
                    <a:cubicBezTo>
                      <a:pt x="41" y="47"/>
                      <a:pt x="50" y="38"/>
                      <a:pt x="50" y="38"/>
                    </a:cubicBezTo>
                    <a:cubicBezTo>
                      <a:pt x="62" y="41"/>
                      <a:pt x="54" y="30"/>
                      <a:pt x="54" y="30"/>
                    </a:cubicBezTo>
                    <a:cubicBezTo>
                      <a:pt x="60" y="21"/>
                      <a:pt x="50" y="19"/>
                      <a:pt x="50" y="19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9" name="Freeform 252"/>
              <p:cNvSpPr>
                <a:spLocks/>
              </p:cNvSpPr>
              <p:nvPr/>
            </p:nvSpPr>
            <p:spPr bwMode="auto">
              <a:xfrm>
                <a:off x="5992813" y="1368425"/>
                <a:ext cx="98425" cy="150813"/>
              </a:xfrm>
              <a:custGeom>
                <a:avLst/>
                <a:gdLst>
                  <a:gd name="T0" fmla="*/ 35 w 43"/>
                  <a:gd name="T1" fmla="*/ 26 h 66"/>
                  <a:gd name="T2" fmla="*/ 35 w 43"/>
                  <a:gd name="T3" fmla="*/ 6 h 66"/>
                  <a:gd name="T4" fmla="*/ 23 w 43"/>
                  <a:gd name="T5" fmla="*/ 12 h 66"/>
                  <a:gd name="T6" fmla="*/ 17 w 43"/>
                  <a:gd name="T7" fmla="*/ 20 h 66"/>
                  <a:gd name="T8" fmla="*/ 9 w 43"/>
                  <a:gd name="T9" fmla="*/ 31 h 66"/>
                  <a:gd name="T10" fmla="*/ 9 w 43"/>
                  <a:gd name="T11" fmla="*/ 43 h 66"/>
                  <a:gd name="T12" fmla="*/ 12 w 43"/>
                  <a:gd name="T13" fmla="*/ 57 h 66"/>
                  <a:gd name="T14" fmla="*/ 17 w 43"/>
                  <a:gd name="T15" fmla="*/ 66 h 66"/>
                  <a:gd name="T16" fmla="*/ 24 w 43"/>
                  <a:gd name="T17" fmla="*/ 55 h 66"/>
                  <a:gd name="T18" fmla="*/ 29 w 43"/>
                  <a:gd name="T19" fmla="*/ 43 h 66"/>
                  <a:gd name="T20" fmla="*/ 35 w 43"/>
                  <a:gd name="T21" fmla="*/ 26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3" h="66">
                    <a:moveTo>
                      <a:pt x="35" y="26"/>
                    </a:moveTo>
                    <a:cubicBezTo>
                      <a:pt x="35" y="26"/>
                      <a:pt x="40" y="10"/>
                      <a:pt x="35" y="6"/>
                    </a:cubicBezTo>
                    <a:cubicBezTo>
                      <a:pt x="35" y="6"/>
                      <a:pt x="25" y="0"/>
                      <a:pt x="23" y="12"/>
                    </a:cubicBezTo>
                    <a:cubicBezTo>
                      <a:pt x="23" y="12"/>
                      <a:pt x="16" y="12"/>
                      <a:pt x="17" y="20"/>
                    </a:cubicBezTo>
                    <a:cubicBezTo>
                      <a:pt x="17" y="20"/>
                      <a:pt x="4" y="17"/>
                      <a:pt x="9" y="31"/>
                    </a:cubicBezTo>
                    <a:cubicBezTo>
                      <a:pt x="9" y="31"/>
                      <a:pt x="0" y="37"/>
                      <a:pt x="9" y="43"/>
                    </a:cubicBezTo>
                    <a:cubicBezTo>
                      <a:pt x="9" y="43"/>
                      <a:pt x="1" y="53"/>
                      <a:pt x="12" y="57"/>
                    </a:cubicBezTo>
                    <a:cubicBezTo>
                      <a:pt x="12" y="57"/>
                      <a:pt x="10" y="65"/>
                      <a:pt x="17" y="66"/>
                    </a:cubicBezTo>
                    <a:cubicBezTo>
                      <a:pt x="17" y="66"/>
                      <a:pt x="26" y="65"/>
                      <a:pt x="24" y="55"/>
                    </a:cubicBezTo>
                    <a:cubicBezTo>
                      <a:pt x="24" y="55"/>
                      <a:pt x="35" y="51"/>
                      <a:pt x="29" y="43"/>
                    </a:cubicBezTo>
                    <a:cubicBezTo>
                      <a:pt x="29" y="43"/>
                      <a:pt x="43" y="33"/>
                      <a:pt x="35" y="26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0" name="Freeform 253"/>
              <p:cNvSpPr>
                <a:spLocks/>
              </p:cNvSpPr>
              <p:nvPr/>
            </p:nvSpPr>
            <p:spPr bwMode="auto">
              <a:xfrm>
                <a:off x="6086475" y="1541463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1" name="Freeform 254"/>
              <p:cNvSpPr>
                <a:spLocks/>
              </p:cNvSpPr>
              <p:nvPr/>
            </p:nvSpPr>
            <p:spPr bwMode="auto">
              <a:xfrm>
                <a:off x="6094413" y="1549400"/>
                <a:ext cx="0" cy="1588"/>
              </a:xfrm>
              <a:custGeom>
                <a:avLst/>
                <a:gdLst>
                  <a:gd name="T0" fmla="*/ 0 h 1"/>
                  <a:gd name="T1" fmla="*/ 1 h 1"/>
                  <a:gd name="T2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0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2" name="Freeform 255"/>
              <p:cNvSpPr>
                <a:spLocks/>
              </p:cNvSpPr>
              <p:nvPr/>
            </p:nvSpPr>
            <p:spPr bwMode="auto">
              <a:xfrm>
                <a:off x="6069013" y="1508125"/>
                <a:ext cx="47625" cy="123825"/>
              </a:xfrm>
              <a:custGeom>
                <a:avLst/>
                <a:gdLst>
                  <a:gd name="T0" fmla="*/ 11 w 21"/>
                  <a:gd name="T1" fmla="*/ 18 h 54"/>
                  <a:gd name="T2" fmla="*/ 11 w 21"/>
                  <a:gd name="T3" fmla="*/ 19 h 54"/>
                  <a:gd name="T4" fmla="*/ 11 w 21"/>
                  <a:gd name="T5" fmla="*/ 18 h 54"/>
                  <a:gd name="T6" fmla="*/ 13 w 21"/>
                  <a:gd name="T7" fmla="*/ 2 h 54"/>
                  <a:gd name="T8" fmla="*/ 9 w 21"/>
                  <a:gd name="T9" fmla="*/ 0 h 54"/>
                  <a:gd name="T10" fmla="*/ 8 w 21"/>
                  <a:gd name="T11" fmla="*/ 15 h 54"/>
                  <a:gd name="T12" fmla="*/ 8 w 21"/>
                  <a:gd name="T13" fmla="*/ 15 h 54"/>
                  <a:gd name="T14" fmla="*/ 8 w 21"/>
                  <a:gd name="T15" fmla="*/ 15 h 54"/>
                  <a:gd name="T16" fmla="*/ 2 w 21"/>
                  <a:gd name="T17" fmla="*/ 5 h 54"/>
                  <a:gd name="T18" fmla="*/ 0 w 21"/>
                  <a:gd name="T19" fmla="*/ 9 h 54"/>
                  <a:gd name="T20" fmla="*/ 4 w 21"/>
                  <a:gd name="T21" fmla="*/ 32 h 54"/>
                  <a:gd name="T22" fmla="*/ 2 w 21"/>
                  <a:gd name="T23" fmla="*/ 54 h 54"/>
                  <a:gd name="T24" fmla="*/ 3 w 21"/>
                  <a:gd name="T25" fmla="*/ 54 h 54"/>
                  <a:gd name="T26" fmla="*/ 14 w 21"/>
                  <a:gd name="T27" fmla="*/ 54 h 54"/>
                  <a:gd name="T28" fmla="*/ 13 w 21"/>
                  <a:gd name="T29" fmla="*/ 25 h 54"/>
                  <a:gd name="T30" fmla="*/ 21 w 21"/>
                  <a:gd name="T31" fmla="*/ 7 h 54"/>
                  <a:gd name="T32" fmla="*/ 20 w 21"/>
                  <a:gd name="T33" fmla="*/ 2 h 54"/>
                  <a:gd name="T34" fmla="*/ 11 w 21"/>
                  <a:gd name="T35" fmla="*/ 18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1" h="54">
                    <a:moveTo>
                      <a:pt x="11" y="18"/>
                    </a:moveTo>
                    <a:cubicBezTo>
                      <a:pt x="11" y="19"/>
                      <a:pt x="11" y="19"/>
                      <a:pt x="11" y="19"/>
                    </a:cubicBezTo>
                    <a:cubicBezTo>
                      <a:pt x="11" y="19"/>
                      <a:pt x="11" y="18"/>
                      <a:pt x="11" y="18"/>
                    </a:cubicBezTo>
                    <a:cubicBezTo>
                      <a:pt x="11" y="15"/>
                      <a:pt x="11" y="4"/>
                      <a:pt x="13" y="2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9" y="0"/>
                      <a:pt x="8" y="13"/>
                      <a:pt x="8" y="15"/>
                    </a:cubicBezTo>
                    <a:cubicBezTo>
                      <a:pt x="8" y="15"/>
                      <a:pt x="8" y="15"/>
                      <a:pt x="8" y="15"/>
                    </a:cubicBezTo>
                    <a:cubicBezTo>
                      <a:pt x="8" y="15"/>
                      <a:pt x="8" y="15"/>
                      <a:pt x="8" y="15"/>
                    </a:cubicBezTo>
                    <a:cubicBezTo>
                      <a:pt x="7" y="13"/>
                      <a:pt x="6" y="8"/>
                      <a:pt x="2" y="5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9"/>
                      <a:pt x="5" y="15"/>
                      <a:pt x="4" y="32"/>
                    </a:cubicBezTo>
                    <a:cubicBezTo>
                      <a:pt x="4" y="32"/>
                      <a:pt x="3" y="51"/>
                      <a:pt x="2" y="54"/>
                    </a:cubicBezTo>
                    <a:cubicBezTo>
                      <a:pt x="3" y="54"/>
                      <a:pt x="3" y="54"/>
                      <a:pt x="3" y="54"/>
                    </a:cubicBezTo>
                    <a:cubicBezTo>
                      <a:pt x="14" y="54"/>
                      <a:pt x="14" y="54"/>
                      <a:pt x="14" y="54"/>
                    </a:cubicBezTo>
                    <a:cubicBezTo>
                      <a:pt x="14" y="54"/>
                      <a:pt x="11" y="34"/>
                      <a:pt x="13" y="25"/>
                    </a:cubicBezTo>
                    <a:cubicBezTo>
                      <a:pt x="15" y="16"/>
                      <a:pt x="18" y="8"/>
                      <a:pt x="21" y="7"/>
                    </a:cubicBezTo>
                    <a:cubicBezTo>
                      <a:pt x="20" y="2"/>
                      <a:pt x="20" y="2"/>
                      <a:pt x="20" y="2"/>
                    </a:cubicBezTo>
                    <a:cubicBezTo>
                      <a:pt x="20" y="2"/>
                      <a:pt x="11" y="11"/>
                      <a:pt x="11" y="18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3" name="Freeform 256"/>
              <p:cNvSpPr>
                <a:spLocks/>
              </p:cNvSpPr>
              <p:nvPr/>
            </p:nvSpPr>
            <p:spPr bwMode="auto">
              <a:xfrm>
                <a:off x="6018213" y="1430338"/>
                <a:ext cx="50800" cy="73025"/>
              </a:xfrm>
              <a:custGeom>
                <a:avLst/>
                <a:gdLst>
                  <a:gd name="T0" fmla="*/ 15 w 22"/>
                  <a:gd name="T1" fmla="*/ 2 h 32"/>
                  <a:gd name="T2" fmla="*/ 8 w 22"/>
                  <a:gd name="T3" fmla="*/ 11 h 32"/>
                  <a:gd name="T4" fmla="*/ 7 w 22"/>
                  <a:gd name="T5" fmla="*/ 20 h 32"/>
                  <a:gd name="T6" fmla="*/ 13 w 22"/>
                  <a:gd name="T7" fmla="*/ 29 h 32"/>
                  <a:gd name="T8" fmla="*/ 15 w 22"/>
                  <a:gd name="T9" fmla="*/ 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" h="32">
                    <a:moveTo>
                      <a:pt x="15" y="2"/>
                    </a:moveTo>
                    <a:cubicBezTo>
                      <a:pt x="15" y="2"/>
                      <a:pt x="3" y="0"/>
                      <a:pt x="8" y="11"/>
                    </a:cubicBezTo>
                    <a:cubicBezTo>
                      <a:pt x="8" y="11"/>
                      <a:pt x="0" y="14"/>
                      <a:pt x="7" y="20"/>
                    </a:cubicBezTo>
                    <a:cubicBezTo>
                      <a:pt x="7" y="20"/>
                      <a:pt x="3" y="32"/>
                      <a:pt x="13" y="29"/>
                    </a:cubicBezTo>
                    <a:cubicBezTo>
                      <a:pt x="13" y="29"/>
                      <a:pt x="22" y="4"/>
                      <a:pt x="15" y="2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4" name="Freeform 257"/>
              <p:cNvSpPr>
                <a:spLocks/>
              </p:cNvSpPr>
              <p:nvPr/>
            </p:nvSpPr>
            <p:spPr bwMode="auto">
              <a:xfrm>
                <a:off x="6070600" y="1406525"/>
                <a:ext cx="3175" cy="0"/>
              </a:xfrm>
              <a:custGeom>
                <a:avLst/>
                <a:gdLst>
                  <a:gd name="T0" fmla="*/ 0 w 1"/>
                  <a:gd name="T1" fmla="*/ 1 w 1"/>
                  <a:gd name="T2" fmla="*/ 0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0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5" name="Freeform 258"/>
              <p:cNvSpPr>
                <a:spLocks/>
              </p:cNvSpPr>
              <p:nvPr/>
            </p:nvSpPr>
            <p:spPr bwMode="auto">
              <a:xfrm>
                <a:off x="6048375" y="1358900"/>
                <a:ext cx="82550" cy="100013"/>
              </a:xfrm>
              <a:custGeom>
                <a:avLst/>
                <a:gdLst>
                  <a:gd name="T0" fmla="*/ 32 w 36"/>
                  <a:gd name="T1" fmla="*/ 8 h 44"/>
                  <a:gd name="T2" fmla="*/ 27 w 36"/>
                  <a:gd name="T3" fmla="*/ 1 h 44"/>
                  <a:gd name="T4" fmla="*/ 19 w 36"/>
                  <a:gd name="T5" fmla="*/ 8 h 44"/>
                  <a:gd name="T6" fmla="*/ 8 w 36"/>
                  <a:gd name="T7" fmla="*/ 14 h 44"/>
                  <a:gd name="T8" fmla="*/ 10 w 36"/>
                  <a:gd name="T9" fmla="*/ 21 h 44"/>
                  <a:gd name="T10" fmla="*/ 11 w 36"/>
                  <a:gd name="T11" fmla="*/ 21 h 44"/>
                  <a:gd name="T12" fmla="*/ 10 w 36"/>
                  <a:gd name="T13" fmla="*/ 21 h 44"/>
                  <a:gd name="T14" fmla="*/ 4 w 36"/>
                  <a:gd name="T15" fmla="*/ 24 h 44"/>
                  <a:gd name="T16" fmla="*/ 5 w 36"/>
                  <a:gd name="T17" fmla="*/ 31 h 44"/>
                  <a:gd name="T18" fmla="*/ 2 w 36"/>
                  <a:gd name="T19" fmla="*/ 38 h 44"/>
                  <a:gd name="T20" fmla="*/ 10 w 36"/>
                  <a:gd name="T21" fmla="*/ 43 h 44"/>
                  <a:gd name="T22" fmla="*/ 19 w 36"/>
                  <a:gd name="T23" fmla="*/ 33 h 44"/>
                  <a:gd name="T24" fmla="*/ 24 w 36"/>
                  <a:gd name="T25" fmla="*/ 24 h 44"/>
                  <a:gd name="T26" fmla="*/ 29 w 36"/>
                  <a:gd name="T27" fmla="*/ 16 h 44"/>
                  <a:gd name="T28" fmla="*/ 32 w 36"/>
                  <a:gd name="T29" fmla="*/ 8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6" h="44">
                    <a:moveTo>
                      <a:pt x="32" y="8"/>
                    </a:moveTo>
                    <a:cubicBezTo>
                      <a:pt x="32" y="8"/>
                      <a:pt x="32" y="2"/>
                      <a:pt x="27" y="1"/>
                    </a:cubicBezTo>
                    <a:cubicBezTo>
                      <a:pt x="27" y="1"/>
                      <a:pt x="19" y="0"/>
                      <a:pt x="19" y="8"/>
                    </a:cubicBezTo>
                    <a:cubicBezTo>
                      <a:pt x="19" y="8"/>
                      <a:pt x="10" y="4"/>
                      <a:pt x="8" y="14"/>
                    </a:cubicBezTo>
                    <a:cubicBezTo>
                      <a:pt x="8" y="14"/>
                      <a:pt x="8" y="20"/>
                      <a:pt x="10" y="21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1"/>
                      <a:pt x="11" y="21"/>
                      <a:pt x="10" y="21"/>
                    </a:cubicBezTo>
                    <a:cubicBezTo>
                      <a:pt x="9" y="21"/>
                      <a:pt x="5" y="20"/>
                      <a:pt x="4" y="24"/>
                    </a:cubicBezTo>
                    <a:cubicBezTo>
                      <a:pt x="4" y="24"/>
                      <a:pt x="3" y="26"/>
                      <a:pt x="5" y="31"/>
                    </a:cubicBezTo>
                    <a:cubicBezTo>
                      <a:pt x="5" y="31"/>
                      <a:pt x="0" y="34"/>
                      <a:pt x="2" y="38"/>
                    </a:cubicBezTo>
                    <a:cubicBezTo>
                      <a:pt x="2" y="38"/>
                      <a:pt x="2" y="44"/>
                      <a:pt x="10" y="43"/>
                    </a:cubicBezTo>
                    <a:cubicBezTo>
                      <a:pt x="10" y="43"/>
                      <a:pt x="21" y="44"/>
                      <a:pt x="19" y="33"/>
                    </a:cubicBezTo>
                    <a:cubicBezTo>
                      <a:pt x="19" y="33"/>
                      <a:pt x="32" y="30"/>
                      <a:pt x="24" y="24"/>
                    </a:cubicBezTo>
                    <a:cubicBezTo>
                      <a:pt x="24" y="24"/>
                      <a:pt x="36" y="27"/>
                      <a:pt x="29" y="16"/>
                    </a:cubicBezTo>
                    <a:cubicBezTo>
                      <a:pt x="29" y="16"/>
                      <a:pt x="33" y="11"/>
                      <a:pt x="32" y="8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6" name="Freeform 259"/>
              <p:cNvSpPr>
                <a:spLocks/>
              </p:cNvSpPr>
              <p:nvPr/>
            </p:nvSpPr>
            <p:spPr bwMode="auto">
              <a:xfrm>
                <a:off x="6078538" y="1370013"/>
                <a:ext cx="100013" cy="98425"/>
              </a:xfrm>
              <a:custGeom>
                <a:avLst/>
                <a:gdLst>
                  <a:gd name="T0" fmla="*/ 28 w 44"/>
                  <a:gd name="T1" fmla="*/ 8 h 43"/>
                  <a:gd name="T2" fmla="*/ 22 w 44"/>
                  <a:gd name="T3" fmla="*/ 1 h 43"/>
                  <a:gd name="T4" fmla="*/ 16 w 44"/>
                  <a:gd name="T5" fmla="*/ 8 h 43"/>
                  <a:gd name="T6" fmla="*/ 10 w 44"/>
                  <a:gd name="T7" fmla="*/ 14 h 43"/>
                  <a:gd name="T8" fmla="*/ 10 w 44"/>
                  <a:gd name="T9" fmla="*/ 22 h 43"/>
                  <a:gd name="T10" fmla="*/ 14 w 44"/>
                  <a:gd name="T11" fmla="*/ 33 h 43"/>
                  <a:gd name="T12" fmla="*/ 23 w 44"/>
                  <a:gd name="T13" fmla="*/ 35 h 43"/>
                  <a:gd name="T14" fmla="*/ 31 w 44"/>
                  <a:gd name="T15" fmla="*/ 29 h 43"/>
                  <a:gd name="T16" fmla="*/ 35 w 44"/>
                  <a:gd name="T17" fmla="*/ 15 h 43"/>
                  <a:gd name="T18" fmla="*/ 28 w 44"/>
                  <a:gd name="T19" fmla="*/ 8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4" h="43">
                    <a:moveTo>
                      <a:pt x="28" y="8"/>
                    </a:moveTo>
                    <a:cubicBezTo>
                      <a:pt x="28" y="8"/>
                      <a:pt x="27" y="1"/>
                      <a:pt x="22" y="1"/>
                    </a:cubicBezTo>
                    <a:cubicBezTo>
                      <a:pt x="22" y="1"/>
                      <a:pt x="17" y="0"/>
                      <a:pt x="16" y="8"/>
                    </a:cubicBezTo>
                    <a:cubicBezTo>
                      <a:pt x="16" y="8"/>
                      <a:pt x="9" y="6"/>
                      <a:pt x="10" y="14"/>
                    </a:cubicBezTo>
                    <a:cubicBezTo>
                      <a:pt x="10" y="14"/>
                      <a:pt x="0" y="17"/>
                      <a:pt x="10" y="22"/>
                    </a:cubicBezTo>
                    <a:cubicBezTo>
                      <a:pt x="10" y="22"/>
                      <a:pt x="8" y="34"/>
                      <a:pt x="14" y="33"/>
                    </a:cubicBezTo>
                    <a:cubicBezTo>
                      <a:pt x="14" y="33"/>
                      <a:pt x="17" y="43"/>
                      <a:pt x="23" y="35"/>
                    </a:cubicBezTo>
                    <a:cubicBezTo>
                      <a:pt x="23" y="35"/>
                      <a:pt x="34" y="39"/>
                      <a:pt x="31" y="29"/>
                    </a:cubicBezTo>
                    <a:cubicBezTo>
                      <a:pt x="31" y="29"/>
                      <a:pt x="44" y="23"/>
                      <a:pt x="35" y="15"/>
                    </a:cubicBezTo>
                    <a:cubicBezTo>
                      <a:pt x="35" y="15"/>
                      <a:pt x="37" y="7"/>
                      <a:pt x="28" y="8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7" name="Freeform 260"/>
              <p:cNvSpPr>
                <a:spLocks/>
              </p:cNvSpPr>
              <p:nvPr/>
            </p:nvSpPr>
            <p:spPr bwMode="auto">
              <a:xfrm>
                <a:off x="6111875" y="1404938"/>
                <a:ext cx="93663" cy="92075"/>
              </a:xfrm>
              <a:custGeom>
                <a:avLst/>
                <a:gdLst>
                  <a:gd name="T0" fmla="*/ 32 w 41"/>
                  <a:gd name="T1" fmla="*/ 16 h 40"/>
                  <a:gd name="T2" fmla="*/ 28 w 41"/>
                  <a:gd name="T3" fmla="*/ 8 h 40"/>
                  <a:gd name="T4" fmla="*/ 23 w 41"/>
                  <a:gd name="T5" fmla="*/ 0 h 40"/>
                  <a:gd name="T6" fmla="*/ 17 w 41"/>
                  <a:gd name="T7" fmla="*/ 9 h 40"/>
                  <a:gd name="T8" fmla="*/ 9 w 41"/>
                  <a:gd name="T9" fmla="*/ 10 h 40"/>
                  <a:gd name="T10" fmla="*/ 10 w 41"/>
                  <a:gd name="T11" fmla="*/ 17 h 40"/>
                  <a:gd name="T12" fmla="*/ 4 w 41"/>
                  <a:gd name="T13" fmla="*/ 27 h 40"/>
                  <a:gd name="T14" fmla="*/ 18 w 41"/>
                  <a:gd name="T15" fmla="*/ 31 h 40"/>
                  <a:gd name="T16" fmla="*/ 25 w 41"/>
                  <a:gd name="T17" fmla="*/ 31 h 40"/>
                  <a:gd name="T18" fmla="*/ 32 w 41"/>
                  <a:gd name="T19" fmla="*/ 28 h 40"/>
                  <a:gd name="T20" fmla="*/ 33 w 41"/>
                  <a:gd name="T21" fmla="*/ 28 h 40"/>
                  <a:gd name="T22" fmla="*/ 32 w 41"/>
                  <a:gd name="T23" fmla="*/ 1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" h="40">
                    <a:moveTo>
                      <a:pt x="32" y="16"/>
                    </a:moveTo>
                    <a:cubicBezTo>
                      <a:pt x="32" y="16"/>
                      <a:pt x="37" y="9"/>
                      <a:pt x="28" y="8"/>
                    </a:cubicBezTo>
                    <a:cubicBezTo>
                      <a:pt x="28" y="8"/>
                      <a:pt x="27" y="0"/>
                      <a:pt x="23" y="0"/>
                    </a:cubicBezTo>
                    <a:cubicBezTo>
                      <a:pt x="23" y="0"/>
                      <a:pt x="14" y="0"/>
                      <a:pt x="17" y="9"/>
                    </a:cubicBezTo>
                    <a:cubicBezTo>
                      <a:pt x="17" y="9"/>
                      <a:pt x="11" y="5"/>
                      <a:pt x="9" y="10"/>
                    </a:cubicBezTo>
                    <a:cubicBezTo>
                      <a:pt x="9" y="10"/>
                      <a:pt x="6" y="16"/>
                      <a:pt x="10" y="17"/>
                    </a:cubicBezTo>
                    <a:cubicBezTo>
                      <a:pt x="10" y="17"/>
                      <a:pt x="0" y="18"/>
                      <a:pt x="4" y="27"/>
                    </a:cubicBezTo>
                    <a:cubicBezTo>
                      <a:pt x="4" y="27"/>
                      <a:pt x="9" y="40"/>
                      <a:pt x="18" y="31"/>
                    </a:cubicBezTo>
                    <a:cubicBezTo>
                      <a:pt x="18" y="31"/>
                      <a:pt x="24" y="37"/>
                      <a:pt x="25" y="31"/>
                    </a:cubicBezTo>
                    <a:cubicBezTo>
                      <a:pt x="25" y="31"/>
                      <a:pt x="33" y="37"/>
                      <a:pt x="32" y="28"/>
                    </a:cubicBezTo>
                    <a:cubicBezTo>
                      <a:pt x="32" y="28"/>
                      <a:pt x="33" y="28"/>
                      <a:pt x="33" y="28"/>
                    </a:cubicBezTo>
                    <a:cubicBezTo>
                      <a:pt x="33" y="28"/>
                      <a:pt x="41" y="20"/>
                      <a:pt x="32" y="16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8" name="Freeform 261"/>
              <p:cNvSpPr>
                <a:spLocks/>
              </p:cNvSpPr>
              <p:nvPr/>
            </p:nvSpPr>
            <p:spPr bwMode="auto">
              <a:xfrm>
                <a:off x="6107113" y="1452563"/>
                <a:ext cx="101600" cy="104775"/>
              </a:xfrm>
              <a:custGeom>
                <a:avLst/>
                <a:gdLst>
                  <a:gd name="T0" fmla="*/ 34 w 44"/>
                  <a:gd name="T1" fmla="*/ 6 h 46"/>
                  <a:gd name="T2" fmla="*/ 27 w 44"/>
                  <a:gd name="T3" fmla="*/ 0 h 46"/>
                  <a:gd name="T4" fmla="*/ 26 w 44"/>
                  <a:gd name="T5" fmla="*/ 0 h 46"/>
                  <a:gd name="T6" fmla="*/ 23 w 44"/>
                  <a:gd name="T7" fmla="*/ 4 h 46"/>
                  <a:gd name="T8" fmla="*/ 15 w 44"/>
                  <a:gd name="T9" fmla="*/ 9 h 46"/>
                  <a:gd name="T10" fmla="*/ 8 w 44"/>
                  <a:gd name="T11" fmla="*/ 15 h 46"/>
                  <a:gd name="T12" fmla="*/ 4 w 44"/>
                  <a:gd name="T13" fmla="*/ 21 h 46"/>
                  <a:gd name="T14" fmla="*/ 5 w 44"/>
                  <a:gd name="T15" fmla="*/ 29 h 46"/>
                  <a:gd name="T16" fmla="*/ 6 w 44"/>
                  <a:gd name="T17" fmla="*/ 34 h 46"/>
                  <a:gd name="T18" fmla="*/ 13 w 44"/>
                  <a:gd name="T19" fmla="*/ 39 h 46"/>
                  <a:gd name="T20" fmla="*/ 13 w 44"/>
                  <a:gd name="T21" fmla="*/ 39 h 46"/>
                  <a:gd name="T22" fmla="*/ 22 w 44"/>
                  <a:gd name="T23" fmla="*/ 38 h 46"/>
                  <a:gd name="T24" fmla="*/ 22 w 44"/>
                  <a:gd name="T25" fmla="*/ 37 h 46"/>
                  <a:gd name="T26" fmla="*/ 22 w 44"/>
                  <a:gd name="T27" fmla="*/ 38 h 46"/>
                  <a:gd name="T28" fmla="*/ 29 w 44"/>
                  <a:gd name="T29" fmla="*/ 30 h 46"/>
                  <a:gd name="T30" fmla="*/ 33 w 44"/>
                  <a:gd name="T31" fmla="*/ 24 h 46"/>
                  <a:gd name="T32" fmla="*/ 34 w 44"/>
                  <a:gd name="T33" fmla="*/ 16 h 46"/>
                  <a:gd name="T34" fmla="*/ 34 w 44"/>
                  <a:gd name="T35" fmla="*/ 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4" h="46">
                    <a:moveTo>
                      <a:pt x="34" y="6"/>
                    </a:moveTo>
                    <a:cubicBezTo>
                      <a:pt x="34" y="6"/>
                      <a:pt x="34" y="0"/>
                      <a:pt x="27" y="0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26" y="0"/>
                      <a:pt x="23" y="2"/>
                      <a:pt x="23" y="4"/>
                    </a:cubicBezTo>
                    <a:cubicBezTo>
                      <a:pt x="23" y="4"/>
                      <a:pt x="17" y="0"/>
                      <a:pt x="15" y="9"/>
                    </a:cubicBezTo>
                    <a:cubicBezTo>
                      <a:pt x="15" y="9"/>
                      <a:pt x="7" y="6"/>
                      <a:pt x="8" y="15"/>
                    </a:cubicBezTo>
                    <a:cubicBezTo>
                      <a:pt x="8" y="15"/>
                      <a:pt x="1" y="17"/>
                      <a:pt x="4" y="21"/>
                    </a:cubicBezTo>
                    <a:cubicBezTo>
                      <a:pt x="4" y="21"/>
                      <a:pt x="0" y="28"/>
                      <a:pt x="5" y="29"/>
                    </a:cubicBezTo>
                    <a:cubicBezTo>
                      <a:pt x="5" y="29"/>
                      <a:pt x="2" y="31"/>
                      <a:pt x="6" y="34"/>
                    </a:cubicBezTo>
                    <a:cubicBezTo>
                      <a:pt x="6" y="34"/>
                      <a:pt x="3" y="44"/>
                      <a:pt x="13" y="39"/>
                    </a:cubicBezTo>
                    <a:cubicBezTo>
                      <a:pt x="13" y="39"/>
                      <a:pt x="13" y="39"/>
                      <a:pt x="13" y="39"/>
                    </a:cubicBezTo>
                    <a:cubicBezTo>
                      <a:pt x="13" y="39"/>
                      <a:pt x="16" y="46"/>
                      <a:pt x="22" y="38"/>
                    </a:cubicBezTo>
                    <a:cubicBezTo>
                      <a:pt x="22" y="38"/>
                      <a:pt x="22" y="38"/>
                      <a:pt x="22" y="37"/>
                    </a:cubicBezTo>
                    <a:cubicBezTo>
                      <a:pt x="28" y="29"/>
                      <a:pt x="22" y="38"/>
                      <a:pt x="22" y="38"/>
                    </a:cubicBezTo>
                    <a:cubicBezTo>
                      <a:pt x="22" y="38"/>
                      <a:pt x="30" y="42"/>
                      <a:pt x="29" y="30"/>
                    </a:cubicBezTo>
                    <a:cubicBezTo>
                      <a:pt x="29" y="30"/>
                      <a:pt x="35" y="33"/>
                      <a:pt x="33" y="24"/>
                    </a:cubicBezTo>
                    <a:cubicBezTo>
                      <a:pt x="33" y="24"/>
                      <a:pt x="42" y="20"/>
                      <a:pt x="34" y="16"/>
                    </a:cubicBezTo>
                    <a:cubicBezTo>
                      <a:pt x="34" y="16"/>
                      <a:pt x="44" y="11"/>
                      <a:pt x="34" y="6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9" name="Freeform 262"/>
              <p:cNvSpPr>
                <a:spLocks/>
              </p:cNvSpPr>
              <p:nvPr/>
            </p:nvSpPr>
            <p:spPr bwMode="auto">
              <a:xfrm>
                <a:off x="6034088" y="1420813"/>
                <a:ext cx="88900" cy="125413"/>
              </a:xfrm>
              <a:custGeom>
                <a:avLst/>
                <a:gdLst>
                  <a:gd name="T0" fmla="*/ 33 w 39"/>
                  <a:gd name="T1" fmla="*/ 9 h 55"/>
                  <a:gd name="T2" fmla="*/ 28 w 39"/>
                  <a:gd name="T3" fmla="*/ 0 h 55"/>
                  <a:gd name="T4" fmla="*/ 21 w 39"/>
                  <a:gd name="T5" fmla="*/ 6 h 55"/>
                  <a:gd name="T6" fmla="*/ 13 w 39"/>
                  <a:gd name="T7" fmla="*/ 14 h 55"/>
                  <a:gd name="T8" fmla="*/ 8 w 39"/>
                  <a:gd name="T9" fmla="*/ 17 h 55"/>
                  <a:gd name="T10" fmla="*/ 8 w 39"/>
                  <a:gd name="T11" fmla="*/ 23 h 55"/>
                  <a:gd name="T12" fmla="*/ 4 w 39"/>
                  <a:gd name="T13" fmla="*/ 28 h 55"/>
                  <a:gd name="T14" fmla="*/ 5 w 39"/>
                  <a:gd name="T15" fmla="*/ 35 h 55"/>
                  <a:gd name="T16" fmla="*/ 2 w 39"/>
                  <a:gd name="T17" fmla="*/ 41 h 55"/>
                  <a:gd name="T18" fmla="*/ 16 w 39"/>
                  <a:gd name="T19" fmla="*/ 37 h 55"/>
                  <a:gd name="T20" fmla="*/ 23 w 39"/>
                  <a:gd name="T21" fmla="*/ 31 h 55"/>
                  <a:gd name="T22" fmla="*/ 22 w 39"/>
                  <a:gd name="T23" fmla="*/ 30 h 55"/>
                  <a:gd name="T24" fmla="*/ 29 w 39"/>
                  <a:gd name="T25" fmla="*/ 31 h 55"/>
                  <a:gd name="T26" fmla="*/ 38 w 39"/>
                  <a:gd name="T27" fmla="*/ 19 h 55"/>
                  <a:gd name="T28" fmla="*/ 33 w 39"/>
                  <a:gd name="T29" fmla="*/ 9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9" h="55">
                    <a:moveTo>
                      <a:pt x="33" y="9"/>
                    </a:moveTo>
                    <a:cubicBezTo>
                      <a:pt x="33" y="9"/>
                      <a:pt x="34" y="1"/>
                      <a:pt x="28" y="0"/>
                    </a:cubicBezTo>
                    <a:cubicBezTo>
                      <a:pt x="28" y="0"/>
                      <a:pt x="21" y="0"/>
                      <a:pt x="21" y="6"/>
                    </a:cubicBezTo>
                    <a:cubicBezTo>
                      <a:pt x="21" y="6"/>
                      <a:pt x="12" y="5"/>
                      <a:pt x="13" y="14"/>
                    </a:cubicBezTo>
                    <a:cubicBezTo>
                      <a:pt x="13" y="14"/>
                      <a:pt x="10" y="14"/>
                      <a:pt x="8" y="17"/>
                    </a:cubicBezTo>
                    <a:cubicBezTo>
                      <a:pt x="8" y="17"/>
                      <a:pt x="6" y="21"/>
                      <a:pt x="8" y="23"/>
                    </a:cubicBezTo>
                    <a:cubicBezTo>
                      <a:pt x="8" y="23"/>
                      <a:pt x="3" y="24"/>
                      <a:pt x="4" y="28"/>
                    </a:cubicBezTo>
                    <a:cubicBezTo>
                      <a:pt x="4" y="28"/>
                      <a:pt x="3" y="34"/>
                      <a:pt x="5" y="35"/>
                    </a:cubicBezTo>
                    <a:cubicBezTo>
                      <a:pt x="5" y="35"/>
                      <a:pt x="0" y="37"/>
                      <a:pt x="2" y="41"/>
                    </a:cubicBezTo>
                    <a:cubicBezTo>
                      <a:pt x="2" y="41"/>
                      <a:pt x="7" y="55"/>
                      <a:pt x="16" y="37"/>
                    </a:cubicBezTo>
                    <a:cubicBezTo>
                      <a:pt x="16" y="37"/>
                      <a:pt x="26" y="39"/>
                      <a:pt x="23" y="31"/>
                    </a:cubicBezTo>
                    <a:cubicBezTo>
                      <a:pt x="23" y="31"/>
                      <a:pt x="22" y="30"/>
                      <a:pt x="22" y="30"/>
                    </a:cubicBezTo>
                    <a:cubicBezTo>
                      <a:pt x="22" y="30"/>
                      <a:pt x="27" y="36"/>
                      <a:pt x="29" y="31"/>
                    </a:cubicBezTo>
                    <a:cubicBezTo>
                      <a:pt x="29" y="31"/>
                      <a:pt x="39" y="44"/>
                      <a:pt x="38" y="19"/>
                    </a:cubicBezTo>
                    <a:cubicBezTo>
                      <a:pt x="38" y="19"/>
                      <a:pt x="39" y="9"/>
                      <a:pt x="33" y="9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0" name="Freeform 263"/>
              <p:cNvSpPr>
                <a:spLocks/>
              </p:cNvSpPr>
              <p:nvPr/>
            </p:nvSpPr>
            <p:spPr bwMode="auto">
              <a:xfrm>
                <a:off x="6016625" y="1436688"/>
                <a:ext cx="142875" cy="120650"/>
              </a:xfrm>
              <a:custGeom>
                <a:avLst/>
                <a:gdLst>
                  <a:gd name="T0" fmla="*/ 51 w 63"/>
                  <a:gd name="T1" fmla="*/ 19 h 53"/>
                  <a:gd name="T2" fmla="*/ 44 w 63"/>
                  <a:gd name="T3" fmla="*/ 13 h 53"/>
                  <a:gd name="T4" fmla="*/ 32 w 63"/>
                  <a:gd name="T5" fmla="*/ 12 h 53"/>
                  <a:gd name="T6" fmla="*/ 28 w 63"/>
                  <a:gd name="T7" fmla="*/ 19 h 53"/>
                  <a:gd name="T8" fmla="*/ 19 w 63"/>
                  <a:gd name="T9" fmla="*/ 30 h 53"/>
                  <a:gd name="T10" fmla="*/ 15 w 63"/>
                  <a:gd name="T11" fmla="*/ 36 h 53"/>
                  <a:gd name="T12" fmla="*/ 6 w 63"/>
                  <a:gd name="T13" fmla="*/ 38 h 53"/>
                  <a:gd name="T14" fmla="*/ 3 w 63"/>
                  <a:gd name="T15" fmla="*/ 46 h 53"/>
                  <a:gd name="T16" fmla="*/ 15 w 63"/>
                  <a:gd name="T17" fmla="*/ 44 h 53"/>
                  <a:gd name="T18" fmla="*/ 24 w 63"/>
                  <a:gd name="T19" fmla="*/ 35 h 53"/>
                  <a:gd name="T20" fmla="*/ 24 w 63"/>
                  <a:gd name="T21" fmla="*/ 35 h 53"/>
                  <a:gd name="T22" fmla="*/ 24 w 63"/>
                  <a:gd name="T23" fmla="*/ 35 h 53"/>
                  <a:gd name="T24" fmla="*/ 31 w 63"/>
                  <a:gd name="T25" fmla="*/ 32 h 53"/>
                  <a:gd name="T26" fmla="*/ 41 w 63"/>
                  <a:gd name="T27" fmla="*/ 32 h 53"/>
                  <a:gd name="T28" fmla="*/ 51 w 63"/>
                  <a:gd name="T29" fmla="*/ 38 h 53"/>
                  <a:gd name="T30" fmla="*/ 55 w 63"/>
                  <a:gd name="T31" fmla="*/ 29 h 53"/>
                  <a:gd name="T32" fmla="*/ 51 w 63"/>
                  <a:gd name="T33" fmla="*/ 19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3" h="53">
                    <a:moveTo>
                      <a:pt x="51" y="19"/>
                    </a:moveTo>
                    <a:cubicBezTo>
                      <a:pt x="52" y="9"/>
                      <a:pt x="44" y="13"/>
                      <a:pt x="44" y="13"/>
                    </a:cubicBezTo>
                    <a:cubicBezTo>
                      <a:pt x="38" y="0"/>
                      <a:pt x="32" y="12"/>
                      <a:pt x="32" y="12"/>
                    </a:cubicBezTo>
                    <a:cubicBezTo>
                      <a:pt x="24" y="11"/>
                      <a:pt x="28" y="19"/>
                      <a:pt x="28" y="19"/>
                    </a:cubicBezTo>
                    <a:cubicBezTo>
                      <a:pt x="14" y="16"/>
                      <a:pt x="19" y="30"/>
                      <a:pt x="19" y="30"/>
                    </a:cubicBezTo>
                    <a:cubicBezTo>
                      <a:pt x="12" y="29"/>
                      <a:pt x="15" y="36"/>
                      <a:pt x="15" y="36"/>
                    </a:cubicBezTo>
                    <a:cubicBezTo>
                      <a:pt x="7" y="28"/>
                      <a:pt x="6" y="38"/>
                      <a:pt x="6" y="38"/>
                    </a:cubicBezTo>
                    <a:cubicBezTo>
                      <a:pt x="0" y="39"/>
                      <a:pt x="3" y="46"/>
                      <a:pt x="3" y="46"/>
                    </a:cubicBezTo>
                    <a:cubicBezTo>
                      <a:pt x="11" y="53"/>
                      <a:pt x="15" y="44"/>
                      <a:pt x="15" y="44"/>
                    </a:cubicBezTo>
                    <a:cubicBezTo>
                      <a:pt x="26" y="51"/>
                      <a:pt x="24" y="35"/>
                      <a:pt x="24" y="35"/>
                    </a:cubicBezTo>
                    <a:cubicBezTo>
                      <a:pt x="24" y="35"/>
                      <a:pt x="17" y="31"/>
                      <a:pt x="24" y="35"/>
                    </a:cubicBezTo>
                    <a:cubicBezTo>
                      <a:pt x="24" y="35"/>
                      <a:pt x="24" y="35"/>
                      <a:pt x="24" y="35"/>
                    </a:cubicBezTo>
                    <a:cubicBezTo>
                      <a:pt x="31" y="39"/>
                      <a:pt x="31" y="32"/>
                      <a:pt x="31" y="32"/>
                    </a:cubicBezTo>
                    <a:cubicBezTo>
                      <a:pt x="36" y="43"/>
                      <a:pt x="41" y="32"/>
                      <a:pt x="41" y="32"/>
                    </a:cubicBezTo>
                    <a:cubicBezTo>
                      <a:pt x="42" y="47"/>
                      <a:pt x="51" y="38"/>
                      <a:pt x="51" y="38"/>
                    </a:cubicBezTo>
                    <a:cubicBezTo>
                      <a:pt x="63" y="41"/>
                      <a:pt x="55" y="29"/>
                      <a:pt x="55" y="29"/>
                    </a:cubicBezTo>
                    <a:cubicBezTo>
                      <a:pt x="61" y="21"/>
                      <a:pt x="51" y="19"/>
                      <a:pt x="51" y="19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1" name="Freeform 264"/>
              <p:cNvSpPr>
                <a:spLocks/>
              </p:cNvSpPr>
              <p:nvPr/>
            </p:nvSpPr>
            <p:spPr bwMode="auto">
              <a:xfrm>
                <a:off x="6691313" y="1679575"/>
                <a:ext cx="60325" cy="153988"/>
              </a:xfrm>
              <a:custGeom>
                <a:avLst/>
                <a:gdLst>
                  <a:gd name="T0" fmla="*/ 21 w 27"/>
                  <a:gd name="T1" fmla="*/ 5 h 67"/>
                  <a:gd name="T2" fmla="*/ 10 w 27"/>
                  <a:gd name="T3" fmla="*/ 0 h 67"/>
                  <a:gd name="T4" fmla="*/ 0 w 27"/>
                  <a:gd name="T5" fmla="*/ 61 h 67"/>
                  <a:gd name="T6" fmla="*/ 27 w 27"/>
                  <a:gd name="T7" fmla="*/ 61 h 67"/>
                  <a:gd name="T8" fmla="*/ 21 w 27"/>
                  <a:gd name="T9" fmla="*/ 5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" h="67">
                    <a:moveTo>
                      <a:pt x="21" y="5"/>
                    </a:moveTo>
                    <a:cubicBezTo>
                      <a:pt x="21" y="5"/>
                      <a:pt x="20" y="0"/>
                      <a:pt x="10" y="0"/>
                    </a:cubicBezTo>
                    <a:cubicBezTo>
                      <a:pt x="10" y="0"/>
                      <a:pt x="12" y="52"/>
                      <a:pt x="0" y="61"/>
                    </a:cubicBezTo>
                    <a:cubicBezTo>
                      <a:pt x="0" y="61"/>
                      <a:pt x="19" y="67"/>
                      <a:pt x="27" y="61"/>
                    </a:cubicBezTo>
                    <a:cubicBezTo>
                      <a:pt x="27" y="61"/>
                      <a:pt x="17" y="35"/>
                      <a:pt x="21" y="5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2" name="Freeform 265"/>
              <p:cNvSpPr>
                <a:spLocks/>
              </p:cNvSpPr>
              <p:nvPr/>
            </p:nvSpPr>
            <p:spPr bwMode="auto">
              <a:xfrm>
                <a:off x="6672263" y="1443038"/>
                <a:ext cx="95250" cy="112713"/>
              </a:xfrm>
              <a:custGeom>
                <a:avLst/>
                <a:gdLst>
                  <a:gd name="T0" fmla="*/ 31 w 42"/>
                  <a:gd name="T1" fmla="*/ 14 h 49"/>
                  <a:gd name="T2" fmla="*/ 23 w 42"/>
                  <a:gd name="T3" fmla="*/ 0 h 49"/>
                  <a:gd name="T4" fmla="*/ 16 w 42"/>
                  <a:gd name="T5" fmla="*/ 10 h 49"/>
                  <a:gd name="T6" fmla="*/ 13 w 42"/>
                  <a:gd name="T7" fmla="*/ 28 h 49"/>
                  <a:gd name="T8" fmla="*/ 41 w 42"/>
                  <a:gd name="T9" fmla="*/ 20 h 49"/>
                  <a:gd name="T10" fmla="*/ 31 w 42"/>
                  <a:gd name="T11" fmla="*/ 14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2" h="49">
                    <a:moveTo>
                      <a:pt x="31" y="14"/>
                    </a:moveTo>
                    <a:cubicBezTo>
                      <a:pt x="32" y="0"/>
                      <a:pt x="23" y="0"/>
                      <a:pt x="23" y="0"/>
                    </a:cubicBezTo>
                    <a:cubicBezTo>
                      <a:pt x="15" y="0"/>
                      <a:pt x="16" y="10"/>
                      <a:pt x="16" y="10"/>
                    </a:cubicBezTo>
                    <a:cubicBezTo>
                      <a:pt x="0" y="20"/>
                      <a:pt x="13" y="28"/>
                      <a:pt x="13" y="28"/>
                    </a:cubicBezTo>
                    <a:cubicBezTo>
                      <a:pt x="42" y="49"/>
                      <a:pt x="41" y="20"/>
                      <a:pt x="41" y="20"/>
                    </a:cubicBezTo>
                    <a:cubicBezTo>
                      <a:pt x="39" y="10"/>
                      <a:pt x="31" y="14"/>
                      <a:pt x="31" y="14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3" name="Freeform 266"/>
              <p:cNvSpPr>
                <a:spLocks/>
              </p:cNvSpPr>
              <p:nvPr/>
            </p:nvSpPr>
            <p:spPr bwMode="auto">
              <a:xfrm>
                <a:off x="6699250" y="1514475"/>
                <a:ext cx="3175" cy="4763"/>
              </a:xfrm>
              <a:custGeom>
                <a:avLst/>
                <a:gdLst>
                  <a:gd name="T0" fmla="*/ 0 w 1"/>
                  <a:gd name="T1" fmla="*/ 0 h 2"/>
                  <a:gd name="T2" fmla="*/ 1 w 1"/>
                  <a:gd name="T3" fmla="*/ 2 h 2"/>
                  <a:gd name="T4" fmla="*/ 0 w 1"/>
                  <a:gd name="T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2">
                    <a:moveTo>
                      <a:pt x="0" y="0"/>
                    </a:moveTo>
                    <a:cubicBezTo>
                      <a:pt x="0" y="0"/>
                      <a:pt x="0" y="1"/>
                      <a:pt x="1" y="2"/>
                    </a:cubicBezTo>
                    <a:cubicBezTo>
                      <a:pt x="1" y="2"/>
                      <a:pt x="0" y="1"/>
                      <a:pt x="0" y="0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4" name="Freeform 267"/>
              <p:cNvSpPr>
                <a:spLocks/>
              </p:cNvSpPr>
              <p:nvPr/>
            </p:nvSpPr>
            <p:spPr bwMode="auto">
              <a:xfrm>
                <a:off x="6650038" y="1489075"/>
                <a:ext cx="155575" cy="212725"/>
              </a:xfrm>
              <a:custGeom>
                <a:avLst/>
                <a:gdLst>
                  <a:gd name="T0" fmla="*/ 55 w 68"/>
                  <a:gd name="T1" fmla="*/ 41 h 93"/>
                  <a:gd name="T2" fmla="*/ 54 w 68"/>
                  <a:gd name="T3" fmla="*/ 34 h 93"/>
                  <a:gd name="T4" fmla="*/ 49 w 68"/>
                  <a:gd name="T5" fmla="*/ 17 h 93"/>
                  <a:gd name="T6" fmla="*/ 46 w 68"/>
                  <a:gd name="T7" fmla="*/ 7 h 93"/>
                  <a:gd name="T8" fmla="*/ 36 w 68"/>
                  <a:gd name="T9" fmla="*/ 12 h 93"/>
                  <a:gd name="T10" fmla="*/ 28 w 68"/>
                  <a:gd name="T11" fmla="*/ 0 h 93"/>
                  <a:gd name="T12" fmla="*/ 22 w 68"/>
                  <a:gd name="T13" fmla="*/ 11 h 93"/>
                  <a:gd name="T14" fmla="*/ 23 w 68"/>
                  <a:gd name="T15" fmla="*/ 13 h 93"/>
                  <a:gd name="T16" fmla="*/ 22 w 68"/>
                  <a:gd name="T17" fmla="*/ 11 h 93"/>
                  <a:gd name="T18" fmla="*/ 17 w 68"/>
                  <a:gd name="T19" fmla="*/ 8 h 93"/>
                  <a:gd name="T20" fmla="*/ 15 w 68"/>
                  <a:gd name="T21" fmla="*/ 20 h 93"/>
                  <a:gd name="T22" fmla="*/ 10 w 68"/>
                  <a:gd name="T23" fmla="*/ 33 h 93"/>
                  <a:gd name="T24" fmla="*/ 7 w 68"/>
                  <a:gd name="T25" fmla="*/ 50 h 93"/>
                  <a:gd name="T26" fmla="*/ 12 w 68"/>
                  <a:gd name="T27" fmla="*/ 63 h 93"/>
                  <a:gd name="T28" fmla="*/ 9 w 68"/>
                  <a:gd name="T29" fmla="*/ 79 h 93"/>
                  <a:gd name="T30" fmla="*/ 31 w 68"/>
                  <a:gd name="T31" fmla="*/ 78 h 93"/>
                  <a:gd name="T32" fmla="*/ 47 w 68"/>
                  <a:gd name="T33" fmla="*/ 79 h 93"/>
                  <a:gd name="T34" fmla="*/ 59 w 68"/>
                  <a:gd name="T35" fmla="*/ 71 h 93"/>
                  <a:gd name="T36" fmla="*/ 57 w 68"/>
                  <a:gd name="T37" fmla="*/ 59 h 93"/>
                  <a:gd name="T38" fmla="*/ 55 w 68"/>
                  <a:gd name="T39" fmla="*/ 41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68" h="93">
                    <a:moveTo>
                      <a:pt x="55" y="41"/>
                    </a:moveTo>
                    <a:cubicBezTo>
                      <a:pt x="55" y="41"/>
                      <a:pt x="64" y="40"/>
                      <a:pt x="54" y="34"/>
                    </a:cubicBezTo>
                    <a:cubicBezTo>
                      <a:pt x="54" y="34"/>
                      <a:pt x="66" y="18"/>
                      <a:pt x="49" y="17"/>
                    </a:cubicBezTo>
                    <a:cubicBezTo>
                      <a:pt x="49" y="17"/>
                      <a:pt x="54" y="11"/>
                      <a:pt x="46" y="7"/>
                    </a:cubicBezTo>
                    <a:cubicBezTo>
                      <a:pt x="46" y="7"/>
                      <a:pt x="38" y="3"/>
                      <a:pt x="36" y="12"/>
                    </a:cubicBezTo>
                    <a:cubicBezTo>
                      <a:pt x="36" y="12"/>
                      <a:pt x="37" y="3"/>
                      <a:pt x="28" y="0"/>
                    </a:cubicBezTo>
                    <a:cubicBezTo>
                      <a:pt x="28" y="0"/>
                      <a:pt x="20" y="0"/>
                      <a:pt x="22" y="11"/>
                    </a:cubicBezTo>
                    <a:cubicBezTo>
                      <a:pt x="22" y="12"/>
                      <a:pt x="23" y="13"/>
                      <a:pt x="23" y="13"/>
                    </a:cubicBezTo>
                    <a:cubicBezTo>
                      <a:pt x="22" y="12"/>
                      <a:pt x="22" y="11"/>
                      <a:pt x="22" y="11"/>
                    </a:cubicBezTo>
                    <a:cubicBezTo>
                      <a:pt x="21" y="9"/>
                      <a:pt x="20" y="6"/>
                      <a:pt x="17" y="8"/>
                    </a:cubicBezTo>
                    <a:cubicBezTo>
                      <a:pt x="17" y="8"/>
                      <a:pt x="11" y="12"/>
                      <a:pt x="15" y="20"/>
                    </a:cubicBezTo>
                    <a:cubicBezTo>
                      <a:pt x="15" y="20"/>
                      <a:pt x="6" y="21"/>
                      <a:pt x="10" y="33"/>
                    </a:cubicBezTo>
                    <a:cubicBezTo>
                      <a:pt x="10" y="33"/>
                      <a:pt x="0" y="39"/>
                      <a:pt x="7" y="50"/>
                    </a:cubicBezTo>
                    <a:cubicBezTo>
                      <a:pt x="7" y="50"/>
                      <a:pt x="2" y="56"/>
                      <a:pt x="12" y="63"/>
                    </a:cubicBezTo>
                    <a:cubicBezTo>
                      <a:pt x="12" y="63"/>
                      <a:pt x="3" y="69"/>
                      <a:pt x="9" y="79"/>
                    </a:cubicBezTo>
                    <a:cubicBezTo>
                      <a:pt x="9" y="79"/>
                      <a:pt x="18" y="93"/>
                      <a:pt x="31" y="78"/>
                    </a:cubicBezTo>
                    <a:cubicBezTo>
                      <a:pt x="31" y="78"/>
                      <a:pt x="34" y="70"/>
                      <a:pt x="47" y="79"/>
                    </a:cubicBezTo>
                    <a:cubicBezTo>
                      <a:pt x="47" y="79"/>
                      <a:pt x="54" y="82"/>
                      <a:pt x="59" y="71"/>
                    </a:cubicBezTo>
                    <a:cubicBezTo>
                      <a:pt x="59" y="71"/>
                      <a:pt x="62" y="64"/>
                      <a:pt x="57" y="59"/>
                    </a:cubicBezTo>
                    <a:cubicBezTo>
                      <a:pt x="57" y="59"/>
                      <a:pt x="68" y="49"/>
                      <a:pt x="55" y="41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5" name="Freeform 268"/>
              <p:cNvSpPr>
                <a:spLocks/>
              </p:cNvSpPr>
              <p:nvPr/>
            </p:nvSpPr>
            <p:spPr bwMode="auto">
              <a:xfrm>
                <a:off x="6677025" y="1549400"/>
                <a:ext cx="103188" cy="185738"/>
              </a:xfrm>
              <a:custGeom>
                <a:avLst/>
                <a:gdLst>
                  <a:gd name="T0" fmla="*/ 34 w 45"/>
                  <a:gd name="T1" fmla="*/ 35 h 81"/>
                  <a:gd name="T2" fmla="*/ 34 w 45"/>
                  <a:gd name="T3" fmla="*/ 18 h 81"/>
                  <a:gd name="T4" fmla="*/ 29 w 45"/>
                  <a:gd name="T5" fmla="*/ 3 h 81"/>
                  <a:gd name="T6" fmla="*/ 19 w 45"/>
                  <a:gd name="T7" fmla="*/ 11 h 81"/>
                  <a:gd name="T8" fmla="*/ 7 w 45"/>
                  <a:gd name="T9" fmla="*/ 15 h 81"/>
                  <a:gd name="T10" fmla="*/ 9 w 45"/>
                  <a:gd name="T11" fmla="*/ 23 h 81"/>
                  <a:gd name="T12" fmla="*/ 7 w 45"/>
                  <a:gd name="T13" fmla="*/ 37 h 81"/>
                  <a:gd name="T14" fmla="*/ 0 w 45"/>
                  <a:gd name="T15" fmla="*/ 47 h 81"/>
                  <a:gd name="T16" fmla="*/ 6 w 45"/>
                  <a:gd name="T17" fmla="*/ 53 h 81"/>
                  <a:gd name="T18" fmla="*/ 15 w 45"/>
                  <a:gd name="T19" fmla="*/ 63 h 81"/>
                  <a:gd name="T20" fmla="*/ 32 w 45"/>
                  <a:gd name="T21" fmla="*/ 62 h 81"/>
                  <a:gd name="T22" fmla="*/ 35 w 45"/>
                  <a:gd name="T23" fmla="*/ 49 h 81"/>
                  <a:gd name="T24" fmla="*/ 34 w 45"/>
                  <a:gd name="T25" fmla="*/ 35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5" h="81">
                    <a:moveTo>
                      <a:pt x="34" y="35"/>
                    </a:moveTo>
                    <a:cubicBezTo>
                      <a:pt x="34" y="35"/>
                      <a:pt x="45" y="28"/>
                      <a:pt x="34" y="18"/>
                    </a:cubicBezTo>
                    <a:cubicBezTo>
                      <a:pt x="34" y="18"/>
                      <a:pt x="39" y="9"/>
                      <a:pt x="29" y="3"/>
                    </a:cubicBezTo>
                    <a:cubicBezTo>
                      <a:pt x="29" y="3"/>
                      <a:pt x="21" y="0"/>
                      <a:pt x="19" y="11"/>
                    </a:cubicBezTo>
                    <a:cubicBezTo>
                      <a:pt x="19" y="11"/>
                      <a:pt x="13" y="4"/>
                      <a:pt x="7" y="15"/>
                    </a:cubicBezTo>
                    <a:cubicBezTo>
                      <a:pt x="7" y="15"/>
                      <a:pt x="5" y="19"/>
                      <a:pt x="9" y="23"/>
                    </a:cubicBezTo>
                    <a:cubicBezTo>
                      <a:pt x="9" y="23"/>
                      <a:pt x="2" y="27"/>
                      <a:pt x="7" y="37"/>
                    </a:cubicBezTo>
                    <a:cubicBezTo>
                      <a:pt x="7" y="37"/>
                      <a:pt x="2" y="36"/>
                      <a:pt x="0" y="47"/>
                    </a:cubicBezTo>
                    <a:cubicBezTo>
                      <a:pt x="0" y="47"/>
                      <a:pt x="1" y="53"/>
                      <a:pt x="6" y="53"/>
                    </a:cubicBezTo>
                    <a:cubicBezTo>
                      <a:pt x="6" y="53"/>
                      <a:pt x="2" y="67"/>
                      <a:pt x="15" y="63"/>
                    </a:cubicBezTo>
                    <a:cubicBezTo>
                      <a:pt x="15" y="63"/>
                      <a:pt x="21" y="81"/>
                      <a:pt x="32" y="62"/>
                    </a:cubicBezTo>
                    <a:cubicBezTo>
                      <a:pt x="32" y="62"/>
                      <a:pt x="44" y="59"/>
                      <a:pt x="35" y="49"/>
                    </a:cubicBezTo>
                    <a:cubicBezTo>
                      <a:pt x="35" y="49"/>
                      <a:pt x="45" y="43"/>
                      <a:pt x="34" y="35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6" name="Freeform 269"/>
              <p:cNvSpPr>
                <a:spLocks/>
              </p:cNvSpPr>
              <p:nvPr/>
            </p:nvSpPr>
            <p:spPr bwMode="auto">
              <a:xfrm>
                <a:off x="6613525" y="1570038"/>
                <a:ext cx="58738" cy="150813"/>
              </a:xfrm>
              <a:custGeom>
                <a:avLst/>
                <a:gdLst>
                  <a:gd name="T0" fmla="*/ 20 w 26"/>
                  <a:gd name="T1" fmla="*/ 5 h 66"/>
                  <a:gd name="T2" fmla="*/ 9 w 26"/>
                  <a:gd name="T3" fmla="*/ 0 h 66"/>
                  <a:gd name="T4" fmla="*/ 0 w 26"/>
                  <a:gd name="T5" fmla="*/ 60 h 66"/>
                  <a:gd name="T6" fmla="*/ 26 w 26"/>
                  <a:gd name="T7" fmla="*/ 60 h 66"/>
                  <a:gd name="T8" fmla="*/ 20 w 26"/>
                  <a:gd name="T9" fmla="*/ 5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" h="66">
                    <a:moveTo>
                      <a:pt x="20" y="5"/>
                    </a:moveTo>
                    <a:cubicBezTo>
                      <a:pt x="20" y="5"/>
                      <a:pt x="19" y="0"/>
                      <a:pt x="9" y="0"/>
                    </a:cubicBezTo>
                    <a:cubicBezTo>
                      <a:pt x="9" y="0"/>
                      <a:pt x="11" y="52"/>
                      <a:pt x="0" y="60"/>
                    </a:cubicBezTo>
                    <a:cubicBezTo>
                      <a:pt x="0" y="60"/>
                      <a:pt x="18" y="66"/>
                      <a:pt x="26" y="60"/>
                    </a:cubicBezTo>
                    <a:cubicBezTo>
                      <a:pt x="26" y="60"/>
                      <a:pt x="16" y="35"/>
                      <a:pt x="20" y="5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7" name="Freeform 270"/>
              <p:cNvSpPr>
                <a:spLocks/>
              </p:cNvSpPr>
              <p:nvPr/>
            </p:nvSpPr>
            <p:spPr bwMode="auto">
              <a:xfrm>
                <a:off x="6592888" y="1333500"/>
                <a:ext cx="95250" cy="112713"/>
              </a:xfrm>
              <a:custGeom>
                <a:avLst/>
                <a:gdLst>
                  <a:gd name="T0" fmla="*/ 31 w 42"/>
                  <a:gd name="T1" fmla="*/ 14 h 49"/>
                  <a:gd name="T2" fmla="*/ 24 w 42"/>
                  <a:gd name="T3" fmla="*/ 0 h 49"/>
                  <a:gd name="T4" fmla="*/ 16 w 42"/>
                  <a:gd name="T5" fmla="*/ 10 h 49"/>
                  <a:gd name="T6" fmla="*/ 13 w 42"/>
                  <a:gd name="T7" fmla="*/ 27 h 49"/>
                  <a:gd name="T8" fmla="*/ 41 w 42"/>
                  <a:gd name="T9" fmla="*/ 19 h 49"/>
                  <a:gd name="T10" fmla="*/ 31 w 42"/>
                  <a:gd name="T11" fmla="*/ 14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2" h="49">
                    <a:moveTo>
                      <a:pt x="31" y="14"/>
                    </a:moveTo>
                    <a:cubicBezTo>
                      <a:pt x="33" y="0"/>
                      <a:pt x="24" y="0"/>
                      <a:pt x="24" y="0"/>
                    </a:cubicBezTo>
                    <a:cubicBezTo>
                      <a:pt x="15" y="0"/>
                      <a:pt x="16" y="10"/>
                      <a:pt x="16" y="10"/>
                    </a:cubicBezTo>
                    <a:cubicBezTo>
                      <a:pt x="0" y="20"/>
                      <a:pt x="13" y="27"/>
                      <a:pt x="13" y="27"/>
                    </a:cubicBezTo>
                    <a:cubicBezTo>
                      <a:pt x="42" y="49"/>
                      <a:pt x="41" y="19"/>
                      <a:pt x="41" y="19"/>
                    </a:cubicBezTo>
                    <a:cubicBezTo>
                      <a:pt x="39" y="9"/>
                      <a:pt x="31" y="14"/>
                      <a:pt x="31" y="14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8" name="Freeform 271"/>
              <p:cNvSpPr>
                <a:spLocks/>
              </p:cNvSpPr>
              <p:nvPr/>
            </p:nvSpPr>
            <p:spPr bwMode="auto">
              <a:xfrm>
                <a:off x="6619875" y="1401763"/>
                <a:ext cx="1588" cy="7938"/>
              </a:xfrm>
              <a:custGeom>
                <a:avLst/>
                <a:gdLst>
                  <a:gd name="T0" fmla="*/ 0 w 1"/>
                  <a:gd name="T1" fmla="*/ 0 h 3"/>
                  <a:gd name="T2" fmla="*/ 1 w 1"/>
                  <a:gd name="T3" fmla="*/ 3 h 3"/>
                  <a:gd name="T4" fmla="*/ 0 w 1"/>
                  <a:gd name="T5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3">
                    <a:moveTo>
                      <a:pt x="0" y="0"/>
                    </a:moveTo>
                    <a:cubicBezTo>
                      <a:pt x="0" y="1"/>
                      <a:pt x="0" y="2"/>
                      <a:pt x="1" y="3"/>
                    </a:cubicBezTo>
                    <a:cubicBezTo>
                      <a:pt x="1" y="3"/>
                      <a:pt x="1" y="2"/>
                      <a:pt x="0" y="0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" name="Freeform 272"/>
              <p:cNvSpPr>
                <a:spLocks/>
              </p:cNvSpPr>
              <p:nvPr/>
            </p:nvSpPr>
            <p:spPr bwMode="auto">
              <a:xfrm>
                <a:off x="6569075" y="1376363"/>
                <a:ext cx="155575" cy="215900"/>
              </a:xfrm>
              <a:custGeom>
                <a:avLst/>
                <a:gdLst>
                  <a:gd name="T0" fmla="*/ 55 w 68"/>
                  <a:gd name="T1" fmla="*/ 42 h 94"/>
                  <a:gd name="T2" fmla="*/ 54 w 68"/>
                  <a:gd name="T3" fmla="*/ 34 h 94"/>
                  <a:gd name="T4" fmla="*/ 49 w 68"/>
                  <a:gd name="T5" fmla="*/ 18 h 94"/>
                  <a:gd name="T6" fmla="*/ 46 w 68"/>
                  <a:gd name="T7" fmla="*/ 8 h 94"/>
                  <a:gd name="T8" fmla="*/ 37 w 68"/>
                  <a:gd name="T9" fmla="*/ 13 h 94"/>
                  <a:gd name="T10" fmla="*/ 28 w 68"/>
                  <a:gd name="T11" fmla="*/ 0 h 94"/>
                  <a:gd name="T12" fmla="*/ 22 w 68"/>
                  <a:gd name="T13" fmla="*/ 11 h 94"/>
                  <a:gd name="T14" fmla="*/ 23 w 68"/>
                  <a:gd name="T15" fmla="*/ 14 h 94"/>
                  <a:gd name="T16" fmla="*/ 22 w 68"/>
                  <a:gd name="T17" fmla="*/ 11 h 94"/>
                  <a:gd name="T18" fmla="*/ 17 w 68"/>
                  <a:gd name="T19" fmla="*/ 9 h 94"/>
                  <a:gd name="T20" fmla="*/ 15 w 68"/>
                  <a:gd name="T21" fmla="*/ 21 h 94"/>
                  <a:gd name="T22" fmla="*/ 10 w 68"/>
                  <a:gd name="T23" fmla="*/ 34 h 94"/>
                  <a:gd name="T24" fmla="*/ 8 w 68"/>
                  <a:gd name="T25" fmla="*/ 51 h 94"/>
                  <a:gd name="T26" fmla="*/ 12 w 68"/>
                  <a:gd name="T27" fmla="*/ 64 h 94"/>
                  <a:gd name="T28" fmla="*/ 9 w 68"/>
                  <a:gd name="T29" fmla="*/ 80 h 94"/>
                  <a:gd name="T30" fmla="*/ 31 w 68"/>
                  <a:gd name="T31" fmla="*/ 79 h 94"/>
                  <a:gd name="T32" fmla="*/ 47 w 68"/>
                  <a:gd name="T33" fmla="*/ 80 h 94"/>
                  <a:gd name="T34" fmla="*/ 59 w 68"/>
                  <a:gd name="T35" fmla="*/ 72 h 94"/>
                  <a:gd name="T36" fmla="*/ 57 w 68"/>
                  <a:gd name="T37" fmla="*/ 60 h 94"/>
                  <a:gd name="T38" fmla="*/ 55 w 68"/>
                  <a:gd name="T39" fmla="*/ 42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68" h="94">
                    <a:moveTo>
                      <a:pt x="55" y="42"/>
                    </a:moveTo>
                    <a:cubicBezTo>
                      <a:pt x="55" y="42"/>
                      <a:pt x="64" y="40"/>
                      <a:pt x="54" y="34"/>
                    </a:cubicBezTo>
                    <a:cubicBezTo>
                      <a:pt x="54" y="34"/>
                      <a:pt x="67" y="19"/>
                      <a:pt x="49" y="18"/>
                    </a:cubicBezTo>
                    <a:cubicBezTo>
                      <a:pt x="49" y="18"/>
                      <a:pt x="54" y="12"/>
                      <a:pt x="46" y="8"/>
                    </a:cubicBezTo>
                    <a:cubicBezTo>
                      <a:pt x="46" y="8"/>
                      <a:pt x="39" y="3"/>
                      <a:pt x="37" y="13"/>
                    </a:cubicBezTo>
                    <a:cubicBezTo>
                      <a:pt x="37" y="13"/>
                      <a:pt x="37" y="4"/>
                      <a:pt x="28" y="0"/>
                    </a:cubicBezTo>
                    <a:cubicBezTo>
                      <a:pt x="28" y="0"/>
                      <a:pt x="20" y="1"/>
                      <a:pt x="22" y="11"/>
                    </a:cubicBezTo>
                    <a:cubicBezTo>
                      <a:pt x="23" y="13"/>
                      <a:pt x="23" y="14"/>
                      <a:pt x="23" y="14"/>
                    </a:cubicBezTo>
                    <a:cubicBezTo>
                      <a:pt x="22" y="13"/>
                      <a:pt x="22" y="12"/>
                      <a:pt x="22" y="11"/>
                    </a:cubicBezTo>
                    <a:cubicBezTo>
                      <a:pt x="21" y="9"/>
                      <a:pt x="20" y="7"/>
                      <a:pt x="17" y="9"/>
                    </a:cubicBezTo>
                    <a:cubicBezTo>
                      <a:pt x="17" y="9"/>
                      <a:pt x="11" y="13"/>
                      <a:pt x="15" y="21"/>
                    </a:cubicBezTo>
                    <a:cubicBezTo>
                      <a:pt x="15" y="21"/>
                      <a:pt x="6" y="22"/>
                      <a:pt x="10" y="34"/>
                    </a:cubicBezTo>
                    <a:cubicBezTo>
                      <a:pt x="10" y="34"/>
                      <a:pt x="0" y="40"/>
                      <a:pt x="8" y="51"/>
                    </a:cubicBezTo>
                    <a:cubicBezTo>
                      <a:pt x="8" y="51"/>
                      <a:pt x="2" y="57"/>
                      <a:pt x="12" y="64"/>
                    </a:cubicBezTo>
                    <a:cubicBezTo>
                      <a:pt x="12" y="64"/>
                      <a:pt x="3" y="70"/>
                      <a:pt x="9" y="80"/>
                    </a:cubicBezTo>
                    <a:cubicBezTo>
                      <a:pt x="9" y="80"/>
                      <a:pt x="18" y="94"/>
                      <a:pt x="31" y="79"/>
                    </a:cubicBezTo>
                    <a:cubicBezTo>
                      <a:pt x="31" y="79"/>
                      <a:pt x="34" y="71"/>
                      <a:pt x="47" y="80"/>
                    </a:cubicBezTo>
                    <a:cubicBezTo>
                      <a:pt x="47" y="80"/>
                      <a:pt x="54" y="83"/>
                      <a:pt x="59" y="72"/>
                    </a:cubicBezTo>
                    <a:cubicBezTo>
                      <a:pt x="59" y="72"/>
                      <a:pt x="62" y="64"/>
                      <a:pt x="57" y="60"/>
                    </a:cubicBezTo>
                    <a:cubicBezTo>
                      <a:pt x="57" y="60"/>
                      <a:pt x="68" y="49"/>
                      <a:pt x="55" y="42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0" name="Freeform 273"/>
              <p:cNvSpPr>
                <a:spLocks/>
              </p:cNvSpPr>
              <p:nvPr/>
            </p:nvSpPr>
            <p:spPr bwMode="auto">
              <a:xfrm>
                <a:off x="6599238" y="1438275"/>
                <a:ext cx="103188" cy="184150"/>
              </a:xfrm>
              <a:custGeom>
                <a:avLst/>
                <a:gdLst>
                  <a:gd name="T0" fmla="*/ 33 w 45"/>
                  <a:gd name="T1" fmla="*/ 35 h 80"/>
                  <a:gd name="T2" fmla="*/ 33 w 45"/>
                  <a:gd name="T3" fmla="*/ 18 h 80"/>
                  <a:gd name="T4" fmla="*/ 29 w 45"/>
                  <a:gd name="T5" fmla="*/ 3 h 80"/>
                  <a:gd name="T6" fmla="*/ 18 w 45"/>
                  <a:gd name="T7" fmla="*/ 11 h 80"/>
                  <a:gd name="T8" fmla="*/ 6 w 45"/>
                  <a:gd name="T9" fmla="*/ 14 h 80"/>
                  <a:gd name="T10" fmla="*/ 8 w 45"/>
                  <a:gd name="T11" fmla="*/ 22 h 80"/>
                  <a:gd name="T12" fmla="*/ 6 w 45"/>
                  <a:gd name="T13" fmla="*/ 37 h 80"/>
                  <a:gd name="T14" fmla="*/ 0 w 45"/>
                  <a:gd name="T15" fmla="*/ 47 h 80"/>
                  <a:gd name="T16" fmla="*/ 6 w 45"/>
                  <a:gd name="T17" fmla="*/ 53 h 80"/>
                  <a:gd name="T18" fmla="*/ 14 w 45"/>
                  <a:gd name="T19" fmla="*/ 62 h 80"/>
                  <a:gd name="T20" fmla="*/ 31 w 45"/>
                  <a:gd name="T21" fmla="*/ 62 h 80"/>
                  <a:gd name="T22" fmla="*/ 34 w 45"/>
                  <a:gd name="T23" fmla="*/ 49 h 80"/>
                  <a:gd name="T24" fmla="*/ 33 w 45"/>
                  <a:gd name="T25" fmla="*/ 35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5" h="80">
                    <a:moveTo>
                      <a:pt x="33" y="35"/>
                    </a:moveTo>
                    <a:cubicBezTo>
                      <a:pt x="33" y="35"/>
                      <a:pt x="44" y="28"/>
                      <a:pt x="33" y="18"/>
                    </a:cubicBezTo>
                    <a:cubicBezTo>
                      <a:pt x="33" y="18"/>
                      <a:pt x="38" y="9"/>
                      <a:pt x="29" y="3"/>
                    </a:cubicBezTo>
                    <a:cubicBezTo>
                      <a:pt x="29" y="3"/>
                      <a:pt x="20" y="0"/>
                      <a:pt x="18" y="11"/>
                    </a:cubicBezTo>
                    <a:cubicBezTo>
                      <a:pt x="18" y="11"/>
                      <a:pt x="12" y="4"/>
                      <a:pt x="6" y="14"/>
                    </a:cubicBezTo>
                    <a:cubicBezTo>
                      <a:pt x="6" y="14"/>
                      <a:pt x="5" y="19"/>
                      <a:pt x="8" y="22"/>
                    </a:cubicBezTo>
                    <a:cubicBezTo>
                      <a:pt x="8" y="22"/>
                      <a:pt x="1" y="27"/>
                      <a:pt x="6" y="37"/>
                    </a:cubicBezTo>
                    <a:cubicBezTo>
                      <a:pt x="6" y="37"/>
                      <a:pt x="1" y="36"/>
                      <a:pt x="0" y="47"/>
                    </a:cubicBezTo>
                    <a:cubicBezTo>
                      <a:pt x="0" y="47"/>
                      <a:pt x="0" y="53"/>
                      <a:pt x="6" y="53"/>
                    </a:cubicBezTo>
                    <a:cubicBezTo>
                      <a:pt x="6" y="53"/>
                      <a:pt x="1" y="67"/>
                      <a:pt x="14" y="62"/>
                    </a:cubicBezTo>
                    <a:cubicBezTo>
                      <a:pt x="14" y="62"/>
                      <a:pt x="21" y="80"/>
                      <a:pt x="31" y="62"/>
                    </a:cubicBezTo>
                    <a:cubicBezTo>
                      <a:pt x="31" y="62"/>
                      <a:pt x="43" y="58"/>
                      <a:pt x="34" y="49"/>
                    </a:cubicBezTo>
                    <a:cubicBezTo>
                      <a:pt x="34" y="49"/>
                      <a:pt x="45" y="43"/>
                      <a:pt x="33" y="35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1" name="Freeform 274"/>
              <p:cNvSpPr>
                <a:spLocks/>
              </p:cNvSpPr>
              <p:nvPr/>
            </p:nvSpPr>
            <p:spPr bwMode="auto">
              <a:xfrm>
                <a:off x="6959600" y="1681163"/>
                <a:ext cx="61913" cy="152400"/>
              </a:xfrm>
              <a:custGeom>
                <a:avLst/>
                <a:gdLst>
                  <a:gd name="T0" fmla="*/ 21 w 27"/>
                  <a:gd name="T1" fmla="*/ 4 h 66"/>
                  <a:gd name="T2" fmla="*/ 10 w 27"/>
                  <a:gd name="T3" fmla="*/ 0 h 66"/>
                  <a:gd name="T4" fmla="*/ 0 w 27"/>
                  <a:gd name="T5" fmla="*/ 60 h 66"/>
                  <a:gd name="T6" fmla="*/ 27 w 27"/>
                  <a:gd name="T7" fmla="*/ 60 h 66"/>
                  <a:gd name="T8" fmla="*/ 21 w 27"/>
                  <a:gd name="T9" fmla="*/ 4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" h="66">
                    <a:moveTo>
                      <a:pt x="21" y="4"/>
                    </a:moveTo>
                    <a:cubicBezTo>
                      <a:pt x="21" y="4"/>
                      <a:pt x="20" y="0"/>
                      <a:pt x="10" y="0"/>
                    </a:cubicBezTo>
                    <a:cubicBezTo>
                      <a:pt x="10" y="0"/>
                      <a:pt x="12" y="51"/>
                      <a:pt x="0" y="60"/>
                    </a:cubicBezTo>
                    <a:cubicBezTo>
                      <a:pt x="0" y="60"/>
                      <a:pt x="19" y="66"/>
                      <a:pt x="27" y="60"/>
                    </a:cubicBezTo>
                    <a:cubicBezTo>
                      <a:pt x="27" y="60"/>
                      <a:pt x="17" y="34"/>
                      <a:pt x="21" y="4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2" name="Freeform 275"/>
              <p:cNvSpPr>
                <a:spLocks/>
              </p:cNvSpPr>
              <p:nvPr/>
            </p:nvSpPr>
            <p:spPr bwMode="auto">
              <a:xfrm>
                <a:off x="6883400" y="1677988"/>
                <a:ext cx="58738" cy="150813"/>
              </a:xfrm>
              <a:custGeom>
                <a:avLst/>
                <a:gdLst>
                  <a:gd name="T0" fmla="*/ 20 w 26"/>
                  <a:gd name="T1" fmla="*/ 5 h 66"/>
                  <a:gd name="T2" fmla="*/ 9 w 26"/>
                  <a:gd name="T3" fmla="*/ 0 h 66"/>
                  <a:gd name="T4" fmla="*/ 0 w 26"/>
                  <a:gd name="T5" fmla="*/ 60 h 66"/>
                  <a:gd name="T6" fmla="*/ 26 w 26"/>
                  <a:gd name="T7" fmla="*/ 60 h 66"/>
                  <a:gd name="T8" fmla="*/ 20 w 26"/>
                  <a:gd name="T9" fmla="*/ 5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" h="66">
                    <a:moveTo>
                      <a:pt x="20" y="5"/>
                    </a:moveTo>
                    <a:cubicBezTo>
                      <a:pt x="20" y="5"/>
                      <a:pt x="19" y="0"/>
                      <a:pt x="9" y="0"/>
                    </a:cubicBezTo>
                    <a:cubicBezTo>
                      <a:pt x="9" y="0"/>
                      <a:pt x="12" y="52"/>
                      <a:pt x="0" y="60"/>
                    </a:cubicBezTo>
                    <a:cubicBezTo>
                      <a:pt x="0" y="60"/>
                      <a:pt x="18" y="66"/>
                      <a:pt x="26" y="60"/>
                    </a:cubicBezTo>
                    <a:cubicBezTo>
                      <a:pt x="26" y="60"/>
                      <a:pt x="16" y="35"/>
                      <a:pt x="20" y="5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3" name="Freeform 276"/>
              <p:cNvSpPr>
                <a:spLocks/>
              </p:cNvSpPr>
              <p:nvPr/>
            </p:nvSpPr>
            <p:spPr bwMode="auto">
              <a:xfrm>
                <a:off x="6942138" y="1443038"/>
                <a:ext cx="95250" cy="114300"/>
              </a:xfrm>
              <a:custGeom>
                <a:avLst/>
                <a:gdLst>
                  <a:gd name="T0" fmla="*/ 31 w 42"/>
                  <a:gd name="T1" fmla="*/ 15 h 50"/>
                  <a:gd name="T2" fmla="*/ 23 w 42"/>
                  <a:gd name="T3" fmla="*/ 0 h 50"/>
                  <a:gd name="T4" fmla="*/ 16 w 42"/>
                  <a:gd name="T5" fmla="*/ 11 h 50"/>
                  <a:gd name="T6" fmla="*/ 13 w 42"/>
                  <a:gd name="T7" fmla="*/ 28 h 50"/>
                  <a:gd name="T8" fmla="*/ 41 w 42"/>
                  <a:gd name="T9" fmla="*/ 20 h 50"/>
                  <a:gd name="T10" fmla="*/ 31 w 42"/>
                  <a:gd name="T11" fmla="*/ 15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2" h="50">
                    <a:moveTo>
                      <a:pt x="31" y="15"/>
                    </a:moveTo>
                    <a:cubicBezTo>
                      <a:pt x="32" y="0"/>
                      <a:pt x="23" y="0"/>
                      <a:pt x="23" y="0"/>
                    </a:cubicBezTo>
                    <a:cubicBezTo>
                      <a:pt x="15" y="1"/>
                      <a:pt x="16" y="11"/>
                      <a:pt x="16" y="11"/>
                    </a:cubicBezTo>
                    <a:cubicBezTo>
                      <a:pt x="0" y="20"/>
                      <a:pt x="13" y="28"/>
                      <a:pt x="13" y="28"/>
                    </a:cubicBezTo>
                    <a:cubicBezTo>
                      <a:pt x="42" y="50"/>
                      <a:pt x="41" y="20"/>
                      <a:pt x="41" y="20"/>
                    </a:cubicBezTo>
                    <a:cubicBezTo>
                      <a:pt x="39" y="10"/>
                      <a:pt x="31" y="15"/>
                      <a:pt x="31" y="15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4" name="Freeform 277"/>
              <p:cNvSpPr>
                <a:spLocks/>
              </p:cNvSpPr>
              <p:nvPr/>
            </p:nvSpPr>
            <p:spPr bwMode="auto">
              <a:xfrm>
                <a:off x="6969125" y="1514475"/>
                <a:ext cx="3175" cy="6350"/>
              </a:xfrm>
              <a:custGeom>
                <a:avLst/>
                <a:gdLst>
                  <a:gd name="T0" fmla="*/ 0 w 1"/>
                  <a:gd name="T1" fmla="*/ 0 h 3"/>
                  <a:gd name="T2" fmla="*/ 1 w 1"/>
                  <a:gd name="T3" fmla="*/ 3 h 3"/>
                  <a:gd name="T4" fmla="*/ 0 w 1"/>
                  <a:gd name="T5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3">
                    <a:moveTo>
                      <a:pt x="0" y="0"/>
                    </a:moveTo>
                    <a:cubicBezTo>
                      <a:pt x="0" y="1"/>
                      <a:pt x="0" y="2"/>
                      <a:pt x="1" y="3"/>
                    </a:cubicBezTo>
                    <a:cubicBezTo>
                      <a:pt x="1" y="3"/>
                      <a:pt x="0" y="1"/>
                      <a:pt x="0" y="0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5" name="Freeform 278"/>
              <p:cNvSpPr>
                <a:spLocks/>
              </p:cNvSpPr>
              <p:nvPr/>
            </p:nvSpPr>
            <p:spPr bwMode="auto">
              <a:xfrm>
                <a:off x="6919913" y="1489075"/>
                <a:ext cx="155575" cy="212725"/>
              </a:xfrm>
              <a:custGeom>
                <a:avLst/>
                <a:gdLst>
                  <a:gd name="T0" fmla="*/ 55 w 68"/>
                  <a:gd name="T1" fmla="*/ 42 h 93"/>
                  <a:gd name="T2" fmla="*/ 54 w 68"/>
                  <a:gd name="T3" fmla="*/ 34 h 93"/>
                  <a:gd name="T4" fmla="*/ 49 w 68"/>
                  <a:gd name="T5" fmla="*/ 18 h 93"/>
                  <a:gd name="T6" fmla="*/ 46 w 68"/>
                  <a:gd name="T7" fmla="*/ 7 h 93"/>
                  <a:gd name="T8" fmla="*/ 36 w 68"/>
                  <a:gd name="T9" fmla="*/ 13 h 93"/>
                  <a:gd name="T10" fmla="*/ 28 w 68"/>
                  <a:gd name="T11" fmla="*/ 0 h 93"/>
                  <a:gd name="T12" fmla="*/ 22 w 68"/>
                  <a:gd name="T13" fmla="*/ 11 h 93"/>
                  <a:gd name="T14" fmla="*/ 23 w 68"/>
                  <a:gd name="T15" fmla="*/ 14 h 93"/>
                  <a:gd name="T16" fmla="*/ 22 w 68"/>
                  <a:gd name="T17" fmla="*/ 11 h 93"/>
                  <a:gd name="T18" fmla="*/ 17 w 68"/>
                  <a:gd name="T19" fmla="*/ 8 h 93"/>
                  <a:gd name="T20" fmla="*/ 15 w 68"/>
                  <a:gd name="T21" fmla="*/ 21 h 93"/>
                  <a:gd name="T22" fmla="*/ 10 w 68"/>
                  <a:gd name="T23" fmla="*/ 34 h 93"/>
                  <a:gd name="T24" fmla="*/ 7 w 68"/>
                  <a:gd name="T25" fmla="*/ 51 h 93"/>
                  <a:gd name="T26" fmla="*/ 12 w 68"/>
                  <a:gd name="T27" fmla="*/ 64 h 93"/>
                  <a:gd name="T28" fmla="*/ 9 w 68"/>
                  <a:gd name="T29" fmla="*/ 79 h 93"/>
                  <a:gd name="T30" fmla="*/ 31 w 68"/>
                  <a:gd name="T31" fmla="*/ 78 h 93"/>
                  <a:gd name="T32" fmla="*/ 47 w 68"/>
                  <a:gd name="T33" fmla="*/ 79 h 93"/>
                  <a:gd name="T34" fmla="*/ 59 w 68"/>
                  <a:gd name="T35" fmla="*/ 71 h 93"/>
                  <a:gd name="T36" fmla="*/ 57 w 68"/>
                  <a:gd name="T37" fmla="*/ 59 h 93"/>
                  <a:gd name="T38" fmla="*/ 55 w 68"/>
                  <a:gd name="T39" fmla="*/ 42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68" h="93">
                    <a:moveTo>
                      <a:pt x="55" y="42"/>
                    </a:moveTo>
                    <a:cubicBezTo>
                      <a:pt x="55" y="42"/>
                      <a:pt x="64" y="40"/>
                      <a:pt x="54" y="34"/>
                    </a:cubicBezTo>
                    <a:cubicBezTo>
                      <a:pt x="54" y="34"/>
                      <a:pt x="66" y="18"/>
                      <a:pt x="49" y="18"/>
                    </a:cubicBezTo>
                    <a:cubicBezTo>
                      <a:pt x="49" y="18"/>
                      <a:pt x="54" y="11"/>
                      <a:pt x="46" y="7"/>
                    </a:cubicBezTo>
                    <a:cubicBezTo>
                      <a:pt x="46" y="7"/>
                      <a:pt x="38" y="3"/>
                      <a:pt x="36" y="13"/>
                    </a:cubicBezTo>
                    <a:cubicBezTo>
                      <a:pt x="36" y="13"/>
                      <a:pt x="37" y="3"/>
                      <a:pt x="28" y="0"/>
                    </a:cubicBezTo>
                    <a:cubicBezTo>
                      <a:pt x="28" y="0"/>
                      <a:pt x="20" y="1"/>
                      <a:pt x="22" y="11"/>
                    </a:cubicBezTo>
                    <a:cubicBezTo>
                      <a:pt x="22" y="12"/>
                      <a:pt x="23" y="14"/>
                      <a:pt x="23" y="14"/>
                    </a:cubicBezTo>
                    <a:cubicBezTo>
                      <a:pt x="22" y="13"/>
                      <a:pt x="22" y="12"/>
                      <a:pt x="22" y="11"/>
                    </a:cubicBezTo>
                    <a:cubicBezTo>
                      <a:pt x="21" y="9"/>
                      <a:pt x="20" y="7"/>
                      <a:pt x="17" y="8"/>
                    </a:cubicBezTo>
                    <a:cubicBezTo>
                      <a:pt x="17" y="8"/>
                      <a:pt x="11" y="12"/>
                      <a:pt x="15" y="21"/>
                    </a:cubicBezTo>
                    <a:cubicBezTo>
                      <a:pt x="15" y="21"/>
                      <a:pt x="6" y="21"/>
                      <a:pt x="10" y="34"/>
                    </a:cubicBezTo>
                    <a:cubicBezTo>
                      <a:pt x="10" y="34"/>
                      <a:pt x="0" y="39"/>
                      <a:pt x="7" y="51"/>
                    </a:cubicBezTo>
                    <a:cubicBezTo>
                      <a:pt x="7" y="51"/>
                      <a:pt x="2" y="56"/>
                      <a:pt x="12" y="64"/>
                    </a:cubicBezTo>
                    <a:cubicBezTo>
                      <a:pt x="12" y="64"/>
                      <a:pt x="3" y="70"/>
                      <a:pt x="9" y="79"/>
                    </a:cubicBezTo>
                    <a:cubicBezTo>
                      <a:pt x="9" y="79"/>
                      <a:pt x="18" y="93"/>
                      <a:pt x="31" y="78"/>
                    </a:cubicBezTo>
                    <a:cubicBezTo>
                      <a:pt x="31" y="78"/>
                      <a:pt x="34" y="71"/>
                      <a:pt x="47" y="79"/>
                    </a:cubicBezTo>
                    <a:cubicBezTo>
                      <a:pt x="47" y="79"/>
                      <a:pt x="54" y="82"/>
                      <a:pt x="59" y="71"/>
                    </a:cubicBezTo>
                    <a:cubicBezTo>
                      <a:pt x="59" y="71"/>
                      <a:pt x="62" y="64"/>
                      <a:pt x="57" y="59"/>
                    </a:cubicBezTo>
                    <a:cubicBezTo>
                      <a:pt x="57" y="59"/>
                      <a:pt x="68" y="49"/>
                      <a:pt x="55" y="42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6" name="Freeform 279"/>
              <p:cNvSpPr>
                <a:spLocks/>
              </p:cNvSpPr>
              <p:nvPr/>
            </p:nvSpPr>
            <p:spPr bwMode="auto">
              <a:xfrm>
                <a:off x="6946900" y="1550988"/>
                <a:ext cx="103188" cy="184150"/>
              </a:xfrm>
              <a:custGeom>
                <a:avLst/>
                <a:gdLst>
                  <a:gd name="T0" fmla="*/ 34 w 45"/>
                  <a:gd name="T1" fmla="*/ 34 h 80"/>
                  <a:gd name="T2" fmla="*/ 34 w 45"/>
                  <a:gd name="T3" fmla="*/ 18 h 80"/>
                  <a:gd name="T4" fmla="*/ 29 w 45"/>
                  <a:gd name="T5" fmla="*/ 2 h 80"/>
                  <a:gd name="T6" fmla="*/ 19 w 45"/>
                  <a:gd name="T7" fmla="*/ 10 h 80"/>
                  <a:gd name="T8" fmla="*/ 7 w 45"/>
                  <a:gd name="T9" fmla="*/ 14 h 80"/>
                  <a:gd name="T10" fmla="*/ 9 w 45"/>
                  <a:gd name="T11" fmla="*/ 22 h 80"/>
                  <a:gd name="T12" fmla="*/ 7 w 45"/>
                  <a:gd name="T13" fmla="*/ 37 h 80"/>
                  <a:gd name="T14" fmla="*/ 0 w 45"/>
                  <a:gd name="T15" fmla="*/ 47 h 80"/>
                  <a:gd name="T16" fmla="*/ 6 w 45"/>
                  <a:gd name="T17" fmla="*/ 53 h 80"/>
                  <a:gd name="T18" fmla="*/ 15 w 45"/>
                  <a:gd name="T19" fmla="*/ 62 h 80"/>
                  <a:gd name="T20" fmla="*/ 32 w 45"/>
                  <a:gd name="T21" fmla="*/ 61 h 80"/>
                  <a:gd name="T22" fmla="*/ 35 w 45"/>
                  <a:gd name="T23" fmla="*/ 49 h 80"/>
                  <a:gd name="T24" fmla="*/ 34 w 45"/>
                  <a:gd name="T25" fmla="*/ 34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5" h="80">
                    <a:moveTo>
                      <a:pt x="34" y="34"/>
                    </a:moveTo>
                    <a:cubicBezTo>
                      <a:pt x="34" y="34"/>
                      <a:pt x="45" y="28"/>
                      <a:pt x="34" y="18"/>
                    </a:cubicBezTo>
                    <a:cubicBezTo>
                      <a:pt x="34" y="18"/>
                      <a:pt x="39" y="9"/>
                      <a:pt x="29" y="2"/>
                    </a:cubicBezTo>
                    <a:cubicBezTo>
                      <a:pt x="29" y="2"/>
                      <a:pt x="21" y="0"/>
                      <a:pt x="19" y="10"/>
                    </a:cubicBezTo>
                    <a:cubicBezTo>
                      <a:pt x="19" y="10"/>
                      <a:pt x="13" y="3"/>
                      <a:pt x="7" y="14"/>
                    </a:cubicBezTo>
                    <a:cubicBezTo>
                      <a:pt x="7" y="14"/>
                      <a:pt x="5" y="19"/>
                      <a:pt x="9" y="22"/>
                    </a:cubicBezTo>
                    <a:cubicBezTo>
                      <a:pt x="9" y="22"/>
                      <a:pt x="2" y="26"/>
                      <a:pt x="7" y="37"/>
                    </a:cubicBezTo>
                    <a:cubicBezTo>
                      <a:pt x="7" y="37"/>
                      <a:pt x="2" y="35"/>
                      <a:pt x="0" y="47"/>
                    </a:cubicBezTo>
                    <a:cubicBezTo>
                      <a:pt x="0" y="47"/>
                      <a:pt x="1" y="53"/>
                      <a:pt x="6" y="53"/>
                    </a:cubicBezTo>
                    <a:cubicBezTo>
                      <a:pt x="6" y="53"/>
                      <a:pt x="2" y="66"/>
                      <a:pt x="15" y="62"/>
                    </a:cubicBezTo>
                    <a:cubicBezTo>
                      <a:pt x="15" y="62"/>
                      <a:pt x="21" y="80"/>
                      <a:pt x="32" y="61"/>
                    </a:cubicBezTo>
                    <a:cubicBezTo>
                      <a:pt x="32" y="61"/>
                      <a:pt x="44" y="58"/>
                      <a:pt x="35" y="49"/>
                    </a:cubicBezTo>
                    <a:cubicBezTo>
                      <a:pt x="35" y="49"/>
                      <a:pt x="45" y="42"/>
                      <a:pt x="34" y="34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7" name="Freeform 280"/>
              <p:cNvSpPr>
                <a:spLocks/>
              </p:cNvSpPr>
              <p:nvPr/>
            </p:nvSpPr>
            <p:spPr bwMode="auto">
              <a:xfrm>
                <a:off x="6427788" y="1601788"/>
                <a:ext cx="58738" cy="150813"/>
              </a:xfrm>
              <a:custGeom>
                <a:avLst/>
                <a:gdLst>
                  <a:gd name="T0" fmla="*/ 20 w 26"/>
                  <a:gd name="T1" fmla="*/ 4 h 66"/>
                  <a:gd name="T2" fmla="*/ 9 w 26"/>
                  <a:gd name="T3" fmla="*/ 0 h 66"/>
                  <a:gd name="T4" fmla="*/ 0 w 26"/>
                  <a:gd name="T5" fmla="*/ 60 h 66"/>
                  <a:gd name="T6" fmla="*/ 26 w 26"/>
                  <a:gd name="T7" fmla="*/ 60 h 66"/>
                  <a:gd name="T8" fmla="*/ 20 w 26"/>
                  <a:gd name="T9" fmla="*/ 4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" h="66">
                    <a:moveTo>
                      <a:pt x="20" y="4"/>
                    </a:moveTo>
                    <a:cubicBezTo>
                      <a:pt x="20" y="4"/>
                      <a:pt x="19" y="0"/>
                      <a:pt x="9" y="0"/>
                    </a:cubicBezTo>
                    <a:cubicBezTo>
                      <a:pt x="9" y="0"/>
                      <a:pt x="12" y="51"/>
                      <a:pt x="0" y="60"/>
                    </a:cubicBezTo>
                    <a:cubicBezTo>
                      <a:pt x="0" y="60"/>
                      <a:pt x="18" y="66"/>
                      <a:pt x="26" y="60"/>
                    </a:cubicBezTo>
                    <a:cubicBezTo>
                      <a:pt x="26" y="60"/>
                      <a:pt x="16" y="34"/>
                      <a:pt x="20" y="4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8" name="Freeform 281"/>
              <p:cNvSpPr>
                <a:spLocks/>
              </p:cNvSpPr>
              <p:nvPr/>
            </p:nvSpPr>
            <p:spPr bwMode="auto">
              <a:xfrm>
                <a:off x="6407150" y="1363663"/>
                <a:ext cx="95250" cy="114300"/>
              </a:xfrm>
              <a:custGeom>
                <a:avLst/>
                <a:gdLst>
                  <a:gd name="T0" fmla="*/ 31 w 42"/>
                  <a:gd name="T1" fmla="*/ 15 h 50"/>
                  <a:gd name="T2" fmla="*/ 24 w 42"/>
                  <a:gd name="T3" fmla="*/ 0 h 50"/>
                  <a:gd name="T4" fmla="*/ 16 w 42"/>
                  <a:gd name="T5" fmla="*/ 11 h 50"/>
                  <a:gd name="T6" fmla="*/ 13 w 42"/>
                  <a:gd name="T7" fmla="*/ 28 h 50"/>
                  <a:gd name="T8" fmla="*/ 41 w 42"/>
                  <a:gd name="T9" fmla="*/ 20 h 50"/>
                  <a:gd name="T10" fmla="*/ 31 w 42"/>
                  <a:gd name="T11" fmla="*/ 15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2" h="50">
                    <a:moveTo>
                      <a:pt x="31" y="15"/>
                    </a:moveTo>
                    <a:cubicBezTo>
                      <a:pt x="33" y="0"/>
                      <a:pt x="24" y="0"/>
                      <a:pt x="24" y="0"/>
                    </a:cubicBezTo>
                    <a:cubicBezTo>
                      <a:pt x="15" y="1"/>
                      <a:pt x="16" y="11"/>
                      <a:pt x="16" y="11"/>
                    </a:cubicBezTo>
                    <a:cubicBezTo>
                      <a:pt x="0" y="20"/>
                      <a:pt x="13" y="28"/>
                      <a:pt x="13" y="28"/>
                    </a:cubicBezTo>
                    <a:cubicBezTo>
                      <a:pt x="42" y="50"/>
                      <a:pt x="41" y="20"/>
                      <a:pt x="41" y="20"/>
                    </a:cubicBezTo>
                    <a:cubicBezTo>
                      <a:pt x="39" y="10"/>
                      <a:pt x="31" y="15"/>
                      <a:pt x="31" y="15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9" name="Freeform 282"/>
              <p:cNvSpPr>
                <a:spLocks/>
              </p:cNvSpPr>
              <p:nvPr/>
            </p:nvSpPr>
            <p:spPr bwMode="auto">
              <a:xfrm>
                <a:off x="6434138" y="1435100"/>
                <a:ext cx="3175" cy="6350"/>
              </a:xfrm>
              <a:custGeom>
                <a:avLst/>
                <a:gdLst>
                  <a:gd name="T0" fmla="*/ 0 w 1"/>
                  <a:gd name="T1" fmla="*/ 0 h 3"/>
                  <a:gd name="T2" fmla="*/ 1 w 1"/>
                  <a:gd name="T3" fmla="*/ 3 h 3"/>
                  <a:gd name="T4" fmla="*/ 0 w 1"/>
                  <a:gd name="T5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3">
                    <a:moveTo>
                      <a:pt x="0" y="0"/>
                    </a:moveTo>
                    <a:cubicBezTo>
                      <a:pt x="0" y="1"/>
                      <a:pt x="1" y="2"/>
                      <a:pt x="1" y="3"/>
                    </a:cubicBezTo>
                    <a:cubicBezTo>
                      <a:pt x="1" y="3"/>
                      <a:pt x="1" y="2"/>
                      <a:pt x="0" y="0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90" name="Freeform 283"/>
              <p:cNvSpPr>
                <a:spLocks/>
              </p:cNvSpPr>
              <p:nvPr/>
            </p:nvSpPr>
            <p:spPr bwMode="auto">
              <a:xfrm>
                <a:off x="6384925" y="1409700"/>
                <a:ext cx="153988" cy="212725"/>
              </a:xfrm>
              <a:custGeom>
                <a:avLst/>
                <a:gdLst>
                  <a:gd name="T0" fmla="*/ 55 w 68"/>
                  <a:gd name="T1" fmla="*/ 42 h 93"/>
                  <a:gd name="T2" fmla="*/ 54 w 68"/>
                  <a:gd name="T3" fmla="*/ 34 h 93"/>
                  <a:gd name="T4" fmla="*/ 49 w 68"/>
                  <a:gd name="T5" fmla="*/ 18 h 93"/>
                  <a:gd name="T6" fmla="*/ 46 w 68"/>
                  <a:gd name="T7" fmla="*/ 8 h 93"/>
                  <a:gd name="T8" fmla="*/ 37 w 68"/>
                  <a:gd name="T9" fmla="*/ 13 h 93"/>
                  <a:gd name="T10" fmla="*/ 28 w 68"/>
                  <a:gd name="T11" fmla="*/ 0 h 93"/>
                  <a:gd name="T12" fmla="*/ 22 w 68"/>
                  <a:gd name="T13" fmla="*/ 11 h 93"/>
                  <a:gd name="T14" fmla="*/ 23 w 68"/>
                  <a:gd name="T15" fmla="*/ 14 h 93"/>
                  <a:gd name="T16" fmla="*/ 22 w 68"/>
                  <a:gd name="T17" fmla="*/ 11 h 93"/>
                  <a:gd name="T18" fmla="*/ 17 w 68"/>
                  <a:gd name="T19" fmla="*/ 8 h 93"/>
                  <a:gd name="T20" fmla="*/ 15 w 68"/>
                  <a:gd name="T21" fmla="*/ 21 h 93"/>
                  <a:gd name="T22" fmla="*/ 10 w 68"/>
                  <a:gd name="T23" fmla="*/ 34 h 93"/>
                  <a:gd name="T24" fmla="*/ 8 w 68"/>
                  <a:gd name="T25" fmla="*/ 51 h 93"/>
                  <a:gd name="T26" fmla="*/ 12 w 68"/>
                  <a:gd name="T27" fmla="*/ 64 h 93"/>
                  <a:gd name="T28" fmla="*/ 9 w 68"/>
                  <a:gd name="T29" fmla="*/ 79 h 93"/>
                  <a:gd name="T30" fmla="*/ 31 w 68"/>
                  <a:gd name="T31" fmla="*/ 78 h 93"/>
                  <a:gd name="T32" fmla="*/ 47 w 68"/>
                  <a:gd name="T33" fmla="*/ 79 h 93"/>
                  <a:gd name="T34" fmla="*/ 59 w 68"/>
                  <a:gd name="T35" fmla="*/ 72 h 93"/>
                  <a:gd name="T36" fmla="*/ 57 w 68"/>
                  <a:gd name="T37" fmla="*/ 60 h 93"/>
                  <a:gd name="T38" fmla="*/ 55 w 68"/>
                  <a:gd name="T39" fmla="*/ 42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68" h="93">
                    <a:moveTo>
                      <a:pt x="55" y="42"/>
                    </a:moveTo>
                    <a:cubicBezTo>
                      <a:pt x="55" y="42"/>
                      <a:pt x="64" y="40"/>
                      <a:pt x="54" y="34"/>
                    </a:cubicBezTo>
                    <a:cubicBezTo>
                      <a:pt x="54" y="34"/>
                      <a:pt x="67" y="18"/>
                      <a:pt x="49" y="18"/>
                    </a:cubicBezTo>
                    <a:cubicBezTo>
                      <a:pt x="49" y="18"/>
                      <a:pt x="54" y="11"/>
                      <a:pt x="46" y="8"/>
                    </a:cubicBezTo>
                    <a:cubicBezTo>
                      <a:pt x="46" y="8"/>
                      <a:pt x="39" y="3"/>
                      <a:pt x="37" y="13"/>
                    </a:cubicBezTo>
                    <a:cubicBezTo>
                      <a:pt x="37" y="13"/>
                      <a:pt x="37" y="3"/>
                      <a:pt x="28" y="0"/>
                    </a:cubicBezTo>
                    <a:cubicBezTo>
                      <a:pt x="28" y="0"/>
                      <a:pt x="20" y="1"/>
                      <a:pt x="22" y="11"/>
                    </a:cubicBezTo>
                    <a:cubicBezTo>
                      <a:pt x="23" y="13"/>
                      <a:pt x="23" y="14"/>
                      <a:pt x="23" y="14"/>
                    </a:cubicBezTo>
                    <a:cubicBezTo>
                      <a:pt x="23" y="13"/>
                      <a:pt x="22" y="12"/>
                      <a:pt x="22" y="11"/>
                    </a:cubicBezTo>
                    <a:cubicBezTo>
                      <a:pt x="21" y="9"/>
                      <a:pt x="20" y="7"/>
                      <a:pt x="17" y="8"/>
                    </a:cubicBezTo>
                    <a:cubicBezTo>
                      <a:pt x="17" y="8"/>
                      <a:pt x="11" y="12"/>
                      <a:pt x="15" y="21"/>
                    </a:cubicBezTo>
                    <a:cubicBezTo>
                      <a:pt x="15" y="21"/>
                      <a:pt x="6" y="21"/>
                      <a:pt x="10" y="34"/>
                    </a:cubicBezTo>
                    <a:cubicBezTo>
                      <a:pt x="10" y="34"/>
                      <a:pt x="0" y="39"/>
                      <a:pt x="8" y="51"/>
                    </a:cubicBezTo>
                    <a:cubicBezTo>
                      <a:pt x="8" y="51"/>
                      <a:pt x="2" y="57"/>
                      <a:pt x="12" y="64"/>
                    </a:cubicBezTo>
                    <a:cubicBezTo>
                      <a:pt x="12" y="64"/>
                      <a:pt x="3" y="70"/>
                      <a:pt x="9" y="79"/>
                    </a:cubicBezTo>
                    <a:cubicBezTo>
                      <a:pt x="9" y="79"/>
                      <a:pt x="19" y="93"/>
                      <a:pt x="31" y="78"/>
                    </a:cubicBezTo>
                    <a:cubicBezTo>
                      <a:pt x="31" y="78"/>
                      <a:pt x="34" y="71"/>
                      <a:pt x="47" y="79"/>
                    </a:cubicBezTo>
                    <a:cubicBezTo>
                      <a:pt x="47" y="79"/>
                      <a:pt x="54" y="82"/>
                      <a:pt x="59" y="72"/>
                    </a:cubicBezTo>
                    <a:cubicBezTo>
                      <a:pt x="59" y="72"/>
                      <a:pt x="62" y="64"/>
                      <a:pt x="57" y="60"/>
                    </a:cubicBezTo>
                    <a:cubicBezTo>
                      <a:pt x="57" y="60"/>
                      <a:pt x="68" y="49"/>
                      <a:pt x="55" y="42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91" name="Freeform 284"/>
              <p:cNvSpPr>
                <a:spLocks/>
              </p:cNvSpPr>
              <p:nvPr/>
            </p:nvSpPr>
            <p:spPr bwMode="auto">
              <a:xfrm>
                <a:off x="6413500" y="1471613"/>
                <a:ext cx="103188" cy="182563"/>
              </a:xfrm>
              <a:custGeom>
                <a:avLst/>
                <a:gdLst>
                  <a:gd name="T0" fmla="*/ 33 w 45"/>
                  <a:gd name="T1" fmla="*/ 34 h 80"/>
                  <a:gd name="T2" fmla="*/ 33 w 45"/>
                  <a:gd name="T3" fmla="*/ 18 h 80"/>
                  <a:gd name="T4" fmla="*/ 29 w 45"/>
                  <a:gd name="T5" fmla="*/ 2 h 80"/>
                  <a:gd name="T6" fmla="*/ 18 w 45"/>
                  <a:gd name="T7" fmla="*/ 10 h 80"/>
                  <a:gd name="T8" fmla="*/ 6 w 45"/>
                  <a:gd name="T9" fmla="*/ 14 h 80"/>
                  <a:gd name="T10" fmla="*/ 8 w 45"/>
                  <a:gd name="T11" fmla="*/ 22 h 80"/>
                  <a:gd name="T12" fmla="*/ 7 w 45"/>
                  <a:gd name="T13" fmla="*/ 37 h 80"/>
                  <a:gd name="T14" fmla="*/ 0 w 45"/>
                  <a:gd name="T15" fmla="*/ 47 h 80"/>
                  <a:gd name="T16" fmla="*/ 6 w 45"/>
                  <a:gd name="T17" fmla="*/ 53 h 80"/>
                  <a:gd name="T18" fmla="*/ 14 w 45"/>
                  <a:gd name="T19" fmla="*/ 62 h 80"/>
                  <a:gd name="T20" fmla="*/ 31 w 45"/>
                  <a:gd name="T21" fmla="*/ 61 h 80"/>
                  <a:gd name="T22" fmla="*/ 34 w 45"/>
                  <a:gd name="T23" fmla="*/ 49 h 80"/>
                  <a:gd name="T24" fmla="*/ 33 w 45"/>
                  <a:gd name="T25" fmla="*/ 34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5" h="80">
                    <a:moveTo>
                      <a:pt x="33" y="34"/>
                    </a:moveTo>
                    <a:cubicBezTo>
                      <a:pt x="33" y="34"/>
                      <a:pt x="44" y="28"/>
                      <a:pt x="33" y="18"/>
                    </a:cubicBezTo>
                    <a:cubicBezTo>
                      <a:pt x="33" y="18"/>
                      <a:pt x="38" y="9"/>
                      <a:pt x="29" y="2"/>
                    </a:cubicBezTo>
                    <a:cubicBezTo>
                      <a:pt x="29" y="2"/>
                      <a:pt x="20" y="0"/>
                      <a:pt x="18" y="10"/>
                    </a:cubicBezTo>
                    <a:cubicBezTo>
                      <a:pt x="18" y="10"/>
                      <a:pt x="12" y="3"/>
                      <a:pt x="6" y="14"/>
                    </a:cubicBezTo>
                    <a:cubicBezTo>
                      <a:pt x="6" y="14"/>
                      <a:pt x="5" y="19"/>
                      <a:pt x="8" y="22"/>
                    </a:cubicBezTo>
                    <a:cubicBezTo>
                      <a:pt x="8" y="22"/>
                      <a:pt x="1" y="27"/>
                      <a:pt x="7" y="37"/>
                    </a:cubicBezTo>
                    <a:cubicBezTo>
                      <a:pt x="7" y="37"/>
                      <a:pt x="1" y="35"/>
                      <a:pt x="0" y="47"/>
                    </a:cubicBezTo>
                    <a:cubicBezTo>
                      <a:pt x="0" y="47"/>
                      <a:pt x="0" y="53"/>
                      <a:pt x="6" y="53"/>
                    </a:cubicBezTo>
                    <a:cubicBezTo>
                      <a:pt x="6" y="53"/>
                      <a:pt x="1" y="66"/>
                      <a:pt x="14" y="62"/>
                    </a:cubicBezTo>
                    <a:cubicBezTo>
                      <a:pt x="14" y="62"/>
                      <a:pt x="21" y="80"/>
                      <a:pt x="31" y="61"/>
                    </a:cubicBezTo>
                    <a:cubicBezTo>
                      <a:pt x="31" y="61"/>
                      <a:pt x="43" y="58"/>
                      <a:pt x="34" y="49"/>
                    </a:cubicBezTo>
                    <a:cubicBezTo>
                      <a:pt x="34" y="49"/>
                      <a:pt x="45" y="42"/>
                      <a:pt x="33" y="34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92" name="Freeform 285"/>
              <p:cNvSpPr>
                <a:spLocks/>
              </p:cNvSpPr>
              <p:nvPr/>
            </p:nvSpPr>
            <p:spPr bwMode="auto">
              <a:xfrm>
                <a:off x="6221413" y="1617663"/>
                <a:ext cx="60325" cy="150813"/>
              </a:xfrm>
              <a:custGeom>
                <a:avLst/>
                <a:gdLst>
                  <a:gd name="T0" fmla="*/ 20 w 26"/>
                  <a:gd name="T1" fmla="*/ 4 h 66"/>
                  <a:gd name="T2" fmla="*/ 10 w 26"/>
                  <a:gd name="T3" fmla="*/ 0 h 66"/>
                  <a:gd name="T4" fmla="*/ 0 w 26"/>
                  <a:gd name="T5" fmla="*/ 60 h 66"/>
                  <a:gd name="T6" fmla="*/ 26 w 26"/>
                  <a:gd name="T7" fmla="*/ 60 h 66"/>
                  <a:gd name="T8" fmla="*/ 20 w 26"/>
                  <a:gd name="T9" fmla="*/ 4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" h="66">
                    <a:moveTo>
                      <a:pt x="20" y="4"/>
                    </a:moveTo>
                    <a:cubicBezTo>
                      <a:pt x="20" y="4"/>
                      <a:pt x="20" y="0"/>
                      <a:pt x="10" y="0"/>
                    </a:cubicBezTo>
                    <a:cubicBezTo>
                      <a:pt x="10" y="0"/>
                      <a:pt x="12" y="51"/>
                      <a:pt x="0" y="60"/>
                    </a:cubicBezTo>
                    <a:cubicBezTo>
                      <a:pt x="0" y="60"/>
                      <a:pt x="19" y="66"/>
                      <a:pt x="26" y="60"/>
                    </a:cubicBezTo>
                    <a:cubicBezTo>
                      <a:pt x="26" y="60"/>
                      <a:pt x="16" y="34"/>
                      <a:pt x="20" y="4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93" name="Freeform 286"/>
              <p:cNvSpPr>
                <a:spLocks/>
              </p:cNvSpPr>
              <p:nvPr/>
            </p:nvSpPr>
            <p:spPr bwMode="auto">
              <a:xfrm>
                <a:off x="6203950" y="1379538"/>
                <a:ext cx="95250" cy="114300"/>
              </a:xfrm>
              <a:custGeom>
                <a:avLst/>
                <a:gdLst>
                  <a:gd name="T0" fmla="*/ 31 w 42"/>
                  <a:gd name="T1" fmla="*/ 15 h 50"/>
                  <a:gd name="T2" fmla="*/ 23 w 42"/>
                  <a:gd name="T3" fmla="*/ 0 h 50"/>
                  <a:gd name="T4" fmla="*/ 16 w 42"/>
                  <a:gd name="T5" fmla="*/ 11 h 50"/>
                  <a:gd name="T6" fmla="*/ 12 w 42"/>
                  <a:gd name="T7" fmla="*/ 28 h 50"/>
                  <a:gd name="T8" fmla="*/ 41 w 42"/>
                  <a:gd name="T9" fmla="*/ 20 h 50"/>
                  <a:gd name="T10" fmla="*/ 31 w 42"/>
                  <a:gd name="T11" fmla="*/ 15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2" h="50">
                    <a:moveTo>
                      <a:pt x="31" y="15"/>
                    </a:moveTo>
                    <a:cubicBezTo>
                      <a:pt x="32" y="0"/>
                      <a:pt x="23" y="0"/>
                      <a:pt x="23" y="0"/>
                    </a:cubicBezTo>
                    <a:cubicBezTo>
                      <a:pt x="15" y="1"/>
                      <a:pt x="16" y="11"/>
                      <a:pt x="16" y="11"/>
                    </a:cubicBezTo>
                    <a:cubicBezTo>
                      <a:pt x="0" y="20"/>
                      <a:pt x="12" y="28"/>
                      <a:pt x="12" y="28"/>
                    </a:cubicBezTo>
                    <a:cubicBezTo>
                      <a:pt x="42" y="50"/>
                      <a:pt x="41" y="20"/>
                      <a:pt x="41" y="20"/>
                    </a:cubicBezTo>
                    <a:cubicBezTo>
                      <a:pt x="39" y="10"/>
                      <a:pt x="31" y="15"/>
                      <a:pt x="31" y="15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94" name="Freeform 287"/>
              <p:cNvSpPr>
                <a:spLocks/>
              </p:cNvSpPr>
              <p:nvPr/>
            </p:nvSpPr>
            <p:spPr bwMode="auto">
              <a:xfrm>
                <a:off x="6230938" y="1450975"/>
                <a:ext cx="0" cy="6350"/>
              </a:xfrm>
              <a:custGeom>
                <a:avLst/>
                <a:gdLst>
                  <a:gd name="T0" fmla="*/ 0 h 3"/>
                  <a:gd name="T1" fmla="*/ 3 h 3"/>
                  <a:gd name="T2" fmla="*/ 0 h 3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3">
                    <a:moveTo>
                      <a:pt x="0" y="0"/>
                    </a:moveTo>
                    <a:cubicBezTo>
                      <a:pt x="0" y="1"/>
                      <a:pt x="0" y="2"/>
                      <a:pt x="0" y="3"/>
                    </a:cubicBezTo>
                    <a:cubicBezTo>
                      <a:pt x="0" y="3"/>
                      <a:pt x="0" y="1"/>
                      <a:pt x="0" y="0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95" name="Freeform 288"/>
              <p:cNvSpPr>
                <a:spLocks/>
              </p:cNvSpPr>
              <p:nvPr/>
            </p:nvSpPr>
            <p:spPr bwMode="auto">
              <a:xfrm>
                <a:off x="6180138" y="1425575"/>
                <a:ext cx="153988" cy="212725"/>
              </a:xfrm>
              <a:custGeom>
                <a:avLst/>
                <a:gdLst>
                  <a:gd name="T0" fmla="*/ 55 w 67"/>
                  <a:gd name="T1" fmla="*/ 42 h 93"/>
                  <a:gd name="T2" fmla="*/ 54 w 67"/>
                  <a:gd name="T3" fmla="*/ 34 h 93"/>
                  <a:gd name="T4" fmla="*/ 48 w 67"/>
                  <a:gd name="T5" fmla="*/ 18 h 93"/>
                  <a:gd name="T6" fmla="*/ 46 w 67"/>
                  <a:gd name="T7" fmla="*/ 7 h 93"/>
                  <a:gd name="T8" fmla="*/ 36 w 67"/>
                  <a:gd name="T9" fmla="*/ 12 h 93"/>
                  <a:gd name="T10" fmla="*/ 28 w 67"/>
                  <a:gd name="T11" fmla="*/ 0 h 93"/>
                  <a:gd name="T12" fmla="*/ 22 w 67"/>
                  <a:gd name="T13" fmla="*/ 11 h 93"/>
                  <a:gd name="T14" fmla="*/ 22 w 67"/>
                  <a:gd name="T15" fmla="*/ 14 h 93"/>
                  <a:gd name="T16" fmla="*/ 22 w 67"/>
                  <a:gd name="T17" fmla="*/ 11 h 93"/>
                  <a:gd name="T18" fmla="*/ 17 w 67"/>
                  <a:gd name="T19" fmla="*/ 8 h 93"/>
                  <a:gd name="T20" fmla="*/ 15 w 67"/>
                  <a:gd name="T21" fmla="*/ 21 h 93"/>
                  <a:gd name="T22" fmla="*/ 10 w 67"/>
                  <a:gd name="T23" fmla="*/ 33 h 93"/>
                  <a:gd name="T24" fmla="*/ 7 w 67"/>
                  <a:gd name="T25" fmla="*/ 51 h 93"/>
                  <a:gd name="T26" fmla="*/ 11 w 67"/>
                  <a:gd name="T27" fmla="*/ 64 h 93"/>
                  <a:gd name="T28" fmla="*/ 9 w 67"/>
                  <a:gd name="T29" fmla="*/ 79 h 93"/>
                  <a:gd name="T30" fmla="*/ 30 w 67"/>
                  <a:gd name="T31" fmla="*/ 78 h 93"/>
                  <a:gd name="T32" fmla="*/ 47 w 67"/>
                  <a:gd name="T33" fmla="*/ 79 h 93"/>
                  <a:gd name="T34" fmla="*/ 59 w 67"/>
                  <a:gd name="T35" fmla="*/ 71 h 93"/>
                  <a:gd name="T36" fmla="*/ 57 w 67"/>
                  <a:gd name="T37" fmla="*/ 59 h 93"/>
                  <a:gd name="T38" fmla="*/ 55 w 67"/>
                  <a:gd name="T39" fmla="*/ 42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67" h="93">
                    <a:moveTo>
                      <a:pt x="55" y="42"/>
                    </a:moveTo>
                    <a:cubicBezTo>
                      <a:pt x="55" y="42"/>
                      <a:pt x="64" y="40"/>
                      <a:pt x="54" y="34"/>
                    </a:cubicBezTo>
                    <a:cubicBezTo>
                      <a:pt x="54" y="34"/>
                      <a:pt x="66" y="18"/>
                      <a:pt x="48" y="18"/>
                    </a:cubicBezTo>
                    <a:cubicBezTo>
                      <a:pt x="48" y="18"/>
                      <a:pt x="53" y="11"/>
                      <a:pt x="46" y="7"/>
                    </a:cubicBezTo>
                    <a:cubicBezTo>
                      <a:pt x="46" y="7"/>
                      <a:pt x="38" y="3"/>
                      <a:pt x="36" y="12"/>
                    </a:cubicBezTo>
                    <a:cubicBezTo>
                      <a:pt x="36" y="12"/>
                      <a:pt x="37" y="3"/>
                      <a:pt x="28" y="0"/>
                    </a:cubicBezTo>
                    <a:cubicBezTo>
                      <a:pt x="28" y="0"/>
                      <a:pt x="20" y="1"/>
                      <a:pt x="22" y="11"/>
                    </a:cubicBezTo>
                    <a:cubicBezTo>
                      <a:pt x="22" y="12"/>
                      <a:pt x="22" y="14"/>
                      <a:pt x="22" y="14"/>
                    </a:cubicBezTo>
                    <a:cubicBezTo>
                      <a:pt x="22" y="13"/>
                      <a:pt x="22" y="12"/>
                      <a:pt x="22" y="11"/>
                    </a:cubicBezTo>
                    <a:cubicBezTo>
                      <a:pt x="21" y="9"/>
                      <a:pt x="19" y="7"/>
                      <a:pt x="17" y="8"/>
                    </a:cubicBezTo>
                    <a:cubicBezTo>
                      <a:pt x="17" y="8"/>
                      <a:pt x="11" y="12"/>
                      <a:pt x="15" y="21"/>
                    </a:cubicBezTo>
                    <a:cubicBezTo>
                      <a:pt x="15" y="21"/>
                      <a:pt x="6" y="21"/>
                      <a:pt x="10" y="33"/>
                    </a:cubicBezTo>
                    <a:cubicBezTo>
                      <a:pt x="10" y="33"/>
                      <a:pt x="0" y="39"/>
                      <a:pt x="7" y="51"/>
                    </a:cubicBezTo>
                    <a:cubicBezTo>
                      <a:pt x="7" y="51"/>
                      <a:pt x="2" y="56"/>
                      <a:pt x="11" y="64"/>
                    </a:cubicBezTo>
                    <a:cubicBezTo>
                      <a:pt x="11" y="64"/>
                      <a:pt x="3" y="69"/>
                      <a:pt x="9" y="79"/>
                    </a:cubicBezTo>
                    <a:cubicBezTo>
                      <a:pt x="9" y="79"/>
                      <a:pt x="18" y="93"/>
                      <a:pt x="30" y="78"/>
                    </a:cubicBezTo>
                    <a:cubicBezTo>
                      <a:pt x="30" y="78"/>
                      <a:pt x="34" y="71"/>
                      <a:pt x="47" y="79"/>
                    </a:cubicBezTo>
                    <a:cubicBezTo>
                      <a:pt x="47" y="79"/>
                      <a:pt x="54" y="82"/>
                      <a:pt x="59" y="71"/>
                    </a:cubicBezTo>
                    <a:cubicBezTo>
                      <a:pt x="59" y="71"/>
                      <a:pt x="62" y="64"/>
                      <a:pt x="57" y="59"/>
                    </a:cubicBezTo>
                    <a:cubicBezTo>
                      <a:pt x="57" y="59"/>
                      <a:pt x="67" y="49"/>
                      <a:pt x="55" y="42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96" name="Freeform 289"/>
              <p:cNvSpPr>
                <a:spLocks/>
              </p:cNvSpPr>
              <p:nvPr/>
            </p:nvSpPr>
            <p:spPr bwMode="auto">
              <a:xfrm>
                <a:off x="6208713" y="1484313"/>
                <a:ext cx="101600" cy="185738"/>
              </a:xfrm>
              <a:custGeom>
                <a:avLst/>
                <a:gdLst>
                  <a:gd name="T0" fmla="*/ 34 w 45"/>
                  <a:gd name="T1" fmla="*/ 35 h 81"/>
                  <a:gd name="T2" fmla="*/ 34 w 45"/>
                  <a:gd name="T3" fmla="*/ 19 h 81"/>
                  <a:gd name="T4" fmla="*/ 29 w 45"/>
                  <a:gd name="T5" fmla="*/ 3 h 81"/>
                  <a:gd name="T6" fmla="*/ 18 w 45"/>
                  <a:gd name="T7" fmla="*/ 11 h 81"/>
                  <a:gd name="T8" fmla="*/ 7 w 45"/>
                  <a:gd name="T9" fmla="*/ 15 h 81"/>
                  <a:gd name="T10" fmla="*/ 9 w 45"/>
                  <a:gd name="T11" fmla="*/ 23 h 81"/>
                  <a:gd name="T12" fmla="*/ 7 w 45"/>
                  <a:gd name="T13" fmla="*/ 37 h 81"/>
                  <a:gd name="T14" fmla="*/ 0 w 45"/>
                  <a:gd name="T15" fmla="*/ 48 h 81"/>
                  <a:gd name="T16" fmla="*/ 6 w 45"/>
                  <a:gd name="T17" fmla="*/ 53 h 81"/>
                  <a:gd name="T18" fmla="*/ 15 w 45"/>
                  <a:gd name="T19" fmla="*/ 63 h 81"/>
                  <a:gd name="T20" fmla="*/ 32 w 45"/>
                  <a:gd name="T21" fmla="*/ 62 h 81"/>
                  <a:gd name="T22" fmla="*/ 35 w 45"/>
                  <a:gd name="T23" fmla="*/ 50 h 81"/>
                  <a:gd name="T24" fmla="*/ 34 w 45"/>
                  <a:gd name="T25" fmla="*/ 35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5" h="81">
                    <a:moveTo>
                      <a:pt x="34" y="35"/>
                    </a:moveTo>
                    <a:cubicBezTo>
                      <a:pt x="34" y="35"/>
                      <a:pt x="45" y="29"/>
                      <a:pt x="34" y="19"/>
                    </a:cubicBezTo>
                    <a:cubicBezTo>
                      <a:pt x="34" y="19"/>
                      <a:pt x="39" y="10"/>
                      <a:pt x="29" y="3"/>
                    </a:cubicBezTo>
                    <a:cubicBezTo>
                      <a:pt x="29" y="3"/>
                      <a:pt x="21" y="0"/>
                      <a:pt x="18" y="11"/>
                    </a:cubicBezTo>
                    <a:cubicBezTo>
                      <a:pt x="18" y="11"/>
                      <a:pt x="13" y="4"/>
                      <a:pt x="7" y="15"/>
                    </a:cubicBezTo>
                    <a:cubicBezTo>
                      <a:pt x="7" y="15"/>
                      <a:pt x="5" y="20"/>
                      <a:pt x="9" y="23"/>
                    </a:cubicBezTo>
                    <a:cubicBezTo>
                      <a:pt x="9" y="23"/>
                      <a:pt x="1" y="27"/>
                      <a:pt x="7" y="37"/>
                    </a:cubicBezTo>
                    <a:cubicBezTo>
                      <a:pt x="7" y="37"/>
                      <a:pt x="1" y="36"/>
                      <a:pt x="0" y="48"/>
                    </a:cubicBezTo>
                    <a:cubicBezTo>
                      <a:pt x="0" y="48"/>
                      <a:pt x="1" y="54"/>
                      <a:pt x="6" y="53"/>
                    </a:cubicBezTo>
                    <a:cubicBezTo>
                      <a:pt x="6" y="53"/>
                      <a:pt x="2" y="67"/>
                      <a:pt x="15" y="63"/>
                    </a:cubicBezTo>
                    <a:cubicBezTo>
                      <a:pt x="15" y="63"/>
                      <a:pt x="21" y="81"/>
                      <a:pt x="32" y="62"/>
                    </a:cubicBezTo>
                    <a:cubicBezTo>
                      <a:pt x="32" y="62"/>
                      <a:pt x="44" y="59"/>
                      <a:pt x="35" y="50"/>
                    </a:cubicBezTo>
                    <a:cubicBezTo>
                      <a:pt x="35" y="50"/>
                      <a:pt x="45" y="43"/>
                      <a:pt x="34" y="35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sp>
          <p:nvSpPr>
            <p:cNvPr id="97" name="Freeform 290"/>
            <p:cNvSpPr>
              <a:spLocks/>
            </p:cNvSpPr>
            <p:nvPr/>
          </p:nvSpPr>
          <p:spPr bwMode="auto">
            <a:xfrm>
              <a:off x="6107113" y="1484313"/>
              <a:ext cx="3038475" cy="660400"/>
            </a:xfrm>
            <a:custGeom>
              <a:avLst/>
              <a:gdLst>
                <a:gd name="T0" fmla="*/ 1329 w 1329"/>
                <a:gd name="T1" fmla="*/ 51 h 288"/>
                <a:gd name="T2" fmla="*/ 0 w 1329"/>
                <a:gd name="T3" fmla="*/ 288 h 288"/>
                <a:gd name="T4" fmla="*/ 1329 w 1329"/>
                <a:gd name="T5" fmla="*/ 288 h 288"/>
                <a:gd name="T6" fmla="*/ 1329 w 1329"/>
                <a:gd name="T7" fmla="*/ 51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29" h="288">
                  <a:moveTo>
                    <a:pt x="1329" y="51"/>
                  </a:moveTo>
                  <a:cubicBezTo>
                    <a:pt x="1329" y="51"/>
                    <a:pt x="376" y="0"/>
                    <a:pt x="0" y="288"/>
                  </a:cubicBezTo>
                  <a:cubicBezTo>
                    <a:pt x="1329" y="288"/>
                    <a:pt x="1329" y="288"/>
                    <a:pt x="1329" y="288"/>
                  </a:cubicBezTo>
                  <a:lnTo>
                    <a:pt x="1329" y="51"/>
                  </a:lnTo>
                  <a:close/>
                </a:path>
              </a:pathLst>
            </a:custGeom>
            <a:solidFill>
              <a:srgbClr val="5EC3A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" name="Freeform 291"/>
            <p:cNvSpPr>
              <a:spLocks/>
            </p:cNvSpPr>
            <p:nvPr/>
          </p:nvSpPr>
          <p:spPr bwMode="auto">
            <a:xfrm>
              <a:off x="7850188" y="123825"/>
              <a:ext cx="931863" cy="563563"/>
            </a:xfrm>
            <a:custGeom>
              <a:avLst/>
              <a:gdLst>
                <a:gd name="T0" fmla="*/ 0 w 408"/>
                <a:gd name="T1" fmla="*/ 183 h 246"/>
                <a:gd name="T2" fmla="*/ 63 w 408"/>
                <a:gd name="T3" fmla="*/ 119 h 246"/>
                <a:gd name="T4" fmla="*/ 82 w 408"/>
                <a:gd name="T5" fmla="*/ 122 h 246"/>
                <a:gd name="T6" fmla="*/ 141 w 408"/>
                <a:gd name="T7" fmla="*/ 67 h 246"/>
                <a:gd name="T8" fmla="*/ 173 w 408"/>
                <a:gd name="T9" fmla="*/ 76 h 246"/>
                <a:gd name="T10" fmla="*/ 254 w 408"/>
                <a:gd name="T11" fmla="*/ 0 h 246"/>
                <a:gd name="T12" fmla="*/ 334 w 408"/>
                <a:gd name="T13" fmla="*/ 80 h 246"/>
                <a:gd name="T14" fmla="*/ 321 w 408"/>
                <a:gd name="T15" fmla="*/ 124 h 246"/>
                <a:gd name="T16" fmla="*/ 344 w 408"/>
                <a:gd name="T17" fmla="*/ 119 h 246"/>
                <a:gd name="T18" fmla="*/ 408 w 408"/>
                <a:gd name="T19" fmla="*/ 183 h 246"/>
                <a:gd name="T20" fmla="*/ 344 w 408"/>
                <a:gd name="T21" fmla="*/ 246 h 246"/>
                <a:gd name="T22" fmla="*/ 343 w 408"/>
                <a:gd name="T23" fmla="*/ 246 h 246"/>
                <a:gd name="T24" fmla="*/ 343 w 408"/>
                <a:gd name="T25" fmla="*/ 246 h 246"/>
                <a:gd name="T26" fmla="*/ 59 w 408"/>
                <a:gd name="T27" fmla="*/ 246 h 246"/>
                <a:gd name="T28" fmla="*/ 59 w 408"/>
                <a:gd name="T29" fmla="*/ 246 h 246"/>
                <a:gd name="T30" fmla="*/ 0 w 408"/>
                <a:gd name="T31" fmla="*/ 183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08" h="246">
                  <a:moveTo>
                    <a:pt x="0" y="183"/>
                  </a:moveTo>
                  <a:cubicBezTo>
                    <a:pt x="0" y="148"/>
                    <a:pt x="28" y="119"/>
                    <a:pt x="63" y="119"/>
                  </a:cubicBezTo>
                  <a:cubicBezTo>
                    <a:pt x="70" y="119"/>
                    <a:pt x="76" y="121"/>
                    <a:pt x="82" y="122"/>
                  </a:cubicBezTo>
                  <a:cubicBezTo>
                    <a:pt x="84" y="91"/>
                    <a:pt x="110" y="67"/>
                    <a:pt x="141" y="67"/>
                  </a:cubicBezTo>
                  <a:cubicBezTo>
                    <a:pt x="153" y="67"/>
                    <a:pt x="164" y="70"/>
                    <a:pt x="173" y="76"/>
                  </a:cubicBezTo>
                  <a:cubicBezTo>
                    <a:pt x="175" y="34"/>
                    <a:pt x="210" y="0"/>
                    <a:pt x="254" y="0"/>
                  </a:cubicBezTo>
                  <a:cubicBezTo>
                    <a:pt x="298" y="0"/>
                    <a:pt x="334" y="36"/>
                    <a:pt x="334" y="80"/>
                  </a:cubicBezTo>
                  <a:cubicBezTo>
                    <a:pt x="334" y="96"/>
                    <a:pt x="330" y="111"/>
                    <a:pt x="321" y="124"/>
                  </a:cubicBezTo>
                  <a:cubicBezTo>
                    <a:pt x="329" y="121"/>
                    <a:pt x="336" y="119"/>
                    <a:pt x="344" y="119"/>
                  </a:cubicBezTo>
                  <a:cubicBezTo>
                    <a:pt x="379" y="119"/>
                    <a:pt x="408" y="148"/>
                    <a:pt x="408" y="183"/>
                  </a:cubicBezTo>
                  <a:cubicBezTo>
                    <a:pt x="408" y="218"/>
                    <a:pt x="379" y="246"/>
                    <a:pt x="344" y="246"/>
                  </a:cubicBezTo>
                  <a:cubicBezTo>
                    <a:pt x="344" y="246"/>
                    <a:pt x="343" y="246"/>
                    <a:pt x="343" y="246"/>
                  </a:cubicBezTo>
                  <a:cubicBezTo>
                    <a:pt x="343" y="246"/>
                    <a:pt x="343" y="246"/>
                    <a:pt x="343" y="246"/>
                  </a:cubicBezTo>
                  <a:cubicBezTo>
                    <a:pt x="59" y="246"/>
                    <a:pt x="59" y="246"/>
                    <a:pt x="59" y="246"/>
                  </a:cubicBezTo>
                  <a:cubicBezTo>
                    <a:pt x="59" y="246"/>
                    <a:pt x="59" y="246"/>
                    <a:pt x="59" y="246"/>
                  </a:cubicBezTo>
                  <a:cubicBezTo>
                    <a:pt x="26" y="244"/>
                    <a:pt x="0" y="217"/>
                    <a:pt x="0" y="183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" name="Freeform 292"/>
            <p:cNvSpPr>
              <a:spLocks/>
            </p:cNvSpPr>
            <p:nvPr/>
          </p:nvSpPr>
          <p:spPr bwMode="auto">
            <a:xfrm>
              <a:off x="8634413" y="687388"/>
              <a:ext cx="1588" cy="0"/>
            </a:xfrm>
            <a:custGeom>
              <a:avLst/>
              <a:gdLst>
                <a:gd name="T0" fmla="*/ 1 w 1"/>
                <a:gd name="T1" fmla="*/ 0 w 1"/>
                <a:gd name="T2" fmla="*/ 1 w 1"/>
                <a:gd name="T3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1975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" name="Freeform 293"/>
            <p:cNvSpPr>
              <a:spLocks/>
            </p:cNvSpPr>
            <p:nvPr/>
          </p:nvSpPr>
          <p:spPr bwMode="auto">
            <a:xfrm>
              <a:off x="7527925" y="366713"/>
              <a:ext cx="706438" cy="428625"/>
            </a:xfrm>
            <a:custGeom>
              <a:avLst/>
              <a:gdLst>
                <a:gd name="T0" fmla="*/ 0 w 309"/>
                <a:gd name="T1" fmla="*/ 139 h 187"/>
                <a:gd name="T2" fmla="*/ 48 w 309"/>
                <a:gd name="T3" fmla="*/ 91 h 187"/>
                <a:gd name="T4" fmla="*/ 63 w 309"/>
                <a:gd name="T5" fmla="*/ 93 h 187"/>
                <a:gd name="T6" fmla="*/ 108 w 309"/>
                <a:gd name="T7" fmla="*/ 51 h 187"/>
                <a:gd name="T8" fmla="*/ 132 w 309"/>
                <a:gd name="T9" fmla="*/ 58 h 187"/>
                <a:gd name="T10" fmla="*/ 193 w 309"/>
                <a:gd name="T11" fmla="*/ 0 h 187"/>
                <a:gd name="T12" fmla="*/ 254 w 309"/>
                <a:gd name="T13" fmla="*/ 61 h 187"/>
                <a:gd name="T14" fmla="*/ 244 w 309"/>
                <a:gd name="T15" fmla="*/ 94 h 187"/>
                <a:gd name="T16" fmla="*/ 261 w 309"/>
                <a:gd name="T17" fmla="*/ 91 h 187"/>
                <a:gd name="T18" fmla="*/ 309 w 309"/>
                <a:gd name="T19" fmla="*/ 139 h 187"/>
                <a:gd name="T20" fmla="*/ 261 w 309"/>
                <a:gd name="T21" fmla="*/ 187 h 187"/>
                <a:gd name="T22" fmla="*/ 260 w 309"/>
                <a:gd name="T23" fmla="*/ 187 h 187"/>
                <a:gd name="T24" fmla="*/ 260 w 309"/>
                <a:gd name="T25" fmla="*/ 187 h 187"/>
                <a:gd name="T26" fmla="*/ 45 w 309"/>
                <a:gd name="T27" fmla="*/ 187 h 187"/>
                <a:gd name="T28" fmla="*/ 46 w 309"/>
                <a:gd name="T29" fmla="*/ 187 h 187"/>
                <a:gd name="T30" fmla="*/ 0 w 309"/>
                <a:gd name="T31" fmla="*/ 139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09" h="187">
                  <a:moveTo>
                    <a:pt x="0" y="139"/>
                  </a:moveTo>
                  <a:cubicBezTo>
                    <a:pt x="0" y="112"/>
                    <a:pt x="22" y="91"/>
                    <a:pt x="48" y="91"/>
                  </a:cubicBezTo>
                  <a:cubicBezTo>
                    <a:pt x="53" y="91"/>
                    <a:pt x="58" y="92"/>
                    <a:pt x="63" y="93"/>
                  </a:cubicBezTo>
                  <a:cubicBezTo>
                    <a:pt x="64" y="69"/>
                    <a:pt x="84" y="51"/>
                    <a:pt x="108" y="51"/>
                  </a:cubicBezTo>
                  <a:cubicBezTo>
                    <a:pt x="117" y="51"/>
                    <a:pt x="125" y="53"/>
                    <a:pt x="132" y="58"/>
                  </a:cubicBezTo>
                  <a:cubicBezTo>
                    <a:pt x="134" y="26"/>
                    <a:pt x="160" y="0"/>
                    <a:pt x="193" y="0"/>
                  </a:cubicBezTo>
                  <a:cubicBezTo>
                    <a:pt x="227" y="0"/>
                    <a:pt x="254" y="27"/>
                    <a:pt x="254" y="61"/>
                  </a:cubicBezTo>
                  <a:cubicBezTo>
                    <a:pt x="254" y="73"/>
                    <a:pt x="250" y="84"/>
                    <a:pt x="244" y="94"/>
                  </a:cubicBezTo>
                  <a:cubicBezTo>
                    <a:pt x="250" y="92"/>
                    <a:pt x="255" y="91"/>
                    <a:pt x="261" y="91"/>
                  </a:cubicBezTo>
                  <a:cubicBezTo>
                    <a:pt x="288" y="91"/>
                    <a:pt x="309" y="112"/>
                    <a:pt x="309" y="139"/>
                  </a:cubicBezTo>
                  <a:cubicBezTo>
                    <a:pt x="309" y="165"/>
                    <a:pt x="288" y="187"/>
                    <a:pt x="261" y="187"/>
                  </a:cubicBezTo>
                  <a:cubicBezTo>
                    <a:pt x="261" y="187"/>
                    <a:pt x="261" y="187"/>
                    <a:pt x="260" y="187"/>
                  </a:cubicBezTo>
                  <a:cubicBezTo>
                    <a:pt x="260" y="187"/>
                    <a:pt x="260" y="187"/>
                    <a:pt x="260" y="187"/>
                  </a:cubicBezTo>
                  <a:cubicBezTo>
                    <a:pt x="45" y="187"/>
                    <a:pt x="45" y="187"/>
                    <a:pt x="45" y="187"/>
                  </a:cubicBezTo>
                  <a:cubicBezTo>
                    <a:pt x="46" y="187"/>
                    <a:pt x="46" y="187"/>
                    <a:pt x="46" y="187"/>
                  </a:cubicBezTo>
                  <a:cubicBezTo>
                    <a:pt x="20" y="185"/>
                    <a:pt x="0" y="164"/>
                    <a:pt x="0" y="139"/>
                  </a:cubicBezTo>
                  <a:close/>
                </a:path>
              </a:pathLst>
            </a:custGeom>
            <a:solidFill>
              <a:srgbClr val="F8FC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" name="Freeform 294"/>
            <p:cNvSpPr>
              <a:spLocks/>
            </p:cNvSpPr>
            <p:nvPr/>
          </p:nvSpPr>
          <p:spPr bwMode="auto">
            <a:xfrm>
              <a:off x="8121650" y="795338"/>
              <a:ext cx="3175" cy="0"/>
            </a:xfrm>
            <a:custGeom>
              <a:avLst/>
              <a:gdLst>
                <a:gd name="T0" fmla="*/ 2 w 2"/>
                <a:gd name="T1" fmla="*/ 0 w 2"/>
                <a:gd name="T2" fmla="*/ 2 w 2"/>
                <a:gd name="T3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8FC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" name="Freeform 295"/>
            <p:cNvSpPr>
              <a:spLocks/>
            </p:cNvSpPr>
            <p:nvPr/>
          </p:nvSpPr>
          <p:spPr bwMode="auto">
            <a:xfrm>
              <a:off x="3851275" y="1308100"/>
              <a:ext cx="26988" cy="454025"/>
            </a:xfrm>
            <a:custGeom>
              <a:avLst/>
              <a:gdLst>
                <a:gd name="T0" fmla="*/ 0 w 17"/>
                <a:gd name="T1" fmla="*/ 286 h 286"/>
                <a:gd name="T2" fmla="*/ 17 w 17"/>
                <a:gd name="T3" fmla="*/ 286 h 286"/>
                <a:gd name="T4" fmla="*/ 11 w 17"/>
                <a:gd name="T5" fmla="*/ 0 h 286"/>
                <a:gd name="T6" fmla="*/ 5 w 17"/>
                <a:gd name="T7" fmla="*/ 0 h 286"/>
                <a:gd name="T8" fmla="*/ 0 w 17"/>
                <a:gd name="T9" fmla="*/ 286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286">
                  <a:moveTo>
                    <a:pt x="0" y="286"/>
                  </a:moveTo>
                  <a:lnTo>
                    <a:pt x="17" y="286"/>
                  </a:lnTo>
                  <a:lnTo>
                    <a:pt x="11" y="0"/>
                  </a:lnTo>
                  <a:lnTo>
                    <a:pt x="5" y="0"/>
                  </a:lnTo>
                  <a:lnTo>
                    <a:pt x="0" y="28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" name="Oval 296"/>
            <p:cNvSpPr>
              <a:spLocks noChangeArrowheads="1"/>
            </p:cNvSpPr>
            <p:nvPr/>
          </p:nvSpPr>
          <p:spPr bwMode="auto">
            <a:xfrm>
              <a:off x="3848100" y="1281113"/>
              <a:ext cx="31750" cy="3175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" name="Freeform 297"/>
            <p:cNvSpPr>
              <a:spLocks/>
            </p:cNvSpPr>
            <p:nvPr/>
          </p:nvSpPr>
          <p:spPr bwMode="auto">
            <a:xfrm>
              <a:off x="3857625" y="1055688"/>
              <a:ext cx="14288" cy="225425"/>
            </a:xfrm>
            <a:custGeom>
              <a:avLst/>
              <a:gdLst>
                <a:gd name="T0" fmla="*/ 9 w 9"/>
                <a:gd name="T1" fmla="*/ 71 h 142"/>
                <a:gd name="T2" fmla="*/ 7 w 9"/>
                <a:gd name="T3" fmla="*/ 142 h 142"/>
                <a:gd name="T4" fmla="*/ 4 w 9"/>
                <a:gd name="T5" fmla="*/ 142 h 142"/>
                <a:gd name="T6" fmla="*/ 1 w 9"/>
                <a:gd name="T7" fmla="*/ 142 h 142"/>
                <a:gd name="T8" fmla="*/ 0 w 9"/>
                <a:gd name="T9" fmla="*/ 71 h 142"/>
                <a:gd name="T10" fmla="*/ 4 w 9"/>
                <a:gd name="T11" fmla="*/ 0 h 142"/>
                <a:gd name="T12" fmla="*/ 9 w 9"/>
                <a:gd name="T13" fmla="*/ 71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42">
                  <a:moveTo>
                    <a:pt x="9" y="71"/>
                  </a:moveTo>
                  <a:lnTo>
                    <a:pt x="7" y="142"/>
                  </a:lnTo>
                  <a:lnTo>
                    <a:pt x="4" y="142"/>
                  </a:lnTo>
                  <a:lnTo>
                    <a:pt x="1" y="142"/>
                  </a:lnTo>
                  <a:lnTo>
                    <a:pt x="0" y="71"/>
                  </a:lnTo>
                  <a:lnTo>
                    <a:pt x="4" y="0"/>
                  </a:lnTo>
                  <a:lnTo>
                    <a:pt x="9" y="7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" name="Freeform 298"/>
            <p:cNvSpPr>
              <a:spLocks/>
            </p:cNvSpPr>
            <p:nvPr/>
          </p:nvSpPr>
          <p:spPr bwMode="auto">
            <a:xfrm>
              <a:off x="3659188" y="1301750"/>
              <a:ext cx="193675" cy="114300"/>
            </a:xfrm>
            <a:custGeom>
              <a:avLst/>
              <a:gdLst>
                <a:gd name="T0" fmla="*/ 57 w 122"/>
                <a:gd name="T1" fmla="*/ 33 h 72"/>
                <a:gd name="T2" fmla="*/ 119 w 122"/>
                <a:gd name="T3" fmla="*/ 0 h 72"/>
                <a:gd name="T4" fmla="*/ 121 w 122"/>
                <a:gd name="T5" fmla="*/ 1 h 72"/>
                <a:gd name="T6" fmla="*/ 122 w 122"/>
                <a:gd name="T7" fmla="*/ 4 h 72"/>
                <a:gd name="T8" fmla="*/ 62 w 122"/>
                <a:gd name="T9" fmla="*/ 40 h 72"/>
                <a:gd name="T10" fmla="*/ 0 w 122"/>
                <a:gd name="T11" fmla="*/ 72 h 72"/>
                <a:gd name="T12" fmla="*/ 57 w 122"/>
                <a:gd name="T13" fmla="*/ 33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2" h="72">
                  <a:moveTo>
                    <a:pt x="57" y="33"/>
                  </a:moveTo>
                  <a:lnTo>
                    <a:pt x="119" y="0"/>
                  </a:lnTo>
                  <a:lnTo>
                    <a:pt x="121" y="1"/>
                  </a:lnTo>
                  <a:lnTo>
                    <a:pt x="122" y="4"/>
                  </a:lnTo>
                  <a:lnTo>
                    <a:pt x="62" y="40"/>
                  </a:lnTo>
                  <a:lnTo>
                    <a:pt x="0" y="72"/>
                  </a:lnTo>
                  <a:lnTo>
                    <a:pt x="57" y="3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" name="Freeform 299"/>
            <p:cNvSpPr>
              <a:spLocks/>
            </p:cNvSpPr>
            <p:nvPr/>
          </p:nvSpPr>
          <p:spPr bwMode="auto">
            <a:xfrm>
              <a:off x="3875088" y="1301750"/>
              <a:ext cx="195263" cy="114300"/>
            </a:xfrm>
            <a:custGeom>
              <a:avLst/>
              <a:gdLst>
                <a:gd name="T0" fmla="*/ 59 w 123"/>
                <a:gd name="T1" fmla="*/ 40 h 72"/>
                <a:gd name="T2" fmla="*/ 0 w 123"/>
                <a:gd name="T3" fmla="*/ 4 h 72"/>
                <a:gd name="T4" fmla="*/ 2 w 123"/>
                <a:gd name="T5" fmla="*/ 1 h 72"/>
                <a:gd name="T6" fmla="*/ 2 w 123"/>
                <a:gd name="T7" fmla="*/ 0 h 72"/>
                <a:gd name="T8" fmla="*/ 65 w 123"/>
                <a:gd name="T9" fmla="*/ 33 h 72"/>
                <a:gd name="T10" fmla="*/ 123 w 123"/>
                <a:gd name="T11" fmla="*/ 72 h 72"/>
                <a:gd name="T12" fmla="*/ 59 w 123"/>
                <a:gd name="T13" fmla="*/ 4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3" h="72">
                  <a:moveTo>
                    <a:pt x="59" y="40"/>
                  </a:moveTo>
                  <a:lnTo>
                    <a:pt x="0" y="4"/>
                  </a:lnTo>
                  <a:lnTo>
                    <a:pt x="2" y="1"/>
                  </a:lnTo>
                  <a:lnTo>
                    <a:pt x="2" y="0"/>
                  </a:lnTo>
                  <a:lnTo>
                    <a:pt x="65" y="33"/>
                  </a:lnTo>
                  <a:lnTo>
                    <a:pt x="123" y="72"/>
                  </a:lnTo>
                  <a:lnTo>
                    <a:pt x="59" y="4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" name="Freeform 300"/>
            <p:cNvSpPr>
              <a:spLocks/>
            </p:cNvSpPr>
            <p:nvPr/>
          </p:nvSpPr>
          <p:spPr bwMode="auto">
            <a:xfrm>
              <a:off x="3716338" y="1528763"/>
              <a:ext cx="12700" cy="233363"/>
            </a:xfrm>
            <a:custGeom>
              <a:avLst/>
              <a:gdLst>
                <a:gd name="T0" fmla="*/ 0 w 8"/>
                <a:gd name="T1" fmla="*/ 147 h 147"/>
                <a:gd name="T2" fmla="*/ 8 w 8"/>
                <a:gd name="T3" fmla="*/ 147 h 147"/>
                <a:gd name="T4" fmla="*/ 5 w 8"/>
                <a:gd name="T5" fmla="*/ 0 h 147"/>
                <a:gd name="T6" fmla="*/ 2 w 8"/>
                <a:gd name="T7" fmla="*/ 0 h 147"/>
                <a:gd name="T8" fmla="*/ 0 w 8"/>
                <a:gd name="T9" fmla="*/ 147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47">
                  <a:moveTo>
                    <a:pt x="0" y="147"/>
                  </a:moveTo>
                  <a:lnTo>
                    <a:pt x="8" y="147"/>
                  </a:lnTo>
                  <a:lnTo>
                    <a:pt x="5" y="0"/>
                  </a:lnTo>
                  <a:lnTo>
                    <a:pt x="2" y="0"/>
                  </a:lnTo>
                  <a:lnTo>
                    <a:pt x="0" y="14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" name="Oval 301"/>
            <p:cNvSpPr>
              <a:spLocks noChangeArrowheads="1"/>
            </p:cNvSpPr>
            <p:nvPr/>
          </p:nvSpPr>
          <p:spPr bwMode="auto">
            <a:xfrm>
              <a:off x="3716338" y="1514475"/>
              <a:ext cx="15875" cy="15875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9" name="Freeform 302"/>
            <p:cNvSpPr>
              <a:spLocks/>
            </p:cNvSpPr>
            <p:nvPr/>
          </p:nvSpPr>
          <p:spPr bwMode="auto">
            <a:xfrm>
              <a:off x="3717925" y="1397000"/>
              <a:ext cx="9525" cy="117475"/>
            </a:xfrm>
            <a:custGeom>
              <a:avLst/>
              <a:gdLst>
                <a:gd name="T0" fmla="*/ 6 w 6"/>
                <a:gd name="T1" fmla="*/ 37 h 74"/>
                <a:gd name="T2" fmla="*/ 4 w 6"/>
                <a:gd name="T3" fmla="*/ 74 h 74"/>
                <a:gd name="T4" fmla="*/ 3 w 6"/>
                <a:gd name="T5" fmla="*/ 74 h 74"/>
                <a:gd name="T6" fmla="*/ 1 w 6"/>
                <a:gd name="T7" fmla="*/ 74 h 74"/>
                <a:gd name="T8" fmla="*/ 0 w 6"/>
                <a:gd name="T9" fmla="*/ 37 h 74"/>
                <a:gd name="T10" fmla="*/ 3 w 6"/>
                <a:gd name="T11" fmla="*/ 0 h 74"/>
                <a:gd name="T12" fmla="*/ 6 w 6"/>
                <a:gd name="T13" fmla="*/ 37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74">
                  <a:moveTo>
                    <a:pt x="6" y="37"/>
                  </a:moveTo>
                  <a:lnTo>
                    <a:pt x="4" y="74"/>
                  </a:lnTo>
                  <a:lnTo>
                    <a:pt x="3" y="74"/>
                  </a:lnTo>
                  <a:lnTo>
                    <a:pt x="1" y="74"/>
                  </a:lnTo>
                  <a:lnTo>
                    <a:pt x="0" y="37"/>
                  </a:lnTo>
                  <a:lnTo>
                    <a:pt x="3" y="0"/>
                  </a:lnTo>
                  <a:lnTo>
                    <a:pt x="6" y="3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0" name="Freeform 303"/>
            <p:cNvSpPr>
              <a:spLocks/>
            </p:cNvSpPr>
            <p:nvPr/>
          </p:nvSpPr>
          <p:spPr bwMode="auto">
            <a:xfrm>
              <a:off x="3614738" y="1524000"/>
              <a:ext cx="103188" cy="58738"/>
            </a:xfrm>
            <a:custGeom>
              <a:avLst/>
              <a:gdLst>
                <a:gd name="T0" fmla="*/ 30 w 65"/>
                <a:gd name="T1" fmla="*/ 17 h 37"/>
                <a:gd name="T2" fmla="*/ 64 w 65"/>
                <a:gd name="T3" fmla="*/ 0 h 37"/>
                <a:gd name="T4" fmla="*/ 64 w 65"/>
                <a:gd name="T5" fmla="*/ 1 h 37"/>
                <a:gd name="T6" fmla="*/ 65 w 65"/>
                <a:gd name="T7" fmla="*/ 3 h 37"/>
                <a:gd name="T8" fmla="*/ 33 w 65"/>
                <a:gd name="T9" fmla="*/ 21 h 37"/>
                <a:gd name="T10" fmla="*/ 0 w 65"/>
                <a:gd name="T11" fmla="*/ 37 h 37"/>
                <a:gd name="T12" fmla="*/ 30 w 65"/>
                <a:gd name="T13" fmla="*/ 1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5" h="37">
                  <a:moveTo>
                    <a:pt x="30" y="17"/>
                  </a:moveTo>
                  <a:lnTo>
                    <a:pt x="64" y="0"/>
                  </a:lnTo>
                  <a:lnTo>
                    <a:pt x="64" y="1"/>
                  </a:lnTo>
                  <a:lnTo>
                    <a:pt x="65" y="3"/>
                  </a:lnTo>
                  <a:lnTo>
                    <a:pt x="33" y="21"/>
                  </a:lnTo>
                  <a:lnTo>
                    <a:pt x="0" y="37"/>
                  </a:lnTo>
                  <a:lnTo>
                    <a:pt x="30" y="1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1" name="Freeform 304"/>
            <p:cNvSpPr>
              <a:spLocks/>
            </p:cNvSpPr>
            <p:nvPr/>
          </p:nvSpPr>
          <p:spPr bwMode="auto">
            <a:xfrm>
              <a:off x="3729038" y="1524000"/>
              <a:ext cx="101600" cy="58738"/>
            </a:xfrm>
            <a:custGeom>
              <a:avLst/>
              <a:gdLst>
                <a:gd name="T0" fmla="*/ 30 w 64"/>
                <a:gd name="T1" fmla="*/ 21 h 37"/>
                <a:gd name="T2" fmla="*/ 0 w 64"/>
                <a:gd name="T3" fmla="*/ 3 h 37"/>
                <a:gd name="T4" fmla="*/ 0 w 64"/>
                <a:gd name="T5" fmla="*/ 1 h 37"/>
                <a:gd name="T6" fmla="*/ 2 w 64"/>
                <a:gd name="T7" fmla="*/ 0 h 37"/>
                <a:gd name="T8" fmla="*/ 33 w 64"/>
                <a:gd name="T9" fmla="*/ 17 h 37"/>
                <a:gd name="T10" fmla="*/ 64 w 64"/>
                <a:gd name="T11" fmla="*/ 37 h 37"/>
                <a:gd name="T12" fmla="*/ 30 w 64"/>
                <a:gd name="T13" fmla="*/ 21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37">
                  <a:moveTo>
                    <a:pt x="30" y="21"/>
                  </a:moveTo>
                  <a:lnTo>
                    <a:pt x="0" y="3"/>
                  </a:lnTo>
                  <a:lnTo>
                    <a:pt x="0" y="1"/>
                  </a:lnTo>
                  <a:lnTo>
                    <a:pt x="2" y="0"/>
                  </a:lnTo>
                  <a:lnTo>
                    <a:pt x="33" y="17"/>
                  </a:lnTo>
                  <a:lnTo>
                    <a:pt x="64" y="37"/>
                  </a:lnTo>
                  <a:lnTo>
                    <a:pt x="30" y="2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2" name="Freeform 305"/>
            <p:cNvSpPr>
              <a:spLocks/>
            </p:cNvSpPr>
            <p:nvPr/>
          </p:nvSpPr>
          <p:spPr bwMode="auto">
            <a:xfrm>
              <a:off x="4138613" y="1308100"/>
              <a:ext cx="26988" cy="454025"/>
            </a:xfrm>
            <a:custGeom>
              <a:avLst/>
              <a:gdLst>
                <a:gd name="T0" fmla="*/ 0 w 17"/>
                <a:gd name="T1" fmla="*/ 286 h 286"/>
                <a:gd name="T2" fmla="*/ 17 w 17"/>
                <a:gd name="T3" fmla="*/ 286 h 286"/>
                <a:gd name="T4" fmla="*/ 12 w 17"/>
                <a:gd name="T5" fmla="*/ 0 h 286"/>
                <a:gd name="T6" fmla="*/ 6 w 17"/>
                <a:gd name="T7" fmla="*/ 0 h 286"/>
                <a:gd name="T8" fmla="*/ 0 w 17"/>
                <a:gd name="T9" fmla="*/ 286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286">
                  <a:moveTo>
                    <a:pt x="0" y="286"/>
                  </a:moveTo>
                  <a:lnTo>
                    <a:pt x="17" y="286"/>
                  </a:lnTo>
                  <a:lnTo>
                    <a:pt x="12" y="0"/>
                  </a:lnTo>
                  <a:lnTo>
                    <a:pt x="6" y="0"/>
                  </a:lnTo>
                  <a:lnTo>
                    <a:pt x="0" y="28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3" name="Freeform 306"/>
            <p:cNvSpPr>
              <a:spLocks/>
            </p:cNvSpPr>
            <p:nvPr/>
          </p:nvSpPr>
          <p:spPr bwMode="auto">
            <a:xfrm>
              <a:off x="4137025" y="1292225"/>
              <a:ext cx="33338" cy="34925"/>
            </a:xfrm>
            <a:custGeom>
              <a:avLst/>
              <a:gdLst>
                <a:gd name="T0" fmla="*/ 2 w 15"/>
                <a:gd name="T1" fmla="*/ 3 h 15"/>
                <a:gd name="T2" fmla="*/ 12 w 15"/>
                <a:gd name="T3" fmla="*/ 3 h 15"/>
                <a:gd name="T4" fmla="*/ 12 w 15"/>
                <a:gd name="T5" fmla="*/ 12 h 15"/>
                <a:gd name="T6" fmla="*/ 2 w 15"/>
                <a:gd name="T7" fmla="*/ 12 h 15"/>
                <a:gd name="T8" fmla="*/ 2 w 15"/>
                <a:gd name="T9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5">
                  <a:moveTo>
                    <a:pt x="2" y="3"/>
                  </a:moveTo>
                  <a:cubicBezTo>
                    <a:pt x="5" y="0"/>
                    <a:pt x="9" y="0"/>
                    <a:pt x="12" y="3"/>
                  </a:cubicBezTo>
                  <a:cubicBezTo>
                    <a:pt x="15" y="5"/>
                    <a:pt x="15" y="10"/>
                    <a:pt x="12" y="12"/>
                  </a:cubicBezTo>
                  <a:cubicBezTo>
                    <a:pt x="9" y="15"/>
                    <a:pt x="5" y="15"/>
                    <a:pt x="2" y="12"/>
                  </a:cubicBezTo>
                  <a:cubicBezTo>
                    <a:pt x="0" y="10"/>
                    <a:pt x="0" y="5"/>
                    <a:pt x="2" y="3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4" name="Freeform 307"/>
            <p:cNvSpPr>
              <a:spLocks/>
            </p:cNvSpPr>
            <p:nvPr/>
          </p:nvSpPr>
          <p:spPr bwMode="auto">
            <a:xfrm>
              <a:off x="4160838" y="1141413"/>
              <a:ext cx="160338" cy="160338"/>
            </a:xfrm>
            <a:custGeom>
              <a:avLst/>
              <a:gdLst>
                <a:gd name="T0" fmla="*/ 55 w 101"/>
                <a:gd name="T1" fmla="*/ 53 h 101"/>
                <a:gd name="T2" fmla="*/ 3 w 101"/>
                <a:gd name="T3" fmla="*/ 101 h 101"/>
                <a:gd name="T4" fmla="*/ 2 w 101"/>
                <a:gd name="T5" fmla="*/ 99 h 101"/>
                <a:gd name="T6" fmla="*/ 0 w 101"/>
                <a:gd name="T7" fmla="*/ 98 h 101"/>
                <a:gd name="T8" fmla="*/ 48 w 101"/>
                <a:gd name="T9" fmla="*/ 46 h 101"/>
                <a:gd name="T10" fmla="*/ 101 w 101"/>
                <a:gd name="T11" fmla="*/ 0 h 101"/>
                <a:gd name="T12" fmla="*/ 55 w 101"/>
                <a:gd name="T13" fmla="*/ 53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1" h="101">
                  <a:moveTo>
                    <a:pt x="55" y="53"/>
                  </a:moveTo>
                  <a:lnTo>
                    <a:pt x="3" y="101"/>
                  </a:lnTo>
                  <a:lnTo>
                    <a:pt x="2" y="99"/>
                  </a:lnTo>
                  <a:lnTo>
                    <a:pt x="0" y="98"/>
                  </a:lnTo>
                  <a:lnTo>
                    <a:pt x="48" y="46"/>
                  </a:lnTo>
                  <a:lnTo>
                    <a:pt x="101" y="0"/>
                  </a:lnTo>
                  <a:lnTo>
                    <a:pt x="55" y="5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5" name="Freeform 308"/>
            <p:cNvSpPr>
              <a:spLocks/>
            </p:cNvSpPr>
            <p:nvPr/>
          </p:nvSpPr>
          <p:spPr bwMode="auto">
            <a:xfrm>
              <a:off x="3921125" y="1249363"/>
              <a:ext cx="217488" cy="61913"/>
            </a:xfrm>
            <a:custGeom>
              <a:avLst/>
              <a:gdLst>
                <a:gd name="T0" fmla="*/ 69 w 137"/>
                <a:gd name="T1" fmla="*/ 13 h 39"/>
                <a:gd name="T2" fmla="*/ 137 w 137"/>
                <a:gd name="T3" fmla="*/ 33 h 39"/>
                <a:gd name="T4" fmla="*/ 136 w 137"/>
                <a:gd name="T5" fmla="*/ 36 h 39"/>
                <a:gd name="T6" fmla="*/ 136 w 137"/>
                <a:gd name="T7" fmla="*/ 39 h 39"/>
                <a:gd name="T8" fmla="*/ 68 w 137"/>
                <a:gd name="T9" fmla="*/ 21 h 39"/>
                <a:gd name="T10" fmla="*/ 0 w 137"/>
                <a:gd name="T11" fmla="*/ 0 h 39"/>
                <a:gd name="T12" fmla="*/ 69 w 137"/>
                <a:gd name="T13" fmla="*/ 13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7" h="39">
                  <a:moveTo>
                    <a:pt x="69" y="13"/>
                  </a:moveTo>
                  <a:lnTo>
                    <a:pt x="137" y="33"/>
                  </a:lnTo>
                  <a:lnTo>
                    <a:pt x="136" y="36"/>
                  </a:lnTo>
                  <a:lnTo>
                    <a:pt x="136" y="39"/>
                  </a:lnTo>
                  <a:lnTo>
                    <a:pt x="68" y="21"/>
                  </a:lnTo>
                  <a:lnTo>
                    <a:pt x="0" y="0"/>
                  </a:lnTo>
                  <a:lnTo>
                    <a:pt x="69" y="1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6" name="Freeform 309"/>
            <p:cNvSpPr>
              <a:spLocks/>
            </p:cNvSpPr>
            <p:nvPr/>
          </p:nvSpPr>
          <p:spPr bwMode="auto">
            <a:xfrm>
              <a:off x="4152900" y="1323975"/>
              <a:ext cx="61913" cy="215900"/>
            </a:xfrm>
            <a:custGeom>
              <a:avLst/>
              <a:gdLst>
                <a:gd name="T0" fmla="*/ 16 w 39"/>
                <a:gd name="T1" fmla="*/ 70 h 136"/>
                <a:gd name="T2" fmla="*/ 0 w 39"/>
                <a:gd name="T3" fmla="*/ 0 h 136"/>
                <a:gd name="T4" fmla="*/ 3 w 39"/>
                <a:gd name="T5" fmla="*/ 0 h 136"/>
                <a:gd name="T6" fmla="*/ 5 w 39"/>
                <a:gd name="T7" fmla="*/ 0 h 136"/>
                <a:gd name="T8" fmla="*/ 26 w 39"/>
                <a:gd name="T9" fmla="*/ 67 h 136"/>
                <a:gd name="T10" fmla="*/ 39 w 39"/>
                <a:gd name="T11" fmla="*/ 136 h 136"/>
                <a:gd name="T12" fmla="*/ 16 w 39"/>
                <a:gd name="T13" fmla="*/ 7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" h="136">
                  <a:moveTo>
                    <a:pt x="16" y="70"/>
                  </a:moveTo>
                  <a:lnTo>
                    <a:pt x="0" y="0"/>
                  </a:lnTo>
                  <a:lnTo>
                    <a:pt x="3" y="0"/>
                  </a:lnTo>
                  <a:lnTo>
                    <a:pt x="5" y="0"/>
                  </a:lnTo>
                  <a:lnTo>
                    <a:pt x="26" y="67"/>
                  </a:lnTo>
                  <a:lnTo>
                    <a:pt x="39" y="136"/>
                  </a:lnTo>
                  <a:lnTo>
                    <a:pt x="16" y="7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7" name="Freeform 310"/>
            <p:cNvSpPr>
              <a:spLocks/>
            </p:cNvSpPr>
            <p:nvPr/>
          </p:nvSpPr>
          <p:spPr bwMode="auto">
            <a:xfrm>
              <a:off x="3571875" y="1308100"/>
              <a:ext cx="26988" cy="454025"/>
            </a:xfrm>
            <a:custGeom>
              <a:avLst/>
              <a:gdLst>
                <a:gd name="T0" fmla="*/ 0 w 17"/>
                <a:gd name="T1" fmla="*/ 286 h 286"/>
                <a:gd name="T2" fmla="*/ 17 w 17"/>
                <a:gd name="T3" fmla="*/ 286 h 286"/>
                <a:gd name="T4" fmla="*/ 11 w 17"/>
                <a:gd name="T5" fmla="*/ 0 h 286"/>
                <a:gd name="T6" fmla="*/ 6 w 17"/>
                <a:gd name="T7" fmla="*/ 0 h 286"/>
                <a:gd name="T8" fmla="*/ 0 w 17"/>
                <a:gd name="T9" fmla="*/ 286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286">
                  <a:moveTo>
                    <a:pt x="0" y="286"/>
                  </a:moveTo>
                  <a:lnTo>
                    <a:pt x="17" y="286"/>
                  </a:lnTo>
                  <a:lnTo>
                    <a:pt x="11" y="0"/>
                  </a:lnTo>
                  <a:lnTo>
                    <a:pt x="6" y="0"/>
                  </a:lnTo>
                  <a:lnTo>
                    <a:pt x="0" y="28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8" name="Freeform 311"/>
            <p:cNvSpPr>
              <a:spLocks/>
            </p:cNvSpPr>
            <p:nvPr/>
          </p:nvSpPr>
          <p:spPr bwMode="auto">
            <a:xfrm>
              <a:off x="3567113" y="1295400"/>
              <a:ext cx="34925" cy="33338"/>
            </a:xfrm>
            <a:custGeom>
              <a:avLst/>
              <a:gdLst>
                <a:gd name="T0" fmla="*/ 3 w 15"/>
                <a:gd name="T1" fmla="*/ 12 h 15"/>
                <a:gd name="T2" fmla="*/ 3 w 15"/>
                <a:gd name="T3" fmla="*/ 2 h 15"/>
                <a:gd name="T4" fmla="*/ 12 w 15"/>
                <a:gd name="T5" fmla="*/ 2 h 15"/>
                <a:gd name="T6" fmla="*/ 12 w 15"/>
                <a:gd name="T7" fmla="*/ 12 h 15"/>
                <a:gd name="T8" fmla="*/ 3 w 15"/>
                <a:gd name="T9" fmla="*/ 1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5">
                  <a:moveTo>
                    <a:pt x="3" y="12"/>
                  </a:moveTo>
                  <a:cubicBezTo>
                    <a:pt x="0" y="10"/>
                    <a:pt x="0" y="5"/>
                    <a:pt x="3" y="2"/>
                  </a:cubicBezTo>
                  <a:cubicBezTo>
                    <a:pt x="5" y="0"/>
                    <a:pt x="10" y="0"/>
                    <a:pt x="12" y="2"/>
                  </a:cubicBezTo>
                  <a:cubicBezTo>
                    <a:pt x="15" y="5"/>
                    <a:pt x="15" y="10"/>
                    <a:pt x="12" y="12"/>
                  </a:cubicBezTo>
                  <a:cubicBezTo>
                    <a:pt x="10" y="15"/>
                    <a:pt x="5" y="15"/>
                    <a:pt x="3" y="1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9" name="Freeform 312"/>
            <p:cNvSpPr>
              <a:spLocks/>
            </p:cNvSpPr>
            <p:nvPr/>
          </p:nvSpPr>
          <p:spPr bwMode="auto">
            <a:xfrm>
              <a:off x="3416300" y="1141413"/>
              <a:ext cx="160338" cy="161925"/>
            </a:xfrm>
            <a:custGeom>
              <a:avLst/>
              <a:gdLst>
                <a:gd name="T0" fmla="*/ 53 w 101"/>
                <a:gd name="T1" fmla="*/ 47 h 102"/>
                <a:gd name="T2" fmla="*/ 101 w 101"/>
                <a:gd name="T3" fmla="*/ 98 h 102"/>
                <a:gd name="T4" fmla="*/ 99 w 101"/>
                <a:gd name="T5" fmla="*/ 99 h 102"/>
                <a:gd name="T6" fmla="*/ 98 w 101"/>
                <a:gd name="T7" fmla="*/ 102 h 102"/>
                <a:gd name="T8" fmla="*/ 46 w 101"/>
                <a:gd name="T9" fmla="*/ 53 h 102"/>
                <a:gd name="T10" fmla="*/ 0 w 101"/>
                <a:gd name="T11" fmla="*/ 0 h 102"/>
                <a:gd name="T12" fmla="*/ 53 w 101"/>
                <a:gd name="T13" fmla="*/ 47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1" h="102">
                  <a:moveTo>
                    <a:pt x="53" y="47"/>
                  </a:moveTo>
                  <a:lnTo>
                    <a:pt x="101" y="98"/>
                  </a:lnTo>
                  <a:lnTo>
                    <a:pt x="99" y="99"/>
                  </a:lnTo>
                  <a:lnTo>
                    <a:pt x="98" y="102"/>
                  </a:lnTo>
                  <a:lnTo>
                    <a:pt x="46" y="53"/>
                  </a:lnTo>
                  <a:lnTo>
                    <a:pt x="0" y="0"/>
                  </a:lnTo>
                  <a:lnTo>
                    <a:pt x="53" y="4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0" name="Freeform 313"/>
            <p:cNvSpPr>
              <a:spLocks/>
            </p:cNvSpPr>
            <p:nvPr/>
          </p:nvSpPr>
          <p:spPr bwMode="auto">
            <a:xfrm>
              <a:off x="3521075" y="1323975"/>
              <a:ext cx="61913" cy="217488"/>
            </a:xfrm>
            <a:custGeom>
              <a:avLst/>
              <a:gdLst>
                <a:gd name="T0" fmla="*/ 15 w 39"/>
                <a:gd name="T1" fmla="*/ 68 h 137"/>
                <a:gd name="T2" fmla="*/ 35 w 39"/>
                <a:gd name="T3" fmla="*/ 0 h 137"/>
                <a:gd name="T4" fmla="*/ 38 w 39"/>
                <a:gd name="T5" fmla="*/ 2 h 137"/>
                <a:gd name="T6" fmla="*/ 39 w 39"/>
                <a:gd name="T7" fmla="*/ 2 h 137"/>
                <a:gd name="T8" fmla="*/ 23 w 39"/>
                <a:gd name="T9" fmla="*/ 71 h 137"/>
                <a:gd name="T10" fmla="*/ 0 w 39"/>
                <a:gd name="T11" fmla="*/ 137 h 137"/>
                <a:gd name="T12" fmla="*/ 15 w 39"/>
                <a:gd name="T13" fmla="*/ 68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" h="137">
                  <a:moveTo>
                    <a:pt x="15" y="68"/>
                  </a:moveTo>
                  <a:lnTo>
                    <a:pt x="35" y="0"/>
                  </a:lnTo>
                  <a:lnTo>
                    <a:pt x="38" y="2"/>
                  </a:lnTo>
                  <a:lnTo>
                    <a:pt x="39" y="2"/>
                  </a:lnTo>
                  <a:lnTo>
                    <a:pt x="23" y="71"/>
                  </a:lnTo>
                  <a:lnTo>
                    <a:pt x="0" y="137"/>
                  </a:lnTo>
                  <a:lnTo>
                    <a:pt x="15" y="68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1" name="Freeform 314"/>
            <p:cNvSpPr>
              <a:spLocks/>
            </p:cNvSpPr>
            <p:nvPr/>
          </p:nvSpPr>
          <p:spPr bwMode="auto">
            <a:xfrm>
              <a:off x="3598863" y="1250950"/>
              <a:ext cx="215900" cy="60325"/>
            </a:xfrm>
            <a:custGeom>
              <a:avLst/>
              <a:gdLst>
                <a:gd name="T0" fmla="*/ 69 w 136"/>
                <a:gd name="T1" fmla="*/ 22 h 38"/>
                <a:gd name="T2" fmla="*/ 0 w 136"/>
                <a:gd name="T3" fmla="*/ 38 h 38"/>
                <a:gd name="T4" fmla="*/ 0 w 136"/>
                <a:gd name="T5" fmla="*/ 36 h 38"/>
                <a:gd name="T6" fmla="*/ 0 w 136"/>
                <a:gd name="T7" fmla="*/ 33 h 38"/>
                <a:gd name="T8" fmla="*/ 66 w 136"/>
                <a:gd name="T9" fmla="*/ 13 h 38"/>
                <a:gd name="T10" fmla="*/ 136 w 136"/>
                <a:gd name="T11" fmla="*/ 0 h 38"/>
                <a:gd name="T12" fmla="*/ 69 w 136"/>
                <a:gd name="T13" fmla="*/ 22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6" h="38">
                  <a:moveTo>
                    <a:pt x="69" y="22"/>
                  </a:moveTo>
                  <a:lnTo>
                    <a:pt x="0" y="38"/>
                  </a:lnTo>
                  <a:lnTo>
                    <a:pt x="0" y="36"/>
                  </a:lnTo>
                  <a:lnTo>
                    <a:pt x="0" y="33"/>
                  </a:lnTo>
                  <a:lnTo>
                    <a:pt x="66" y="13"/>
                  </a:lnTo>
                  <a:lnTo>
                    <a:pt x="136" y="0"/>
                  </a:lnTo>
                  <a:lnTo>
                    <a:pt x="69" y="2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2" name="Freeform 315"/>
            <p:cNvSpPr>
              <a:spLocks/>
            </p:cNvSpPr>
            <p:nvPr/>
          </p:nvSpPr>
          <p:spPr bwMode="auto">
            <a:xfrm>
              <a:off x="3986213" y="1508125"/>
              <a:ext cx="15875" cy="254000"/>
            </a:xfrm>
            <a:custGeom>
              <a:avLst/>
              <a:gdLst>
                <a:gd name="T0" fmla="*/ 0 w 10"/>
                <a:gd name="T1" fmla="*/ 160 h 160"/>
                <a:gd name="T2" fmla="*/ 10 w 10"/>
                <a:gd name="T3" fmla="*/ 160 h 160"/>
                <a:gd name="T4" fmla="*/ 5 w 10"/>
                <a:gd name="T5" fmla="*/ 0 h 160"/>
                <a:gd name="T6" fmla="*/ 2 w 10"/>
                <a:gd name="T7" fmla="*/ 0 h 160"/>
                <a:gd name="T8" fmla="*/ 0 w 10"/>
                <a:gd name="T9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60">
                  <a:moveTo>
                    <a:pt x="0" y="160"/>
                  </a:moveTo>
                  <a:lnTo>
                    <a:pt x="10" y="160"/>
                  </a:lnTo>
                  <a:lnTo>
                    <a:pt x="5" y="0"/>
                  </a:lnTo>
                  <a:lnTo>
                    <a:pt x="2" y="0"/>
                  </a:lnTo>
                  <a:lnTo>
                    <a:pt x="0" y="16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3" name="Freeform 316"/>
            <p:cNvSpPr>
              <a:spLocks/>
            </p:cNvSpPr>
            <p:nvPr/>
          </p:nvSpPr>
          <p:spPr bwMode="auto">
            <a:xfrm>
              <a:off x="3983038" y="1498600"/>
              <a:ext cx="19050" cy="20638"/>
            </a:xfrm>
            <a:custGeom>
              <a:avLst/>
              <a:gdLst>
                <a:gd name="T0" fmla="*/ 1 w 8"/>
                <a:gd name="T1" fmla="*/ 7 h 9"/>
                <a:gd name="T2" fmla="*/ 1 w 8"/>
                <a:gd name="T3" fmla="*/ 2 h 9"/>
                <a:gd name="T4" fmla="*/ 7 w 8"/>
                <a:gd name="T5" fmla="*/ 2 h 9"/>
                <a:gd name="T6" fmla="*/ 7 w 8"/>
                <a:gd name="T7" fmla="*/ 7 h 9"/>
                <a:gd name="T8" fmla="*/ 1 w 8"/>
                <a:gd name="T9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9">
                  <a:moveTo>
                    <a:pt x="1" y="7"/>
                  </a:moveTo>
                  <a:cubicBezTo>
                    <a:pt x="0" y="6"/>
                    <a:pt x="0" y="3"/>
                    <a:pt x="1" y="2"/>
                  </a:cubicBezTo>
                  <a:cubicBezTo>
                    <a:pt x="3" y="0"/>
                    <a:pt x="5" y="0"/>
                    <a:pt x="7" y="2"/>
                  </a:cubicBezTo>
                  <a:cubicBezTo>
                    <a:pt x="8" y="3"/>
                    <a:pt x="8" y="6"/>
                    <a:pt x="7" y="7"/>
                  </a:cubicBezTo>
                  <a:cubicBezTo>
                    <a:pt x="5" y="9"/>
                    <a:pt x="3" y="9"/>
                    <a:pt x="1" y="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4" name="Freeform 317"/>
            <p:cNvSpPr>
              <a:spLocks/>
            </p:cNvSpPr>
            <p:nvPr/>
          </p:nvSpPr>
          <p:spPr bwMode="auto">
            <a:xfrm>
              <a:off x="3895725" y="1414463"/>
              <a:ext cx="92075" cy="88900"/>
            </a:xfrm>
            <a:custGeom>
              <a:avLst/>
              <a:gdLst>
                <a:gd name="T0" fmla="*/ 31 w 58"/>
                <a:gd name="T1" fmla="*/ 26 h 56"/>
                <a:gd name="T2" fmla="*/ 58 w 58"/>
                <a:gd name="T3" fmla="*/ 54 h 56"/>
                <a:gd name="T4" fmla="*/ 57 w 58"/>
                <a:gd name="T5" fmla="*/ 56 h 56"/>
                <a:gd name="T6" fmla="*/ 55 w 58"/>
                <a:gd name="T7" fmla="*/ 56 h 56"/>
                <a:gd name="T8" fmla="*/ 26 w 58"/>
                <a:gd name="T9" fmla="*/ 28 h 56"/>
                <a:gd name="T10" fmla="*/ 0 w 58"/>
                <a:gd name="T11" fmla="*/ 0 h 56"/>
                <a:gd name="T12" fmla="*/ 31 w 58"/>
                <a:gd name="T1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8" h="56">
                  <a:moveTo>
                    <a:pt x="31" y="26"/>
                  </a:moveTo>
                  <a:lnTo>
                    <a:pt x="58" y="54"/>
                  </a:lnTo>
                  <a:lnTo>
                    <a:pt x="57" y="56"/>
                  </a:lnTo>
                  <a:lnTo>
                    <a:pt x="55" y="56"/>
                  </a:lnTo>
                  <a:lnTo>
                    <a:pt x="26" y="28"/>
                  </a:lnTo>
                  <a:lnTo>
                    <a:pt x="0" y="0"/>
                  </a:lnTo>
                  <a:lnTo>
                    <a:pt x="31" y="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5" name="Freeform 318"/>
            <p:cNvSpPr>
              <a:spLocks/>
            </p:cNvSpPr>
            <p:nvPr/>
          </p:nvSpPr>
          <p:spPr bwMode="auto">
            <a:xfrm>
              <a:off x="3956050" y="1517650"/>
              <a:ext cx="36513" cy="120650"/>
            </a:xfrm>
            <a:custGeom>
              <a:avLst/>
              <a:gdLst>
                <a:gd name="T0" fmla="*/ 8 w 23"/>
                <a:gd name="T1" fmla="*/ 37 h 76"/>
                <a:gd name="T2" fmla="*/ 20 w 23"/>
                <a:gd name="T3" fmla="*/ 0 h 76"/>
                <a:gd name="T4" fmla="*/ 21 w 23"/>
                <a:gd name="T5" fmla="*/ 0 h 76"/>
                <a:gd name="T6" fmla="*/ 23 w 23"/>
                <a:gd name="T7" fmla="*/ 0 h 76"/>
                <a:gd name="T8" fmla="*/ 13 w 23"/>
                <a:gd name="T9" fmla="*/ 38 h 76"/>
                <a:gd name="T10" fmla="*/ 0 w 23"/>
                <a:gd name="T11" fmla="*/ 76 h 76"/>
                <a:gd name="T12" fmla="*/ 8 w 23"/>
                <a:gd name="T13" fmla="*/ 37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" h="76">
                  <a:moveTo>
                    <a:pt x="8" y="37"/>
                  </a:moveTo>
                  <a:lnTo>
                    <a:pt x="20" y="0"/>
                  </a:lnTo>
                  <a:lnTo>
                    <a:pt x="21" y="0"/>
                  </a:lnTo>
                  <a:lnTo>
                    <a:pt x="23" y="0"/>
                  </a:lnTo>
                  <a:lnTo>
                    <a:pt x="13" y="38"/>
                  </a:lnTo>
                  <a:lnTo>
                    <a:pt x="0" y="76"/>
                  </a:lnTo>
                  <a:lnTo>
                    <a:pt x="8" y="3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6" name="Freeform 319"/>
            <p:cNvSpPr>
              <a:spLocks/>
            </p:cNvSpPr>
            <p:nvPr/>
          </p:nvSpPr>
          <p:spPr bwMode="auto">
            <a:xfrm>
              <a:off x="3998913" y="1473200"/>
              <a:ext cx="123825" cy="34925"/>
            </a:xfrm>
            <a:custGeom>
              <a:avLst/>
              <a:gdLst>
                <a:gd name="T0" fmla="*/ 41 w 78"/>
                <a:gd name="T1" fmla="*/ 13 h 22"/>
                <a:gd name="T2" fmla="*/ 2 w 78"/>
                <a:gd name="T3" fmla="*/ 22 h 22"/>
                <a:gd name="T4" fmla="*/ 2 w 78"/>
                <a:gd name="T5" fmla="*/ 20 h 22"/>
                <a:gd name="T6" fmla="*/ 0 w 78"/>
                <a:gd name="T7" fmla="*/ 19 h 22"/>
                <a:gd name="T8" fmla="*/ 39 w 78"/>
                <a:gd name="T9" fmla="*/ 9 h 22"/>
                <a:gd name="T10" fmla="*/ 78 w 78"/>
                <a:gd name="T11" fmla="*/ 0 h 22"/>
                <a:gd name="T12" fmla="*/ 41 w 78"/>
                <a:gd name="T13" fmla="*/ 13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22">
                  <a:moveTo>
                    <a:pt x="41" y="13"/>
                  </a:moveTo>
                  <a:lnTo>
                    <a:pt x="2" y="22"/>
                  </a:lnTo>
                  <a:lnTo>
                    <a:pt x="2" y="20"/>
                  </a:lnTo>
                  <a:lnTo>
                    <a:pt x="0" y="19"/>
                  </a:lnTo>
                  <a:lnTo>
                    <a:pt x="39" y="9"/>
                  </a:lnTo>
                  <a:lnTo>
                    <a:pt x="78" y="0"/>
                  </a:lnTo>
                  <a:lnTo>
                    <a:pt x="41" y="1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7" name="Freeform 320"/>
            <p:cNvSpPr>
              <a:spLocks/>
            </p:cNvSpPr>
            <p:nvPr/>
          </p:nvSpPr>
          <p:spPr bwMode="auto">
            <a:xfrm>
              <a:off x="3132138" y="1700213"/>
              <a:ext cx="1987550" cy="444500"/>
            </a:xfrm>
            <a:custGeom>
              <a:avLst/>
              <a:gdLst>
                <a:gd name="T0" fmla="*/ 467 w 869"/>
                <a:gd name="T1" fmla="*/ 23 h 194"/>
                <a:gd name="T2" fmla="*/ 0 w 869"/>
                <a:gd name="T3" fmla="*/ 98 h 194"/>
                <a:gd name="T4" fmla="*/ 0 w 869"/>
                <a:gd name="T5" fmla="*/ 194 h 194"/>
                <a:gd name="T6" fmla="*/ 869 w 869"/>
                <a:gd name="T7" fmla="*/ 194 h 194"/>
                <a:gd name="T8" fmla="*/ 467 w 869"/>
                <a:gd name="T9" fmla="*/ 23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69" h="194">
                  <a:moveTo>
                    <a:pt x="467" y="23"/>
                  </a:moveTo>
                  <a:cubicBezTo>
                    <a:pt x="86" y="0"/>
                    <a:pt x="0" y="98"/>
                    <a:pt x="0" y="98"/>
                  </a:cubicBezTo>
                  <a:cubicBezTo>
                    <a:pt x="0" y="194"/>
                    <a:pt x="0" y="194"/>
                    <a:pt x="0" y="194"/>
                  </a:cubicBezTo>
                  <a:cubicBezTo>
                    <a:pt x="869" y="194"/>
                    <a:pt x="869" y="194"/>
                    <a:pt x="869" y="194"/>
                  </a:cubicBezTo>
                  <a:cubicBezTo>
                    <a:pt x="869" y="194"/>
                    <a:pt x="517" y="26"/>
                    <a:pt x="467" y="23"/>
                  </a:cubicBezTo>
                  <a:close/>
                </a:path>
              </a:pathLst>
            </a:custGeom>
            <a:solidFill>
              <a:srgbClr val="8AD0B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8" name="Freeform 321"/>
            <p:cNvSpPr>
              <a:spLocks/>
            </p:cNvSpPr>
            <p:nvPr/>
          </p:nvSpPr>
          <p:spPr bwMode="auto">
            <a:xfrm>
              <a:off x="1692275" y="1287463"/>
              <a:ext cx="2881313" cy="857250"/>
            </a:xfrm>
            <a:custGeom>
              <a:avLst/>
              <a:gdLst>
                <a:gd name="T0" fmla="*/ 0 w 1260"/>
                <a:gd name="T1" fmla="*/ 0 h 374"/>
                <a:gd name="T2" fmla="*/ 319 w 1260"/>
                <a:gd name="T3" fmla="*/ 126 h 374"/>
                <a:gd name="T4" fmla="*/ 793 w 1260"/>
                <a:gd name="T5" fmla="*/ 334 h 374"/>
                <a:gd name="T6" fmla="*/ 1260 w 1260"/>
                <a:gd name="T7" fmla="*/ 374 h 374"/>
                <a:gd name="T8" fmla="*/ 583 w 1260"/>
                <a:gd name="T9" fmla="*/ 374 h 374"/>
                <a:gd name="T10" fmla="*/ 0 w 1260"/>
                <a:gd name="T11" fmla="*/ 0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60" h="374">
                  <a:moveTo>
                    <a:pt x="0" y="0"/>
                  </a:moveTo>
                  <a:cubicBezTo>
                    <a:pt x="0" y="0"/>
                    <a:pt x="215" y="64"/>
                    <a:pt x="319" y="126"/>
                  </a:cubicBezTo>
                  <a:cubicBezTo>
                    <a:pt x="319" y="126"/>
                    <a:pt x="621" y="294"/>
                    <a:pt x="793" y="334"/>
                  </a:cubicBezTo>
                  <a:cubicBezTo>
                    <a:pt x="965" y="374"/>
                    <a:pt x="1260" y="374"/>
                    <a:pt x="1260" y="374"/>
                  </a:cubicBezTo>
                  <a:cubicBezTo>
                    <a:pt x="583" y="374"/>
                    <a:pt x="583" y="374"/>
                    <a:pt x="583" y="37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9" name="Freeform 322"/>
            <p:cNvSpPr>
              <a:spLocks/>
            </p:cNvSpPr>
            <p:nvPr/>
          </p:nvSpPr>
          <p:spPr bwMode="auto">
            <a:xfrm>
              <a:off x="0" y="852488"/>
              <a:ext cx="3025775" cy="1292225"/>
            </a:xfrm>
            <a:custGeom>
              <a:avLst/>
              <a:gdLst>
                <a:gd name="T0" fmla="*/ 0 w 1323"/>
                <a:gd name="T1" fmla="*/ 96 h 564"/>
                <a:gd name="T2" fmla="*/ 1323 w 1323"/>
                <a:gd name="T3" fmla="*/ 564 h 564"/>
                <a:gd name="T4" fmla="*/ 0 w 1323"/>
                <a:gd name="T5" fmla="*/ 564 h 564"/>
                <a:gd name="T6" fmla="*/ 0 w 1323"/>
                <a:gd name="T7" fmla="*/ 96 h 5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23" h="564">
                  <a:moveTo>
                    <a:pt x="0" y="96"/>
                  </a:moveTo>
                  <a:cubicBezTo>
                    <a:pt x="0" y="96"/>
                    <a:pt x="779" y="0"/>
                    <a:pt x="1323" y="564"/>
                  </a:cubicBezTo>
                  <a:cubicBezTo>
                    <a:pt x="0" y="564"/>
                    <a:pt x="0" y="564"/>
                    <a:pt x="0" y="564"/>
                  </a:cubicBezTo>
                  <a:lnTo>
                    <a:pt x="0" y="96"/>
                  </a:lnTo>
                  <a:close/>
                </a:path>
              </a:pathLst>
            </a:custGeom>
            <a:solidFill>
              <a:srgbClr val="5EC3A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3945" y="569331"/>
            <a:ext cx="8496226" cy="681037"/>
          </a:xfrm>
        </p:spPr>
        <p:txBody>
          <a:bodyPr/>
          <a:lstStyle/>
          <a:p>
            <a:pPr algn="ctr"/>
            <a:r>
              <a:rPr lang="lt-LT" sz="2000" noProof="1" smtClean="0"/>
              <a:t>Loan Production</a:t>
            </a:r>
            <a:br>
              <a:rPr lang="lt-LT" sz="2000" noProof="1" smtClean="0"/>
            </a:br>
            <a:r>
              <a:rPr lang="lt-LT" sz="2000" noProof="1" smtClean="0"/>
              <a:t>journey</a:t>
            </a:r>
            <a:endParaRPr lang="lt-LT" sz="2000" noProof="1"/>
          </a:p>
        </p:txBody>
      </p:sp>
      <p:grpSp>
        <p:nvGrpSpPr>
          <p:cNvPr id="388" name="Group 387"/>
          <p:cNvGrpSpPr/>
          <p:nvPr/>
        </p:nvGrpSpPr>
        <p:grpSpPr>
          <a:xfrm>
            <a:off x="-12700" y="2422274"/>
            <a:ext cx="8897938" cy="4324302"/>
            <a:chOff x="-12700" y="2262670"/>
            <a:chExt cx="8897938" cy="4324302"/>
          </a:xfrm>
        </p:grpSpPr>
        <p:pic>
          <p:nvPicPr>
            <p:cNvPr id="372" name="Picture 371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169168" y="3055422"/>
              <a:ext cx="1718753" cy="280704"/>
            </a:xfrm>
            <a:prstGeom prst="rect">
              <a:avLst/>
            </a:prstGeom>
          </p:spPr>
        </p:pic>
        <p:grpSp>
          <p:nvGrpSpPr>
            <p:cNvPr id="356" name="Group 355"/>
            <p:cNvGrpSpPr/>
            <p:nvPr/>
          </p:nvGrpSpPr>
          <p:grpSpPr>
            <a:xfrm rot="19274028">
              <a:off x="943696" y="5624255"/>
              <a:ext cx="940056" cy="280011"/>
              <a:chOff x="152400" y="5538470"/>
              <a:chExt cx="869950" cy="338138"/>
            </a:xfrm>
          </p:grpSpPr>
          <p:sp>
            <p:nvSpPr>
              <p:cNvPr id="354" name="Rectangle 330"/>
              <p:cNvSpPr>
                <a:spLocks noChangeArrowheads="1"/>
              </p:cNvSpPr>
              <p:nvPr/>
            </p:nvSpPr>
            <p:spPr bwMode="auto">
              <a:xfrm>
                <a:off x="152400" y="5538470"/>
                <a:ext cx="869950" cy="338138"/>
              </a:xfrm>
              <a:prstGeom prst="rect">
                <a:avLst/>
              </a:prstGeom>
              <a:solidFill>
                <a:srgbClr val="4C57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55" name="Freeform 331"/>
              <p:cNvSpPr>
                <a:spLocks noEditPoints="1"/>
              </p:cNvSpPr>
              <p:nvPr/>
            </p:nvSpPr>
            <p:spPr bwMode="auto">
              <a:xfrm>
                <a:off x="254000" y="5692458"/>
                <a:ext cx="646113" cy="30163"/>
              </a:xfrm>
              <a:custGeom>
                <a:avLst/>
                <a:gdLst>
                  <a:gd name="T0" fmla="*/ 0 w 407"/>
                  <a:gd name="T1" fmla="*/ 19 h 19"/>
                  <a:gd name="T2" fmla="*/ 0 w 407"/>
                  <a:gd name="T3" fmla="*/ 0 h 19"/>
                  <a:gd name="T4" fmla="*/ 81 w 407"/>
                  <a:gd name="T5" fmla="*/ 0 h 19"/>
                  <a:gd name="T6" fmla="*/ 81 w 407"/>
                  <a:gd name="T7" fmla="*/ 19 h 19"/>
                  <a:gd name="T8" fmla="*/ 0 w 407"/>
                  <a:gd name="T9" fmla="*/ 19 h 19"/>
                  <a:gd name="T10" fmla="*/ 163 w 407"/>
                  <a:gd name="T11" fmla="*/ 19 h 19"/>
                  <a:gd name="T12" fmla="*/ 163 w 407"/>
                  <a:gd name="T13" fmla="*/ 0 h 19"/>
                  <a:gd name="T14" fmla="*/ 244 w 407"/>
                  <a:gd name="T15" fmla="*/ 0 h 19"/>
                  <a:gd name="T16" fmla="*/ 244 w 407"/>
                  <a:gd name="T17" fmla="*/ 19 h 19"/>
                  <a:gd name="T18" fmla="*/ 163 w 407"/>
                  <a:gd name="T19" fmla="*/ 19 h 19"/>
                  <a:gd name="T20" fmla="*/ 326 w 407"/>
                  <a:gd name="T21" fmla="*/ 19 h 19"/>
                  <a:gd name="T22" fmla="*/ 326 w 407"/>
                  <a:gd name="T23" fmla="*/ 0 h 19"/>
                  <a:gd name="T24" fmla="*/ 407 w 407"/>
                  <a:gd name="T25" fmla="*/ 0 h 19"/>
                  <a:gd name="T26" fmla="*/ 407 w 407"/>
                  <a:gd name="T27" fmla="*/ 19 h 19"/>
                  <a:gd name="T28" fmla="*/ 326 w 407"/>
                  <a:gd name="T29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07" h="19">
                    <a:moveTo>
                      <a:pt x="0" y="19"/>
                    </a:moveTo>
                    <a:lnTo>
                      <a:pt x="0" y="0"/>
                    </a:lnTo>
                    <a:lnTo>
                      <a:pt x="81" y="0"/>
                    </a:lnTo>
                    <a:lnTo>
                      <a:pt x="81" y="19"/>
                    </a:lnTo>
                    <a:lnTo>
                      <a:pt x="0" y="19"/>
                    </a:lnTo>
                    <a:close/>
                    <a:moveTo>
                      <a:pt x="163" y="19"/>
                    </a:moveTo>
                    <a:lnTo>
                      <a:pt x="163" y="0"/>
                    </a:lnTo>
                    <a:lnTo>
                      <a:pt x="244" y="0"/>
                    </a:lnTo>
                    <a:lnTo>
                      <a:pt x="244" y="19"/>
                    </a:lnTo>
                    <a:lnTo>
                      <a:pt x="163" y="19"/>
                    </a:lnTo>
                    <a:close/>
                    <a:moveTo>
                      <a:pt x="326" y="19"/>
                    </a:moveTo>
                    <a:lnTo>
                      <a:pt x="326" y="0"/>
                    </a:lnTo>
                    <a:lnTo>
                      <a:pt x="407" y="0"/>
                    </a:lnTo>
                    <a:lnTo>
                      <a:pt x="407" y="19"/>
                    </a:lnTo>
                    <a:lnTo>
                      <a:pt x="326" y="19"/>
                    </a:lnTo>
                    <a:close/>
                  </a:path>
                </a:pathLst>
              </a:cu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pic>
          <p:nvPicPr>
            <p:cNvPr id="365" name="Picture 364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 rot="5400000">
              <a:off x="4493297" y="4113187"/>
              <a:ext cx="1317149" cy="366292"/>
            </a:xfrm>
            <a:prstGeom prst="rect">
              <a:avLst/>
            </a:prstGeom>
          </p:spPr>
        </p:pic>
        <p:pic>
          <p:nvPicPr>
            <p:cNvPr id="364" name="Picture 363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 rot="5400000" flipV="1">
              <a:off x="4826907" y="3152659"/>
              <a:ext cx="428069" cy="593943"/>
            </a:xfrm>
            <a:prstGeom prst="rect">
              <a:avLst/>
            </a:prstGeom>
          </p:spPr>
        </p:pic>
        <p:grpSp>
          <p:nvGrpSpPr>
            <p:cNvPr id="386" name="Group 385"/>
            <p:cNvGrpSpPr/>
            <p:nvPr/>
          </p:nvGrpSpPr>
          <p:grpSpPr>
            <a:xfrm rot="5400000">
              <a:off x="8275862" y="3779045"/>
              <a:ext cx="278696" cy="940056"/>
              <a:chOff x="2163762" y="4400233"/>
              <a:chExt cx="336550" cy="869950"/>
            </a:xfrm>
          </p:grpSpPr>
          <p:sp>
            <p:nvSpPr>
              <p:cNvPr id="384" name="Rectangle 328"/>
              <p:cNvSpPr>
                <a:spLocks noChangeArrowheads="1"/>
              </p:cNvSpPr>
              <p:nvPr/>
            </p:nvSpPr>
            <p:spPr bwMode="auto">
              <a:xfrm>
                <a:off x="2163762" y="4400233"/>
                <a:ext cx="336550" cy="869950"/>
              </a:xfrm>
              <a:prstGeom prst="rect">
                <a:avLst/>
              </a:prstGeom>
              <a:solidFill>
                <a:srgbClr val="4C57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85" name="Freeform 329"/>
              <p:cNvSpPr>
                <a:spLocks noEditPoints="1"/>
              </p:cNvSpPr>
              <p:nvPr/>
            </p:nvSpPr>
            <p:spPr bwMode="auto">
              <a:xfrm>
                <a:off x="2316162" y="4500245"/>
                <a:ext cx="30163" cy="646113"/>
              </a:xfrm>
              <a:custGeom>
                <a:avLst/>
                <a:gdLst>
                  <a:gd name="T0" fmla="*/ 0 w 19"/>
                  <a:gd name="T1" fmla="*/ 407 h 407"/>
                  <a:gd name="T2" fmla="*/ 0 w 19"/>
                  <a:gd name="T3" fmla="*/ 326 h 407"/>
                  <a:gd name="T4" fmla="*/ 19 w 19"/>
                  <a:gd name="T5" fmla="*/ 326 h 407"/>
                  <a:gd name="T6" fmla="*/ 19 w 19"/>
                  <a:gd name="T7" fmla="*/ 407 h 407"/>
                  <a:gd name="T8" fmla="*/ 0 w 19"/>
                  <a:gd name="T9" fmla="*/ 407 h 407"/>
                  <a:gd name="T10" fmla="*/ 0 w 19"/>
                  <a:gd name="T11" fmla="*/ 244 h 407"/>
                  <a:gd name="T12" fmla="*/ 0 w 19"/>
                  <a:gd name="T13" fmla="*/ 163 h 407"/>
                  <a:gd name="T14" fmla="*/ 19 w 19"/>
                  <a:gd name="T15" fmla="*/ 163 h 407"/>
                  <a:gd name="T16" fmla="*/ 19 w 19"/>
                  <a:gd name="T17" fmla="*/ 244 h 407"/>
                  <a:gd name="T18" fmla="*/ 0 w 19"/>
                  <a:gd name="T19" fmla="*/ 244 h 407"/>
                  <a:gd name="T20" fmla="*/ 0 w 19"/>
                  <a:gd name="T21" fmla="*/ 81 h 407"/>
                  <a:gd name="T22" fmla="*/ 0 w 19"/>
                  <a:gd name="T23" fmla="*/ 0 h 407"/>
                  <a:gd name="T24" fmla="*/ 19 w 19"/>
                  <a:gd name="T25" fmla="*/ 0 h 407"/>
                  <a:gd name="T26" fmla="*/ 19 w 19"/>
                  <a:gd name="T27" fmla="*/ 81 h 407"/>
                  <a:gd name="T28" fmla="*/ 0 w 19"/>
                  <a:gd name="T29" fmla="*/ 81 h 4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9" h="407">
                    <a:moveTo>
                      <a:pt x="0" y="407"/>
                    </a:moveTo>
                    <a:lnTo>
                      <a:pt x="0" y="326"/>
                    </a:lnTo>
                    <a:lnTo>
                      <a:pt x="19" y="326"/>
                    </a:lnTo>
                    <a:lnTo>
                      <a:pt x="19" y="407"/>
                    </a:lnTo>
                    <a:lnTo>
                      <a:pt x="0" y="407"/>
                    </a:lnTo>
                    <a:close/>
                    <a:moveTo>
                      <a:pt x="0" y="244"/>
                    </a:moveTo>
                    <a:lnTo>
                      <a:pt x="0" y="163"/>
                    </a:lnTo>
                    <a:lnTo>
                      <a:pt x="19" y="163"/>
                    </a:lnTo>
                    <a:lnTo>
                      <a:pt x="19" y="244"/>
                    </a:lnTo>
                    <a:lnTo>
                      <a:pt x="0" y="244"/>
                    </a:lnTo>
                    <a:close/>
                    <a:moveTo>
                      <a:pt x="0" y="81"/>
                    </a:moveTo>
                    <a:lnTo>
                      <a:pt x="0" y="0"/>
                    </a:lnTo>
                    <a:lnTo>
                      <a:pt x="19" y="0"/>
                    </a:lnTo>
                    <a:lnTo>
                      <a:pt x="19" y="81"/>
                    </a:lnTo>
                    <a:lnTo>
                      <a:pt x="0" y="81"/>
                    </a:lnTo>
                    <a:close/>
                  </a:path>
                </a:pathLst>
              </a:cu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sp>
          <p:nvSpPr>
            <p:cNvPr id="337" name="Rectangle 328"/>
            <p:cNvSpPr>
              <a:spLocks noChangeArrowheads="1"/>
            </p:cNvSpPr>
            <p:nvPr/>
          </p:nvSpPr>
          <p:spPr bwMode="auto">
            <a:xfrm>
              <a:off x="2160750" y="4318196"/>
              <a:ext cx="363671" cy="720402"/>
            </a:xfrm>
            <a:prstGeom prst="rect">
              <a:avLst/>
            </a:pr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8" name="Freeform 329"/>
            <p:cNvSpPr>
              <a:spLocks noEditPoints="1"/>
            </p:cNvSpPr>
            <p:nvPr/>
          </p:nvSpPr>
          <p:spPr bwMode="auto">
            <a:xfrm>
              <a:off x="2325431" y="4401015"/>
              <a:ext cx="32594" cy="535044"/>
            </a:xfrm>
            <a:custGeom>
              <a:avLst/>
              <a:gdLst>
                <a:gd name="T0" fmla="*/ 0 w 19"/>
                <a:gd name="T1" fmla="*/ 407 h 407"/>
                <a:gd name="T2" fmla="*/ 0 w 19"/>
                <a:gd name="T3" fmla="*/ 326 h 407"/>
                <a:gd name="T4" fmla="*/ 19 w 19"/>
                <a:gd name="T5" fmla="*/ 326 h 407"/>
                <a:gd name="T6" fmla="*/ 19 w 19"/>
                <a:gd name="T7" fmla="*/ 407 h 407"/>
                <a:gd name="T8" fmla="*/ 0 w 19"/>
                <a:gd name="T9" fmla="*/ 407 h 407"/>
                <a:gd name="T10" fmla="*/ 0 w 19"/>
                <a:gd name="T11" fmla="*/ 244 h 407"/>
                <a:gd name="T12" fmla="*/ 0 w 19"/>
                <a:gd name="T13" fmla="*/ 163 h 407"/>
                <a:gd name="T14" fmla="*/ 19 w 19"/>
                <a:gd name="T15" fmla="*/ 163 h 407"/>
                <a:gd name="T16" fmla="*/ 19 w 19"/>
                <a:gd name="T17" fmla="*/ 244 h 407"/>
                <a:gd name="T18" fmla="*/ 0 w 19"/>
                <a:gd name="T19" fmla="*/ 244 h 407"/>
                <a:gd name="T20" fmla="*/ 0 w 19"/>
                <a:gd name="T21" fmla="*/ 81 h 407"/>
                <a:gd name="T22" fmla="*/ 0 w 19"/>
                <a:gd name="T23" fmla="*/ 0 h 407"/>
                <a:gd name="T24" fmla="*/ 19 w 19"/>
                <a:gd name="T25" fmla="*/ 0 h 407"/>
                <a:gd name="T26" fmla="*/ 19 w 19"/>
                <a:gd name="T27" fmla="*/ 81 h 407"/>
                <a:gd name="T28" fmla="*/ 0 w 19"/>
                <a:gd name="T29" fmla="*/ 81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9" h="407">
                  <a:moveTo>
                    <a:pt x="0" y="407"/>
                  </a:moveTo>
                  <a:lnTo>
                    <a:pt x="0" y="326"/>
                  </a:lnTo>
                  <a:lnTo>
                    <a:pt x="19" y="326"/>
                  </a:lnTo>
                  <a:lnTo>
                    <a:pt x="19" y="407"/>
                  </a:lnTo>
                  <a:lnTo>
                    <a:pt x="0" y="407"/>
                  </a:lnTo>
                  <a:close/>
                  <a:moveTo>
                    <a:pt x="0" y="244"/>
                  </a:moveTo>
                  <a:lnTo>
                    <a:pt x="0" y="163"/>
                  </a:lnTo>
                  <a:lnTo>
                    <a:pt x="19" y="163"/>
                  </a:lnTo>
                  <a:lnTo>
                    <a:pt x="19" y="244"/>
                  </a:lnTo>
                  <a:lnTo>
                    <a:pt x="0" y="244"/>
                  </a:lnTo>
                  <a:close/>
                  <a:moveTo>
                    <a:pt x="0" y="81"/>
                  </a:moveTo>
                  <a:lnTo>
                    <a:pt x="0" y="0"/>
                  </a:lnTo>
                  <a:lnTo>
                    <a:pt x="19" y="0"/>
                  </a:lnTo>
                  <a:lnTo>
                    <a:pt x="19" y="81"/>
                  </a:lnTo>
                  <a:lnTo>
                    <a:pt x="0" y="81"/>
                  </a:ln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9" name="Rectangle 330"/>
            <p:cNvSpPr>
              <a:spLocks noChangeArrowheads="1"/>
            </p:cNvSpPr>
            <p:nvPr/>
          </p:nvSpPr>
          <p:spPr bwMode="auto">
            <a:xfrm>
              <a:off x="927356" y="5260765"/>
              <a:ext cx="940056" cy="280011"/>
            </a:xfrm>
            <a:prstGeom prst="rect">
              <a:avLst/>
            </a:pr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" name="Freeform 331"/>
            <p:cNvSpPr>
              <a:spLocks noEditPoints="1"/>
            </p:cNvSpPr>
            <p:nvPr/>
          </p:nvSpPr>
          <p:spPr bwMode="auto">
            <a:xfrm>
              <a:off x="1037143" y="5388282"/>
              <a:ext cx="698181" cy="24978"/>
            </a:xfrm>
            <a:custGeom>
              <a:avLst/>
              <a:gdLst>
                <a:gd name="T0" fmla="*/ 0 w 407"/>
                <a:gd name="T1" fmla="*/ 19 h 19"/>
                <a:gd name="T2" fmla="*/ 0 w 407"/>
                <a:gd name="T3" fmla="*/ 0 h 19"/>
                <a:gd name="T4" fmla="*/ 81 w 407"/>
                <a:gd name="T5" fmla="*/ 0 h 19"/>
                <a:gd name="T6" fmla="*/ 81 w 407"/>
                <a:gd name="T7" fmla="*/ 19 h 19"/>
                <a:gd name="T8" fmla="*/ 0 w 407"/>
                <a:gd name="T9" fmla="*/ 19 h 19"/>
                <a:gd name="T10" fmla="*/ 163 w 407"/>
                <a:gd name="T11" fmla="*/ 19 h 19"/>
                <a:gd name="T12" fmla="*/ 163 w 407"/>
                <a:gd name="T13" fmla="*/ 0 h 19"/>
                <a:gd name="T14" fmla="*/ 244 w 407"/>
                <a:gd name="T15" fmla="*/ 0 h 19"/>
                <a:gd name="T16" fmla="*/ 244 w 407"/>
                <a:gd name="T17" fmla="*/ 19 h 19"/>
                <a:gd name="T18" fmla="*/ 163 w 407"/>
                <a:gd name="T19" fmla="*/ 19 h 19"/>
                <a:gd name="T20" fmla="*/ 326 w 407"/>
                <a:gd name="T21" fmla="*/ 19 h 19"/>
                <a:gd name="T22" fmla="*/ 326 w 407"/>
                <a:gd name="T23" fmla="*/ 0 h 19"/>
                <a:gd name="T24" fmla="*/ 407 w 407"/>
                <a:gd name="T25" fmla="*/ 0 h 19"/>
                <a:gd name="T26" fmla="*/ 407 w 407"/>
                <a:gd name="T27" fmla="*/ 19 h 19"/>
                <a:gd name="T28" fmla="*/ 326 w 407"/>
                <a:gd name="T2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07" h="19">
                  <a:moveTo>
                    <a:pt x="0" y="19"/>
                  </a:moveTo>
                  <a:lnTo>
                    <a:pt x="0" y="0"/>
                  </a:lnTo>
                  <a:lnTo>
                    <a:pt x="81" y="0"/>
                  </a:lnTo>
                  <a:lnTo>
                    <a:pt x="81" y="19"/>
                  </a:lnTo>
                  <a:lnTo>
                    <a:pt x="0" y="19"/>
                  </a:lnTo>
                  <a:close/>
                  <a:moveTo>
                    <a:pt x="163" y="19"/>
                  </a:moveTo>
                  <a:lnTo>
                    <a:pt x="163" y="0"/>
                  </a:lnTo>
                  <a:lnTo>
                    <a:pt x="244" y="0"/>
                  </a:lnTo>
                  <a:lnTo>
                    <a:pt x="244" y="19"/>
                  </a:lnTo>
                  <a:lnTo>
                    <a:pt x="163" y="19"/>
                  </a:lnTo>
                  <a:close/>
                  <a:moveTo>
                    <a:pt x="326" y="19"/>
                  </a:moveTo>
                  <a:lnTo>
                    <a:pt x="326" y="0"/>
                  </a:lnTo>
                  <a:lnTo>
                    <a:pt x="407" y="0"/>
                  </a:lnTo>
                  <a:lnTo>
                    <a:pt x="407" y="19"/>
                  </a:lnTo>
                  <a:lnTo>
                    <a:pt x="326" y="19"/>
                  </a:ln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1" name="Rectangle 332"/>
            <p:cNvSpPr>
              <a:spLocks noChangeArrowheads="1"/>
            </p:cNvSpPr>
            <p:nvPr/>
          </p:nvSpPr>
          <p:spPr bwMode="auto">
            <a:xfrm>
              <a:off x="2159035" y="5764258"/>
              <a:ext cx="365387" cy="393612"/>
            </a:xfrm>
            <a:prstGeom prst="rect">
              <a:avLst/>
            </a:pr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2" name="Freeform 333"/>
            <p:cNvSpPr>
              <a:spLocks noEditPoints="1"/>
            </p:cNvSpPr>
            <p:nvPr/>
          </p:nvSpPr>
          <p:spPr bwMode="auto">
            <a:xfrm>
              <a:off x="2325431" y="5865482"/>
              <a:ext cx="32594" cy="535044"/>
            </a:xfrm>
            <a:custGeom>
              <a:avLst/>
              <a:gdLst>
                <a:gd name="T0" fmla="*/ 0 w 19"/>
                <a:gd name="T1" fmla="*/ 407 h 407"/>
                <a:gd name="T2" fmla="*/ 0 w 19"/>
                <a:gd name="T3" fmla="*/ 326 h 407"/>
                <a:gd name="T4" fmla="*/ 19 w 19"/>
                <a:gd name="T5" fmla="*/ 326 h 407"/>
                <a:gd name="T6" fmla="*/ 19 w 19"/>
                <a:gd name="T7" fmla="*/ 407 h 407"/>
                <a:gd name="T8" fmla="*/ 0 w 19"/>
                <a:gd name="T9" fmla="*/ 407 h 407"/>
                <a:gd name="T10" fmla="*/ 0 w 19"/>
                <a:gd name="T11" fmla="*/ 244 h 407"/>
                <a:gd name="T12" fmla="*/ 0 w 19"/>
                <a:gd name="T13" fmla="*/ 163 h 407"/>
                <a:gd name="T14" fmla="*/ 19 w 19"/>
                <a:gd name="T15" fmla="*/ 163 h 407"/>
                <a:gd name="T16" fmla="*/ 19 w 19"/>
                <a:gd name="T17" fmla="*/ 244 h 407"/>
                <a:gd name="T18" fmla="*/ 0 w 19"/>
                <a:gd name="T19" fmla="*/ 244 h 407"/>
                <a:gd name="T20" fmla="*/ 0 w 19"/>
                <a:gd name="T21" fmla="*/ 81 h 407"/>
                <a:gd name="T22" fmla="*/ 0 w 19"/>
                <a:gd name="T23" fmla="*/ 0 h 407"/>
                <a:gd name="T24" fmla="*/ 19 w 19"/>
                <a:gd name="T25" fmla="*/ 0 h 407"/>
                <a:gd name="T26" fmla="*/ 19 w 19"/>
                <a:gd name="T27" fmla="*/ 81 h 407"/>
                <a:gd name="T28" fmla="*/ 0 w 19"/>
                <a:gd name="T29" fmla="*/ 81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9" h="407">
                  <a:moveTo>
                    <a:pt x="0" y="407"/>
                  </a:moveTo>
                  <a:lnTo>
                    <a:pt x="0" y="326"/>
                  </a:lnTo>
                  <a:lnTo>
                    <a:pt x="19" y="326"/>
                  </a:lnTo>
                  <a:lnTo>
                    <a:pt x="19" y="407"/>
                  </a:lnTo>
                  <a:lnTo>
                    <a:pt x="0" y="407"/>
                  </a:lnTo>
                  <a:close/>
                  <a:moveTo>
                    <a:pt x="0" y="244"/>
                  </a:moveTo>
                  <a:lnTo>
                    <a:pt x="0" y="163"/>
                  </a:lnTo>
                  <a:lnTo>
                    <a:pt x="19" y="163"/>
                  </a:lnTo>
                  <a:lnTo>
                    <a:pt x="19" y="244"/>
                  </a:lnTo>
                  <a:lnTo>
                    <a:pt x="0" y="244"/>
                  </a:lnTo>
                  <a:close/>
                  <a:moveTo>
                    <a:pt x="0" y="81"/>
                  </a:moveTo>
                  <a:lnTo>
                    <a:pt x="0" y="0"/>
                  </a:lnTo>
                  <a:lnTo>
                    <a:pt x="19" y="0"/>
                  </a:lnTo>
                  <a:lnTo>
                    <a:pt x="19" y="81"/>
                  </a:lnTo>
                  <a:lnTo>
                    <a:pt x="0" y="81"/>
                  </a:ln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3" name="Freeform 334"/>
            <p:cNvSpPr>
              <a:spLocks noEditPoints="1"/>
            </p:cNvSpPr>
            <p:nvPr/>
          </p:nvSpPr>
          <p:spPr bwMode="auto">
            <a:xfrm>
              <a:off x="1735323" y="4936059"/>
              <a:ext cx="1212810" cy="929425"/>
            </a:xfrm>
            <a:custGeom>
              <a:avLst/>
              <a:gdLst>
                <a:gd name="T0" fmla="*/ 512 w 512"/>
                <a:gd name="T1" fmla="*/ 256 h 512"/>
                <a:gd name="T2" fmla="*/ 256 w 512"/>
                <a:gd name="T3" fmla="*/ 0 h 512"/>
                <a:gd name="T4" fmla="*/ 0 w 512"/>
                <a:gd name="T5" fmla="*/ 256 h 512"/>
                <a:gd name="T6" fmla="*/ 256 w 512"/>
                <a:gd name="T7" fmla="*/ 512 h 512"/>
                <a:gd name="T8" fmla="*/ 512 w 512"/>
                <a:gd name="T9" fmla="*/ 256 h 512"/>
                <a:gd name="T10" fmla="*/ 125 w 512"/>
                <a:gd name="T11" fmla="*/ 256 h 512"/>
                <a:gd name="T12" fmla="*/ 256 w 512"/>
                <a:gd name="T13" fmla="*/ 125 h 512"/>
                <a:gd name="T14" fmla="*/ 387 w 512"/>
                <a:gd name="T15" fmla="*/ 256 h 512"/>
                <a:gd name="T16" fmla="*/ 256 w 512"/>
                <a:gd name="T17" fmla="*/ 387 h 512"/>
                <a:gd name="T18" fmla="*/ 125 w 512"/>
                <a:gd name="T19" fmla="*/ 256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512" y="256"/>
                  </a:moveTo>
                  <a:cubicBezTo>
                    <a:pt x="512" y="115"/>
                    <a:pt x="397" y="0"/>
                    <a:pt x="256" y="0"/>
                  </a:cubicBezTo>
                  <a:cubicBezTo>
                    <a:pt x="115" y="0"/>
                    <a:pt x="0" y="115"/>
                    <a:pt x="0" y="256"/>
                  </a:cubicBezTo>
                  <a:cubicBezTo>
                    <a:pt x="0" y="397"/>
                    <a:pt x="115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lose/>
                  <a:moveTo>
                    <a:pt x="125" y="256"/>
                  </a:moveTo>
                  <a:cubicBezTo>
                    <a:pt x="125" y="183"/>
                    <a:pt x="183" y="125"/>
                    <a:pt x="256" y="125"/>
                  </a:cubicBezTo>
                  <a:cubicBezTo>
                    <a:pt x="329" y="125"/>
                    <a:pt x="387" y="183"/>
                    <a:pt x="387" y="256"/>
                  </a:cubicBezTo>
                  <a:cubicBezTo>
                    <a:pt x="387" y="329"/>
                    <a:pt x="329" y="387"/>
                    <a:pt x="256" y="387"/>
                  </a:cubicBezTo>
                  <a:cubicBezTo>
                    <a:pt x="183" y="387"/>
                    <a:pt x="125" y="329"/>
                    <a:pt x="125" y="256"/>
                  </a:cubicBez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4" name="Freeform 335"/>
            <p:cNvSpPr>
              <a:spLocks noEditPoints="1"/>
            </p:cNvSpPr>
            <p:nvPr/>
          </p:nvSpPr>
          <p:spPr bwMode="auto">
            <a:xfrm>
              <a:off x="1851972" y="5025452"/>
              <a:ext cx="979511" cy="750639"/>
            </a:xfrm>
            <a:custGeom>
              <a:avLst/>
              <a:gdLst>
                <a:gd name="T0" fmla="*/ 0 w 414"/>
                <a:gd name="T1" fmla="*/ 207 h 414"/>
                <a:gd name="T2" fmla="*/ 20 w 414"/>
                <a:gd name="T3" fmla="*/ 158 h 414"/>
                <a:gd name="T4" fmla="*/ 0 w 414"/>
                <a:gd name="T5" fmla="*/ 208 h 414"/>
                <a:gd name="T6" fmla="*/ 20 w 414"/>
                <a:gd name="T7" fmla="*/ 258 h 414"/>
                <a:gd name="T8" fmla="*/ 28 w 414"/>
                <a:gd name="T9" fmla="*/ 311 h 414"/>
                <a:gd name="T10" fmla="*/ 28 w 414"/>
                <a:gd name="T11" fmla="*/ 104 h 414"/>
                <a:gd name="T12" fmla="*/ 70 w 414"/>
                <a:gd name="T13" fmla="*/ 71 h 414"/>
                <a:gd name="T14" fmla="*/ 28 w 414"/>
                <a:gd name="T15" fmla="*/ 104 h 414"/>
                <a:gd name="T16" fmla="*/ 70 w 414"/>
                <a:gd name="T17" fmla="*/ 344 h 414"/>
                <a:gd name="T18" fmla="*/ 104 w 414"/>
                <a:gd name="T19" fmla="*/ 386 h 414"/>
                <a:gd name="T20" fmla="*/ 103 w 414"/>
                <a:gd name="T21" fmla="*/ 28 h 414"/>
                <a:gd name="T22" fmla="*/ 156 w 414"/>
                <a:gd name="T23" fmla="*/ 20 h 414"/>
                <a:gd name="T24" fmla="*/ 103 w 414"/>
                <a:gd name="T25" fmla="*/ 28 h 414"/>
                <a:gd name="T26" fmla="*/ 157 w 414"/>
                <a:gd name="T27" fmla="*/ 394 h 414"/>
                <a:gd name="T28" fmla="*/ 207 w 414"/>
                <a:gd name="T29" fmla="*/ 414 h 414"/>
                <a:gd name="T30" fmla="*/ 154 w 414"/>
                <a:gd name="T31" fmla="*/ 407 h 414"/>
                <a:gd name="T32" fmla="*/ 206 w 414"/>
                <a:gd name="T33" fmla="*/ 0 h 414"/>
                <a:gd name="T34" fmla="*/ 260 w 414"/>
                <a:gd name="T35" fmla="*/ 7 h 414"/>
                <a:gd name="T36" fmla="*/ 207 w 414"/>
                <a:gd name="T37" fmla="*/ 13 h 414"/>
                <a:gd name="T38" fmla="*/ 257 w 414"/>
                <a:gd name="T39" fmla="*/ 394 h 414"/>
                <a:gd name="T40" fmla="*/ 311 w 414"/>
                <a:gd name="T41" fmla="*/ 386 h 414"/>
                <a:gd name="T42" fmla="*/ 257 w 414"/>
                <a:gd name="T43" fmla="*/ 394 h 414"/>
                <a:gd name="T44" fmla="*/ 310 w 414"/>
                <a:gd name="T45" fmla="*/ 28 h 414"/>
                <a:gd name="T46" fmla="*/ 344 w 414"/>
                <a:gd name="T47" fmla="*/ 70 h 414"/>
                <a:gd name="T48" fmla="*/ 344 w 414"/>
                <a:gd name="T49" fmla="*/ 344 h 414"/>
                <a:gd name="T50" fmla="*/ 386 w 414"/>
                <a:gd name="T51" fmla="*/ 310 h 414"/>
                <a:gd name="T52" fmla="*/ 344 w 414"/>
                <a:gd name="T53" fmla="*/ 344 h 414"/>
                <a:gd name="T54" fmla="*/ 386 w 414"/>
                <a:gd name="T55" fmla="*/ 104 h 414"/>
                <a:gd name="T56" fmla="*/ 394 w 414"/>
                <a:gd name="T57" fmla="*/ 157 h 414"/>
                <a:gd name="T58" fmla="*/ 394 w 414"/>
                <a:gd name="T59" fmla="*/ 257 h 414"/>
                <a:gd name="T60" fmla="*/ 414 w 414"/>
                <a:gd name="T61" fmla="*/ 207 h 414"/>
                <a:gd name="T62" fmla="*/ 407 w 414"/>
                <a:gd name="T63" fmla="*/ 260 h 4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4" h="414">
                  <a:moveTo>
                    <a:pt x="0" y="208"/>
                  </a:moveTo>
                  <a:cubicBezTo>
                    <a:pt x="0" y="207"/>
                    <a:pt x="0" y="207"/>
                    <a:pt x="0" y="207"/>
                  </a:cubicBezTo>
                  <a:cubicBezTo>
                    <a:pt x="0" y="189"/>
                    <a:pt x="3" y="171"/>
                    <a:pt x="7" y="154"/>
                  </a:cubicBezTo>
                  <a:cubicBezTo>
                    <a:pt x="20" y="158"/>
                    <a:pt x="20" y="158"/>
                    <a:pt x="20" y="158"/>
                  </a:cubicBezTo>
                  <a:cubicBezTo>
                    <a:pt x="16" y="174"/>
                    <a:pt x="13" y="190"/>
                    <a:pt x="13" y="207"/>
                  </a:cubicBezTo>
                  <a:lnTo>
                    <a:pt x="0" y="208"/>
                  </a:lnTo>
                  <a:close/>
                  <a:moveTo>
                    <a:pt x="7" y="261"/>
                  </a:moveTo>
                  <a:cubicBezTo>
                    <a:pt x="20" y="258"/>
                    <a:pt x="20" y="258"/>
                    <a:pt x="20" y="258"/>
                  </a:cubicBezTo>
                  <a:cubicBezTo>
                    <a:pt x="25" y="274"/>
                    <a:pt x="31" y="290"/>
                    <a:pt x="40" y="304"/>
                  </a:cubicBezTo>
                  <a:cubicBezTo>
                    <a:pt x="28" y="311"/>
                    <a:pt x="28" y="311"/>
                    <a:pt x="28" y="311"/>
                  </a:cubicBezTo>
                  <a:cubicBezTo>
                    <a:pt x="19" y="295"/>
                    <a:pt x="12" y="279"/>
                    <a:pt x="7" y="261"/>
                  </a:cubicBezTo>
                  <a:close/>
                  <a:moveTo>
                    <a:pt x="28" y="104"/>
                  </a:moveTo>
                  <a:cubicBezTo>
                    <a:pt x="37" y="89"/>
                    <a:pt x="48" y="74"/>
                    <a:pt x="60" y="61"/>
                  </a:cubicBezTo>
                  <a:cubicBezTo>
                    <a:pt x="70" y="71"/>
                    <a:pt x="70" y="71"/>
                    <a:pt x="70" y="71"/>
                  </a:cubicBezTo>
                  <a:cubicBezTo>
                    <a:pt x="58" y="83"/>
                    <a:pt x="47" y="96"/>
                    <a:pt x="39" y="111"/>
                  </a:cubicBezTo>
                  <a:lnTo>
                    <a:pt x="28" y="104"/>
                  </a:lnTo>
                  <a:close/>
                  <a:moveTo>
                    <a:pt x="61" y="354"/>
                  </a:moveTo>
                  <a:cubicBezTo>
                    <a:pt x="70" y="344"/>
                    <a:pt x="70" y="344"/>
                    <a:pt x="70" y="344"/>
                  </a:cubicBezTo>
                  <a:cubicBezTo>
                    <a:pt x="82" y="356"/>
                    <a:pt x="96" y="367"/>
                    <a:pt x="111" y="375"/>
                  </a:cubicBezTo>
                  <a:cubicBezTo>
                    <a:pt x="104" y="386"/>
                    <a:pt x="104" y="386"/>
                    <a:pt x="104" y="386"/>
                  </a:cubicBezTo>
                  <a:cubicBezTo>
                    <a:pt x="88" y="377"/>
                    <a:pt x="74" y="366"/>
                    <a:pt x="61" y="354"/>
                  </a:cubicBezTo>
                  <a:close/>
                  <a:moveTo>
                    <a:pt x="103" y="28"/>
                  </a:moveTo>
                  <a:cubicBezTo>
                    <a:pt x="119" y="19"/>
                    <a:pt x="135" y="12"/>
                    <a:pt x="153" y="7"/>
                  </a:cubicBezTo>
                  <a:cubicBezTo>
                    <a:pt x="156" y="20"/>
                    <a:pt x="156" y="20"/>
                    <a:pt x="156" y="20"/>
                  </a:cubicBezTo>
                  <a:cubicBezTo>
                    <a:pt x="140" y="25"/>
                    <a:pt x="124" y="31"/>
                    <a:pt x="110" y="40"/>
                  </a:cubicBezTo>
                  <a:lnTo>
                    <a:pt x="103" y="28"/>
                  </a:lnTo>
                  <a:close/>
                  <a:moveTo>
                    <a:pt x="154" y="407"/>
                  </a:moveTo>
                  <a:cubicBezTo>
                    <a:pt x="157" y="394"/>
                    <a:pt x="157" y="394"/>
                    <a:pt x="157" y="394"/>
                  </a:cubicBezTo>
                  <a:cubicBezTo>
                    <a:pt x="173" y="398"/>
                    <a:pt x="190" y="401"/>
                    <a:pt x="207" y="401"/>
                  </a:cubicBezTo>
                  <a:cubicBezTo>
                    <a:pt x="207" y="414"/>
                    <a:pt x="207" y="414"/>
                    <a:pt x="207" y="414"/>
                  </a:cubicBezTo>
                  <a:cubicBezTo>
                    <a:pt x="207" y="414"/>
                    <a:pt x="207" y="414"/>
                    <a:pt x="207" y="414"/>
                  </a:cubicBezTo>
                  <a:cubicBezTo>
                    <a:pt x="189" y="414"/>
                    <a:pt x="171" y="411"/>
                    <a:pt x="154" y="407"/>
                  </a:cubicBezTo>
                  <a:close/>
                  <a:moveTo>
                    <a:pt x="206" y="13"/>
                  </a:moveTo>
                  <a:cubicBezTo>
                    <a:pt x="206" y="0"/>
                    <a:pt x="206" y="0"/>
                    <a:pt x="206" y="0"/>
                  </a:cubicBezTo>
                  <a:cubicBezTo>
                    <a:pt x="207" y="0"/>
                    <a:pt x="207" y="0"/>
                    <a:pt x="207" y="0"/>
                  </a:cubicBezTo>
                  <a:cubicBezTo>
                    <a:pt x="225" y="0"/>
                    <a:pt x="243" y="3"/>
                    <a:pt x="260" y="7"/>
                  </a:cubicBezTo>
                  <a:cubicBezTo>
                    <a:pt x="257" y="20"/>
                    <a:pt x="257" y="20"/>
                    <a:pt x="257" y="20"/>
                  </a:cubicBezTo>
                  <a:cubicBezTo>
                    <a:pt x="241" y="16"/>
                    <a:pt x="224" y="13"/>
                    <a:pt x="207" y="13"/>
                  </a:cubicBezTo>
                  <a:lnTo>
                    <a:pt x="206" y="13"/>
                  </a:lnTo>
                  <a:close/>
                  <a:moveTo>
                    <a:pt x="257" y="394"/>
                  </a:moveTo>
                  <a:cubicBezTo>
                    <a:pt x="274" y="390"/>
                    <a:pt x="289" y="383"/>
                    <a:pt x="304" y="375"/>
                  </a:cubicBezTo>
                  <a:cubicBezTo>
                    <a:pt x="311" y="386"/>
                    <a:pt x="311" y="386"/>
                    <a:pt x="311" y="386"/>
                  </a:cubicBezTo>
                  <a:cubicBezTo>
                    <a:pt x="295" y="395"/>
                    <a:pt x="278" y="402"/>
                    <a:pt x="261" y="407"/>
                  </a:cubicBezTo>
                  <a:lnTo>
                    <a:pt x="257" y="394"/>
                  </a:lnTo>
                  <a:close/>
                  <a:moveTo>
                    <a:pt x="304" y="39"/>
                  </a:moveTo>
                  <a:cubicBezTo>
                    <a:pt x="310" y="28"/>
                    <a:pt x="310" y="28"/>
                    <a:pt x="310" y="28"/>
                  </a:cubicBezTo>
                  <a:cubicBezTo>
                    <a:pt x="326" y="37"/>
                    <a:pt x="340" y="48"/>
                    <a:pt x="353" y="61"/>
                  </a:cubicBezTo>
                  <a:cubicBezTo>
                    <a:pt x="344" y="70"/>
                    <a:pt x="344" y="70"/>
                    <a:pt x="344" y="70"/>
                  </a:cubicBezTo>
                  <a:cubicBezTo>
                    <a:pt x="332" y="58"/>
                    <a:pt x="318" y="48"/>
                    <a:pt x="304" y="39"/>
                  </a:cubicBezTo>
                  <a:close/>
                  <a:moveTo>
                    <a:pt x="344" y="344"/>
                  </a:moveTo>
                  <a:cubicBezTo>
                    <a:pt x="356" y="332"/>
                    <a:pt x="366" y="318"/>
                    <a:pt x="375" y="304"/>
                  </a:cubicBezTo>
                  <a:cubicBezTo>
                    <a:pt x="386" y="310"/>
                    <a:pt x="386" y="310"/>
                    <a:pt x="386" y="310"/>
                  </a:cubicBezTo>
                  <a:cubicBezTo>
                    <a:pt x="377" y="326"/>
                    <a:pt x="366" y="340"/>
                    <a:pt x="353" y="353"/>
                  </a:cubicBezTo>
                  <a:lnTo>
                    <a:pt x="344" y="344"/>
                  </a:lnTo>
                  <a:close/>
                  <a:moveTo>
                    <a:pt x="375" y="110"/>
                  </a:moveTo>
                  <a:cubicBezTo>
                    <a:pt x="386" y="104"/>
                    <a:pt x="386" y="104"/>
                    <a:pt x="386" y="104"/>
                  </a:cubicBezTo>
                  <a:cubicBezTo>
                    <a:pt x="395" y="119"/>
                    <a:pt x="402" y="136"/>
                    <a:pt x="407" y="153"/>
                  </a:cubicBezTo>
                  <a:cubicBezTo>
                    <a:pt x="394" y="157"/>
                    <a:pt x="394" y="157"/>
                    <a:pt x="394" y="157"/>
                  </a:cubicBezTo>
                  <a:cubicBezTo>
                    <a:pt x="390" y="140"/>
                    <a:pt x="383" y="125"/>
                    <a:pt x="375" y="110"/>
                  </a:cubicBezTo>
                  <a:close/>
                  <a:moveTo>
                    <a:pt x="394" y="257"/>
                  </a:moveTo>
                  <a:cubicBezTo>
                    <a:pt x="398" y="241"/>
                    <a:pt x="401" y="224"/>
                    <a:pt x="401" y="207"/>
                  </a:cubicBezTo>
                  <a:cubicBezTo>
                    <a:pt x="414" y="207"/>
                    <a:pt x="414" y="207"/>
                    <a:pt x="414" y="207"/>
                  </a:cubicBezTo>
                  <a:cubicBezTo>
                    <a:pt x="414" y="207"/>
                    <a:pt x="414" y="207"/>
                    <a:pt x="414" y="207"/>
                  </a:cubicBezTo>
                  <a:cubicBezTo>
                    <a:pt x="414" y="225"/>
                    <a:pt x="411" y="243"/>
                    <a:pt x="407" y="260"/>
                  </a:cubicBezTo>
                  <a:lnTo>
                    <a:pt x="394" y="257"/>
                  </a:ln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2" name="Rectangle 330"/>
            <p:cNvSpPr>
              <a:spLocks noChangeArrowheads="1"/>
            </p:cNvSpPr>
            <p:nvPr/>
          </p:nvSpPr>
          <p:spPr bwMode="auto">
            <a:xfrm>
              <a:off x="-12700" y="5260765"/>
              <a:ext cx="1025560" cy="280011"/>
            </a:xfrm>
            <a:prstGeom prst="rect">
              <a:avLst/>
            </a:pr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3" name="Freeform 331"/>
            <p:cNvSpPr>
              <a:spLocks noEditPoints="1"/>
            </p:cNvSpPr>
            <p:nvPr/>
          </p:nvSpPr>
          <p:spPr bwMode="auto">
            <a:xfrm>
              <a:off x="182592" y="5388282"/>
              <a:ext cx="698181" cy="24978"/>
            </a:xfrm>
            <a:custGeom>
              <a:avLst/>
              <a:gdLst>
                <a:gd name="T0" fmla="*/ 0 w 407"/>
                <a:gd name="T1" fmla="*/ 19 h 19"/>
                <a:gd name="T2" fmla="*/ 0 w 407"/>
                <a:gd name="T3" fmla="*/ 0 h 19"/>
                <a:gd name="T4" fmla="*/ 81 w 407"/>
                <a:gd name="T5" fmla="*/ 0 h 19"/>
                <a:gd name="T6" fmla="*/ 81 w 407"/>
                <a:gd name="T7" fmla="*/ 19 h 19"/>
                <a:gd name="T8" fmla="*/ 0 w 407"/>
                <a:gd name="T9" fmla="*/ 19 h 19"/>
                <a:gd name="T10" fmla="*/ 163 w 407"/>
                <a:gd name="T11" fmla="*/ 19 h 19"/>
                <a:gd name="T12" fmla="*/ 163 w 407"/>
                <a:gd name="T13" fmla="*/ 0 h 19"/>
                <a:gd name="T14" fmla="*/ 244 w 407"/>
                <a:gd name="T15" fmla="*/ 0 h 19"/>
                <a:gd name="T16" fmla="*/ 244 w 407"/>
                <a:gd name="T17" fmla="*/ 19 h 19"/>
                <a:gd name="T18" fmla="*/ 163 w 407"/>
                <a:gd name="T19" fmla="*/ 19 h 19"/>
                <a:gd name="T20" fmla="*/ 326 w 407"/>
                <a:gd name="T21" fmla="*/ 19 h 19"/>
                <a:gd name="T22" fmla="*/ 326 w 407"/>
                <a:gd name="T23" fmla="*/ 0 h 19"/>
                <a:gd name="T24" fmla="*/ 407 w 407"/>
                <a:gd name="T25" fmla="*/ 0 h 19"/>
                <a:gd name="T26" fmla="*/ 407 w 407"/>
                <a:gd name="T27" fmla="*/ 19 h 19"/>
                <a:gd name="T28" fmla="*/ 326 w 407"/>
                <a:gd name="T2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07" h="19">
                  <a:moveTo>
                    <a:pt x="0" y="19"/>
                  </a:moveTo>
                  <a:lnTo>
                    <a:pt x="0" y="0"/>
                  </a:lnTo>
                  <a:lnTo>
                    <a:pt x="81" y="0"/>
                  </a:lnTo>
                  <a:lnTo>
                    <a:pt x="81" y="19"/>
                  </a:lnTo>
                  <a:lnTo>
                    <a:pt x="0" y="19"/>
                  </a:lnTo>
                  <a:close/>
                  <a:moveTo>
                    <a:pt x="163" y="19"/>
                  </a:moveTo>
                  <a:lnTo>
                    <a:pt x="163" y="0"/>
                  </a:lnTo>
                  <a:lnTo>
                    <a:pt x="244" y="0"/>
                  </a:lnTo>
                  <a:lnTo>
                    <a:pt x="244" y="19"/>
                  </a:lnTo>
                  <a:lnTo>
                    <a:pt x="163" y="19"/>
                  </a:lnTo>
                  <a:close/>
                  <a:moveTo>
                    <a:pt x="326" y="19"/>
                  </a:moveTo>
                  <a:lnTo>
                    <a:pt x="326" y="0"/>
                  </a:lnTo>
                  <a:lnTo>
                    <a:pt x="407" y="0"/>
                  </a:lnTo>
                  <a:lnTo>
                    <a:pt x="407" y="19"/>
                  </a:lnTo>
                  <a:lnTo>
                    <a:pt x="326" y="19"/>
                  </a:ln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pic>
          <p:nvPicPr>
            <p:cNvPr id="357" name="Picture 356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646763" y="4146067"/>
              <a:ext cx="558590" cy="455162"/>
            </a:xfrm>
            <a:prstGeom prst="rect">
              <a:avLst/>
            </a:prstGeom>
          </p:spPr>
        </p:pic>
        <p:sp>
          <p:nvSpPr>
            <p:cNvPr id="358" name="Rectangle 328"/>
            <p:cNvSpPr>
              <a:spLocks noChangeArrowheads="1"/>
            </p:cNvSpPr>
            <p:nvPr/>
          </p:nvSpPr>
          <p:spPr bwMode="auto">
            <a:xfrm>
              <a:off x="1646634" y="3493808"/>
              <a:ext cx="363671" cy="720402"/>
            </a:xfrm>
            <a:prstGeom prst="rect">
              <a:avLst/>
            </a:pr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9" name="Freeform 329"/>
            <p:cNvSpPr>
              <a:spLocks noEditPoints="1"/>
            </p:cNvSpPr>
            <p:nvPr/>
          </p:nvSpPr>
          <p:spPr bwMode="auto">
            <a:xfrm>
              <a:off x="1811315" y="3576627"/>
              <a:ext cx="32594" cy="535044"/>
            </a:xfrm>
            <a:custGeom>
              <a:avLst/>
              <a:gdLst>
                <a:gd name="T0" fmla="*/ 0 w 19"/>
                <a:gd name="T1" fmla="*/ 407 h 407"/>
                <a:gd name="T2" fmla="*/ 0 w 19"/>
                <a:gd name="T3" fmla="*/ 326 h 407"/>
                <a:gd name="T4" fmla="*/ 19 w 19"/>
                <a:gd name="T5" fmla="*/ 326 h 407"/>
                <a:gd name="T6" fmla="*/ 19 w 19"/>
                <a:gd name="T7" fmla="*/ 407 h 407"/>
                <a:gd name="T8" fmla="*/ 0 w 19"/>
                <a:gd name="T9" fmla="*/ 407 h 407"/>
                <a:gd name="T10" fmla="*/ 0 w 19"/>
                <a:gd name="T11" fmla="*/ 244 h 407"/>
                <a:gd name="T12" fmla="*/ 0 w 19"/>
                <a:gd name="T13" fmla="*/ 163 h 407"/>
                <a:gd name="T14" fmla="*/ 19 w 19"/>
                <a:gd name="T15" fmla="*/ 163 h 407"/>
                <a:gd name="T16" fmla="*/ 19 w 19"/>
                <a:gd name="T17" fmla="*/ 244 h 407"/>
                <a:gd name="T18" fmla="*/ 0 w 19"/>
                <a:gd name="T19" fmla="*/ 244 h 407"/>
                <a:gd name="T20" fmla="*/ 0 w 19"/>
                <a:gd name="T21" fmla="*/ 81 h 407"/>
                <a:gd name="T22" fmla="*/ 0 w 19"/>
                <a:gd name="T23" fmla="*/ 0 h 407"/>
                <a:gd name="T24" fmla="*/ 19 w 19"/>
                <a:gd name="T25" fmla="*/ 0 h 407"/>
                <a:gd name="T26" fmla="*/ 19 w 19"/>
                <a:gd name="T27" fmla="*/ 81 h 407"/>
                <a:gd name="T28" fmla="*/ 0 w 19"/>
                <a:gd name="T29" fmla="*/ 81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9" h="407">
                  <a:moveTo>
                    <a:pt x="0" y="407"/>
                  </a:moveTo>
                  <a:lnTo>
                    <a:pt x="0" y="326"/>
                  </a:lnTo>
                  <a:lnTo>
                    <a:pt x="19" y="326"/>
                  </a:lnTo>
                  <a:lnTo>
                    <a:pt x="19" y="407"/>
                  </a:lnTo>
                  <a:lnTo>
                    <a:pt x="0" y="407"/>
                  </a:lnTo>
                  <a:close/>
                  <a:moveTo>
                    <a:pt x="0" y="244"/>
                  </a:moveTo>
                  <a:lnTo>
                    <a:pt x="0" y="163"/>
                  </a:lnTo>
                  <a:lnTo>
                    <a:pt x="19" y="163"/>
                  </a:lnTo>
                  <a:lnTo>
                    <a:pt x="19" y="244"/>
                  </a:lnTo>
                  <a:lnTo>
                    <a:pt x="0" y="244"/>
                  </a:lnTo>
                  <a:close/>
                  <a:moveTo>
                    <a:pt x="0" y="81"/>
                  </a:moveTo>
                  <a:lnTo>
                    <a:pt x="0" y="0"/>
                  </a:lnTo>
                  <a:lnTo>
                    <a:pt x="19" y="0"/>
                  </a:lnTo>
                  <a:lnTo>
                    <a:pt x="19" y="81"/>
                  </a:lnTo>
                  <a:lnTo>
                    <a:pt x="0" y="81"/>
                  </a:ln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pic>
          <p:nvPicPr>
            <p:cNvPr id="360" name="Picture 359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 flipV="1">
              <a:off x="1643141" y="3047347"/>
              <a:ext cx="566974" cy="461994"/>
            </a:xfrm>
            <a:prstGeom prst="rect">
              <a:avLst/>
            </a:prstGeom>
          </p:spPr>
        </p:pic>
        <p:sp>
          <p:nvSpPr>
            <p:cNvPr id="361" name="Freeform 334"/>
            <p:cNvSpPr>
              <a:spLocks noEditPoints="1"/>
            </p:cNvSpPr>
            <p:nvPr/>
          </p:nvSpPr>
          <p:spPr bwMode="auto">
            <a:xfrm>
              <a:off x="3774381" y="2720607"/>
              <a:ext cx="1212810" cy="929425"/>
            </a:xfrm>
            <a:custGeom>
              <a:avLst/>
              <a:gdLst>
                <a:gd name="T0" fmla="*/ 512 w 512"/>
                <a:gd name="T1" fmla="*/ 256 h 512"/>
                <a:gd name="T2" fmla="*/ 256 w 512"/>
                <a:gd name="T3" fmla="*/ 0 h 512"/>
                <a:gd name="T4" fmla="*/ 0 w 512"/>
                <a:gd name="T5" fmla="*/ 256 h 512"/>
                <a:gd name="T6" fmla="*/ 256 w 512"/>
                <a:gd name="T7" fmla="*/ 512 h 512"/>
                <a:gd name="T8" fmla="*/ 512 w 512"/>
                <a:gd name="T9" fmla="*/ 256 h 512"/>
                <a:gd name="T10" fmla="*/ 125 w 512"/>
                <a:gd name="T11" fmla="*/ 256 h 512"/>
                <a:gd name="T12" fmla="*/ 256 w 512"/>
                <a:gd name="T13" fmla="*/ 125 h 512"/>
                <a:gd name="T14" fmla="*/ 387 w 512"/>
                <a:gd name="T15" fmla="*/ 256 h 512"/>
                <a:gd name="T16" fmla="*/ 256 w 512"/>
                <a:gd name="T17" fmla="*/ 387 h 512"/>
                <a:gd name="T18" fmla="*/ 125 w 512"/>
                <a:gd name="T19" fmla="*/ 256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512" y="256"/>
                  </a:moveTo>
                  <a:cubicBezTo>
                    <a:pt x="512" y="115"/>
                    <a:pt x="397" y="0"/>
                    <a:pt x="256" y="0"/>
                  </a:cubicBezTo>
                  <a:cubicBezTo>
                    <a:pt x="115" y="0"/>
                    <a:pt x="0" y="115"/>
                    <a:pt x="0" y="256"/>
                  </a:cubicBezTo>
                  <a:cubicBezTo>
                    <a:pt x="0" y="397"/>
                    <a:pt x="115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lose/>
                  <a:moveTo>
                    <a:pt x="125" y="256"/>
                  </a:moveTo>
                  <a:cubicBezTo>
                    <a:pt x="125" y="183"/>
                    <a:pt x="183" y="125"/>
                    <a:pt x="256" y="125"/>
                  </a:cubicBezTo>
                  <a:cubicBezTo>
                    <a:pt x="329" y="125"/>
                    <a:pt x="387" y="183"/>
                    <a:pt x="387" y="256"/>
                  </a:cubicBezTo>
                  <a:cubicBezTo>
                    <a:pt x="387" y="329"/>
                    <a:pt x="329" y="387"/>
                    <a:pt x="256" y="387"/>
                  </a:cubicBezTo>
                  <a:cubicBezTo>
                    <a:pt x="183" y="387"/>
                    <a:pt x="125" y="329"/>
                    <a:pt x="125" y="256"/>
                  </a:cubicBez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2" name="Freeform 335"/>
            <p:cNvSpPr>
              <a:spLocks noEditPoints="1"/>
            </p:cNvSpPr>
            <p:nvPr/>
          </p:nvSpPr>
          <p:spPr bwMode="auto">
            <a:xfrm>
              <a:off x="3891031" y="2810000"/>
              <a:ext cx="979511" cy="750639"/>
            </a:xfrm>
            <a:custGeom>
              <a:avLst/>
              <a:gdLst>
                <a:gd name="T0" fmla="*/ 0 w 414"/>
                <a:gd name="T1" fmla="*/ 207 h 414"/>
                <a:gd name="T2" fmla="*/ 20 w 414"/>
                <a:gd name="T3" fmla="*/ 158 h 414"/>
                <a:gd name="T4" fmla="*/ 0 w 414"/>
                <a:gd name="T5" fmla="*/ 208 h 414"/>
                <a:gd name="T6" fmla="*/ 20 w 414"/>
                <a:gd name="T7" fmla="*/ 258 h 414"/>
                <a:gd name="T8" fmla="*/ 28 w 414"/>
                <a:gd name="T9" fmla="*/ 311 h 414"/>
                <a:gd name="T10" fmla="*/ 28 w 414"/>
                <a:gd name="T11" fmla="*/ 104 h 414"/>
                <a:gd name="T12" fmla="*/ 70 w 414"/>
                <a:gd name="T13" fmla="*/ 71 h 414"/>
                <a:gd name="T14" fmla="*/ 28 w 414"/>
                <a:gd name="T15" fmla="*/ 104 h 414"/>
                <a:gd name="T16" fmla="*/ 70 w 414"/>
                <a:gd name="T17" fmla="*/ 344 h 414"/>
                <a:gd name="T18" fmla="*/ 104 w 414"/>
                <a:gd name="T19" fmla="*/ 386 h 414"/>
                <a:gd name="T20" fmla="*/ 103 w 414"/>
                <a:gd name="T21" fmla="*/ 28 h 414"/>
                <a:gd name="T22" fmla="*/ 156 w 414"/>
                <a:gd name="T23" fmla="*/ 20 h 414"/>
                <a:gd name="T24" fmla="*/ 103 w 414"/>
                <a:gd name="T25" fmla="*/ 28 h 414"/>
                <a:gd name="T26" fmla="*/ 157 w 414"/>
                <a:gd name="T27" fmla="*/ 394 h 414"/>
                <a:gd name="T28" fmla="*/ 207 w 414"/>
                <a:gd name="T29" fmla="*/ 414 h 414"/>
                <a:gd name="T30" fmla="*/ 154 w 414"/>
                <a:gd name="T31" fmla="*/ 407 h 414"/>
                <a:gd name="T32" fmla="*/ 206 w 414"/>
                <a:gd name="T33" fmla="*/ 0 h 414"/>
                <a:gd name="T34" fmla="*/ 260 w 414"/>
                <a:gd name="T35" fmla="*/ 7 h 414"/>
                <a:gd name="T36" fmla="*/ 207 w 414"/>
                <a:gd name="T37" fmla="*/ 13 h 414"/>
                <a:gd name="T38" fmla="*/ 257 w 414"/>
                <a:gd name="T39" fmla="*/ 394 h 414"/>
                <a:gd name="T40" fmla="*/ 311 w 414"/>
                <a:gd name="T41" fmla="*/ 386 h 414"/>
                <a:gd name="T42" fmla="*/ 257 w 414"/>
                <a:gd name="T43" fmla="*/ 394 h 414"/>
                <a:gd name="T44" fmla="*/ 310 w 414"/>
                <a:gd name="T45" fmla="*/ 28 h 414"/>
                <a:gd name="T46" fmla="*/ 344 w 414"/>
                <a:gd name="T47" fmla="*/ 70 h 414"/>
                <a:gd name="T48" fmla="*/ 344 w 414"/>
                <a:gd name="T49" fmla="*/ 344 h 414"/>
                <a:gd name="T50" fmla="*/ 386 w 414"/>
                <a:gd name="T51" fmla="*/ 310 h 414"/>
                <a:gd name="T52" fmla="*/ 344 w 414"/>
                <a:gd name="T53" fmla="*/ 344 h 414"/>
                <a:gd name="T54" fmla="*/ 386 w 414"/>
                <a:gd name="T55" fmla="*/ 104 h 414"/>
                <a:gd name="T56" fmla="*/ 394 w 414"/>
                <a:gd name="T57" fmla="*/ 157 h 414"/>
                <a:gd name="T58" fmla="*/ 394 w 414"/>
                <a:gd name="T59" fmla="*/ 257 h 414"/>
                <a:gd name="T60" fmla="*/ 414 w 414"/>
                <a:gd name="T61" fmla="*/ 207 h 414"/>
                <a:gd name="T62" fmla="*/ 407 w 414"/>
                <a:gd name="T63" fmla="*/ 260 h 4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4" h="414">
                  <a:moveTo>
                    <a:pt x="0" y="208"/>
                  </a:moveTo>
                  <a:cubicBezTo>
                    <a:pt x="0" y="207"/>
                    <a:pt x="0" y="207"/>
                    <a:pt x="0" y="207"/>
                  </a:cubicBezTo>
                  <a:cubicBezTo>
                    <a:pt x="0" y="189"/>
                    <a:pt x="3" y="171"/>
                    <a:pt x="7" y="154"/>
                  </a:cubicBezTo>
                  <a:cubicBezTo>
                    <a:pt x="20" y="158"/>
                    <a:pt x="20" y="158"/>
                    <a:pt x="20" y="158"/>
                  </a:cubicBezTo>
                  <a:cubicBezTo>
                    <a:pt x="16" y="174"/>
                    <a:pt x="13" y="190"/>
                    <a:pt x="13" y="207"/>
                  </a:cubicBezTo>
                  <a:lnTo>
                    <a:pt x="0" y="208"/>
                  </a:lnTo>
                  <a:close/>
                  <a:moveTo>
                    <a:pt x="7" y="261"/>
                  </a:moveTo>
                  <a:cubicBezTo>
                    <a:pt x="20" y="258"/>
                    <a:pt x="20" y="258"/>
                    <a:pt x="20" y="258"/>
                  </a:cubicBezTo>
                  <a:cubicBezTo>
                    <a:pt x="25" y="274"/>
                    <a:pt x="31" y="290"/>
                    <a:pt x="40" y="304"/>
                  </a:cubicBezTo>
                  <a:cubicBezTo>
                    <a:pt x="28" y="311"/>
                    <a:pt x="28" y="311"/>
                    <a:pt x="28" y="311"/>
                  </a:cubicBezTo>
                  <a:cubicBezTo>
                    <a:pt x="19" y="295"/>
                    <a:pt x="12" y="279"/>
                    <a:pt x="7" y="261"/>
                  </a:cubicBezTo>
                  <a:close/>
                  <a:moveTo>
                    <a:pt x="28" y="104"/>
                  </a:moveTo>
                  <a:cubicBezTo>
                    <a:pt x="37" y="89"/>
                    <a:pt x="48" y="74"/>
                    <a:pt x="60" y="61"/>
                  </a:cubicBezTo>
                  <a:cubicBezTo>
                    <a:pt x="70" y="71"/>
                    <a:pt x="70" y="71"/>
                    <a:pt x="70" y="71"/>
                  </a:cubicBezTo>
                  <a:cubicBezTo>
                    <a:pt x="58" y="83"/>
                    <a:pt x="47" y="96"/>
                    <a:pt x="39" y="111"/>
                  </a:cubicBezTo>
                  <a:lnTo>
                    <a:pt x="28" y="104"/>
                  </a:lnTo>
                  <a:close/>
                  <a:moveTo>
                    <a:pt x="61" y="354"/>
                  </a:moveTo>
                  <a:cubicBezTo>
                    <a:pt x="70" y="344"/>
                    <a:pt x="70" y="344"/>
                    <a:pt x="70" y="344"/>
                  </a:cubicBezTo>
                  <a:cubicBezTo>
                    <a:pt x="82" y="356"/>
                    <a:pt x="96" y="367"/>
                    <a:pt x="111" y="375"/>
                  </a:cubicBezTo>
                  <a:cubicBezTo>
                    <a:pt x="104" y="386"/>
                    <a:pt x="104" y="386"/>
                    <a:pt x="104" y="386"/>
                  </a:cubicBezTo>
                  <a:cubicBezTo>
                    <a:pt x="88" y="377"/>
                    <a:pt x="74" y="366"/>
                    <a:pt x="61" y="354"/>
                  </a:cubicBezTo>
                  <a:close/>
                  <a:moveTo>
                    <a:pt x="103" y="28"/>
                  </a:moveTo>
                  <a:cubicBezTo>
                    <a:pt x="119" y="19"/>
                    <a:pt x="135" y="12"/>
                    <a:pt x="153" y="7"/>
                  </a:cubicBezTo>
                  <a:cubicBezTo>
                    <a:pt x="156" y="20"/>
                    <a:pt x="156" y="20"/>
                    <a:pt x="156" y="20"/>
                  </a:cubicBezTo>
                  <a:cubicBezTo>
                    <a:pt x="140" y="25"/>
                    <a:pt x="124" y="31"/>
                    <a:pt x="110" y="40"/>
                  </a:cubicBezTo>
                  <a:lnTo>
                    <a:pt x="103" y="28"/>
                  </a:lnTo>
                  <a:close/>
                  <a:moveTo>
                    <a:pt x="154" y="407"/>
                  </a:moveTo>
                  <a:cubicBezTo>
                    <a:pt x="157" y="394"/>
                    <a:pt x="157" y="394"/>
                    <a:pt x="157" y="394"/>
                  </a:cubicBezTo>
                  <a:cubicBezTo>
                    <a:pt x="173" y="398"/>
                    <a:pt x="190" y="401"/>
                    <a:pt x="207" y="401"/>
                  </a:cubicBezTo>
                  <a:cubicBezTo>
                    <a:pt x="207" y="414"/>
                    <a:pt x="207" y="414"/>
                    <a:pt x="207" y="414"/>
                  </a:cubicBezTo>
                  <a:cubicBezTo>
                    <a:pt x="207" y="414"/>
                    <a:pt x="207" y="414"/>
                    <a:pt x="207" y="414"/>
                  </a:cubicBezTo>
                  <a:cubicBezTo>
                    <a:pt x="189" y="414"/>
                    <a:pt x="171" y="411"/>
                    <a:pt x="154" y="407"/>
                  </a:cubicBezTo>
                  <a:close/>
                  <a:moveTo>
                    <a:pt x="206" y="13"/>
                  </a:moveTo>
                  <a:cubicBezTo>
                    <a:pt x="206" y="0"/>
                    <a:pt x="206" y="0"/>
                    <a:pt x="206" y="0"/>
                  </a:cubicBezTo>
                  <a:cubicBezTo>
                    <a:pt x="207" y="0"/>
                    <a:pt x="207" y="0"/>
                    <a:pt x="207" y="0"/>
                  </a:cubicBezTo>
                  <a:cubicBezTo>
                    <a:pt x="225" y="0"/>
                    <a:pt x="243" y="3"/>
                    <a:pt x="260" y="7"/>
                  </a:cubicBezTo>
                  <a:cubicBezTo>
                    <a:pt x="257" y="20"/>
                    <a:pt x="257" y="20"/>
                    <a:pt x="257" y="20"/>
                  </a:cubicBezTo>
                  <a:cubicBezTo>
                    <a:pt x="241" y="16"/>
                    <a:pt x="224" y="13"/>
                    <a:pt x="207" y="13"/>
                  </a:cubicBezTo>
                  <a:lnTo>
                    <a:pt x="206" y="13"/>
                  </a:lnTo>
                  <a:close/>
                  <a:moveTo>
                    <a:pt x="257" y="394"/>
                  </a:moveTo>
                  <a:cubicBezTo>
                    <a:pt x="274" y="390"/>
                    <a:pt x="289" y="383"/>
                    <a:pt x="304" y="375"/>
                  </a:cubicBezTo>
                  <a:cubicBezTo>
                    <a:pt x="311" y="386"/>
                    <a:pt x="311" y="386"/>
                    <a:pt x="311" y="386"/>
                  </a:cubicBezTo>
                  <a:cubicBezTo>
                    <a:pt x="295" y="395"/>
                    <a:pt x="278" y="402"/>
                    <a:pt x="261" y="407"/>
                  </a:cubicBezTo>
                  <a:lnTo>
                    <a:pt x="257" y="394"/>
                  </a:lnTo>
                  <a:close/>
                  <a:moveTo>
                    <a:pt x="304" y="39"/>
                  </a:moveTo>
                  <a:cubicBezTo>
                    <a:pt x="310" y="28"/>
                    <a:pt x="310" y="28"/>
                    <a:pt x="310" y="28"/>
                  </a:cubicBezTo>
                  <a:cubicBezTo>
                    <a:pt x="326" y="37"/>
                    <a:pt x="340" y="48"/>
                    <a:pt x="353" y="61"/>
                  </a:cubicBezTo>
                  <a:cubicBezTo>
                    <a:pt x="344" y="70"/>
                    <a:pt x="344" y="70"/>
                    <a:pt x="344" y="70"/>
                  </a:cubicBezTo>
                  <a:cubicBezTo>
                    <a:pt x="332" y="58"/>
                    <a:pt x="318" y="48"/>
                    <a:pt x="304" y="39"/>
                  </a:cubicBezTo>
                  <a:close/>
                  <a:moveTo>
                    <a:pt x="344" y="344"/>
                  </a:moveTo>
                  <a:cubicBezTo>
                    <a:pt x="356" y="332"/>
                    <a:pt x="366" y="318"/>
                    <a:pt x="375" y="304"/>
                  </a:cubicBezTo>
                  <a:cubicBezTo>
                    <a:pt x="386" y="310"/>
                    <a:pt x="386" y="310"/>
                    <a:pt x="386" y="310"/>
                  </a:cubicBezTo>
                  <a:cubicBezTo>
                    <a:pt x="377" y="326"/>
                    <a:pt x="366" y="340"/>
                    <a:pt x="353" y="353"/>
                  </a:cubicBezTo>
                  <a:lnTo>
                    <a:pt x="344" y="344"/>
                  </a:lnTo>
                  <a:close/>
                  <a:moveTo>
                    <a:pt x="375" y="110"/>
                  </a:moveTo>
                  <a:cubicBezTo>
                    <a:pt x="386" y="104"/>
                    <a:pt x="386" y="104"/>
                    <a:pt x="386" y="104"/>
                  </a:cubicBezTo>
                  <a:cubicBezTo>
                    <a:pt x="395" y="119"/>
                    <a:pt x="402" y="136"/>
                    <a:pt x="407" y="153"/>
                  </a:cubicBezTo>
                  <a:cubicBezTo>
                    <a:pt x="394" y="157"/>
                    <a:pt x="394" y="157"/>
                    <a:pt x="394" y="157"/>
                  </a:cubicBezTo>
                  <a:cubicBezTo>
                    <a:pt x="390" y="140"/>
                    <a:pt x="383" y="125"/>
                    <a:pt x="375" y="110"/>
                  </a:cubicBezTo>
                  <a:close/>
                  <a:moveTo>
                    <a:pt x="394" y="257"/>
                  </a:moveTo>
                  <a:cubicBezTo>
                    <a:pt x="398" y="241"/>
                    <a:pt x="401" y="224"/>
                    <a:pt x="401" y="207"/>
                  </a:cubicBezTo>
                  <a:cubicBezTo>
                    <a:pt x="414" y="207"/>
                    <a:pt x="414" y="207"/>
                    <a:pt x="414" y="207"/>
                  </a:cubicBezTo>
                  <a:cubicBezTo>
                    <a:pt x="414" y="207"/>
                    <a:pt x="414" y="207"/>
                    <a:pt x="414" y="207"/>
                  </a:cubicBezTo>
                  <a:cubicBezTo>
                    <a:pt x="414" y="225"/>
                    <a:pt x="411" y="243"/>
                    <a:pt x="407" y="260"/>
                  </a:cubicBezTo>
                  <a:lnTo>
                    <a:pt x="394" y="257"/>
                  </a:ln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pic>
          <p:nvPicPr>
            <p:cNvPr id="363" name="Picture 362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4894611" y="3044966"/>
              <a:ext cx="1718753" cy="280704"/>
            </a:xfrm>
            <a:prstGeom prst="rect">
              <a:avLst/>
            </a:prstGeom>
          </p:spPr>
        </p:pic>
        <p:pic>
          <p:nvPicPr>
            <p:cNvPr id="366" name="Picture 36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 rot="1290760" flipH="1">
              <a:off x="4789167" y="2780438"/>
              <a:ext cx="421263" cy="424652"/>
            </a:xfrm>
            <a:prstGeom prst="rect">
              <a:avLst/>
            </a:prstGeom>
          </p:spPr>
        </p:pic>
        <p:pic>
          <p:nvPicPr>
            <p:cNvPr id="373" name="Picture 372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 rot="5400000">
              <a:off x="4493297" y="5335200"/>
              <a:ext cx="1317149" cy="366292"/>
            </a:xfrm>
            <a:prstGeom prst="rect">
              <a:avLst/>
            </a:prstGeom>
          </p:spPr>
        </p:pic>
        <p:pic>
          <p:nvPicPr>
            <p:cNvPr id="374" name="Picture 373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 rot="11124688" flipV="1">
              <a:off x="4751284" y="6131810"/>
              <a:ext cx="558590" cy="455162"/>
            </a:xfrm>
            <a:prstGeom prst="rect">
              <a:avLst/>
            </a:prstGeom>
          </p:spPr>
        </p:pic>
        <p:pic>
          <p:nvPicPr>
            <p:cNvPr id="376" name="Picture 375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666911" y="6277364"/>
              <a:ext cx="1718753" cy="283806"/>
            </a:xfrm>
            <a:prstGeom prst="rect">
              <a:avLst/>
            </a:prstGeom>
          </p:spPr>
        </p:pic>
        <p:pic>
          <p:nvPicPr>
            <p:cNvPr id="377" name="Picture 376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 rot="16039579" flipV="1">
              <a:off x="2248291" y="6046764"/>
              <a:ext cx="439614" cy="609961"/>
            </a:xfrm>
            <a:prstGeom prst="rect">
              <a:avLst/>
            </a:prstGeom>
          </p:spPr>
        </p:pic>
        <p:pic>
          <p:nvPicPr>
            <p:cNvPr id="379" name="Picture 378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183754" y="6277364"/>
              <a:ext cx="1710856" cy="283806"/>
            </a:xfrm>
            <a:prstGeom prst="rect">
              <a:avLst/>
            </a:prstGeom>
          </p:spPr>
        </p:pic>
        <p:pic>
          <p:nvPicPr>
            <p:cNvPr id="380" name="Picture 379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 rot="5400000" flipV="1">
              <a:off x="7281704" y="2179733"/>
              <a:ext cx="428069" cy="593943"/>
            </a:xfrm>
            <a:prstGeom prst="rect">
              <a:avLst/>
            </a:prstGeom>
          </p:spPr>
        </p:pic>
        <p:pic>
          <p:nvPicPr>
            <p:cNvPr id="381" name="Picture 380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 rot="5400000">
              <a:off x="6947153" y="3140857"/>
              <a:ext cx="1317149" cy="366292"/>
            </a:xfrm>
            <a:prstGeom prst="rect">
              <a:avLst/>
            </a:prstGeom>
          </p:spPr>
        </p:pic>
        <p:pic>
          <p:nvPicPr>
            <p:cNvPr id="382" name="Picture 381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758066" y="3044966"/>
              <a:ext cx="1718753" cy="280704"/>
            </a:xfrm>
            <a:prstGeom prst="rect">
              <a:avLst/>
            </a:prstGeom>
          </p:spPr>
        </p:pic>
        <p:pic>
          <p:nvPicPr>
            <p:cNvPr id="383" name="Picture 382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 rot="5400000" flipH="1">
              <a:off x="7504640" y="3877414"/>
              <a:ext cx="428069" cy="593943"/>
            </a:xfrm>
            <a:prstGeom prst="rect">
              <a:avLst/>
            </a:prstGeom>
          </p:spPr>
        </p:pic>
      </p:grpSp>
      <p:grpSp>
        <p:nvGrpSpPr>
          <p:cNvPr id="8060" name="Group 8059"/>
          <p:cNvGrpSpPr/>
          <p:nvPr/>
        </p:nvGrpSpPr>
        <p:grpSpPr>
          <a:xfrm>
            <a:off x="3591719" y="5970382"/>
            <a:ext cx="376237" cy="479152"/>
            <a:chOff x="3591719" y="5970382"/>
            <a:chExt cx="376237" cy="479152"/>
          </a:xfrm>
        </p:grpSpPr>
        <p:sp>
          <p:nvSpPr>
            <p:cNvPr id="7588" name="AutoShape 3"/>
            <p:cNvSpPr>
              <a:spLocks noChangeAspect="1" noChangeArrowheads="1" noTextEdit="1"/>
            </p:cNvSpPr>
            <p:nvPr/>
          </p:nvSpPr>
          <p:spPr bwMode="auto">
            <a:xfrm>
              <a:off x="3611099" y="5975060"/>
              <a:ext cx="336141" cy="4731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589" name="Freeform 5"/>
            <p:cNvSpPr>
              <a:spLocks/>
            </p:cNvSpPr>
            <p:nvPr/>
          </p:nvSpPr>
          <p:spPr bwMode="auto">
            <a:xfrm>
              <a:off x="3591719" y="5984416"/>
              <a:ext cx="174419" cy="263300"/>
            </a:xfrm>
            <a:custGeom>
              <a:avLst/>
              <a:gdLst>
                <a:gd name="T0" fmla="*/ 23 w 109"/>
                <a:gd name="T1" fmla="*/ 78 h 165"/>
                <a:gd name="T2" fmla="*/ 42 w 109"/>
                <a:gd name="T3" fmla="*/ 51 h 165"/>
                <a:gd name="T4" fmla="*/ 59 w 109"/>
                <a:gd name="T5" fmla="*/ 31 h 165"/>
                <a:gd name="T6" fmla="*/ 88 w 109"/>
                <a:gd name="T7" fmla="*/ 15 h 165"/>
                <a:gd name="T8" fmla="*/ 88 w 109"/>
                <a:gd name="T9" fmla="*/ 66 h 165"/>
                <a:gd name="T10" fmla="*/ 72 w 109"/>
                <a:gd name="T11" fmla="*/ 109 h 165"/>
                <a:gd name="T12" fmla="*/ 61 w 109"/>
                <a:gd name="T13" fmla="*/ 137 h 165"/>
                <a:gd name="T14" fmla="*/ 43 w 109"/>
                <a:gd name="T15" fmla="*/ 165 h 165"/>
                <a:gd name="T16" fmla="*/ 30 w 109"/>
                <a:gd name="T17" fmla="*/ 143 h 165"/>
                <a:gd name="T18" fmla="*/ 23 w 109"/>
                <a:gd name="T19" fmla="*/ 109 h 165"/>
                <a:gd name="T20" fmla="*/ 23 w 109"/>
                <a:gd name="T21" fmla="*/ 78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9" h="165">
                  <a:moveTo>
                    <a:pt x="23" y="78"/>
                  </a:moveTo>
                  <a:cubicBezTo>
                    <a:pt x="11" y="41"/>
                    <a:pt x="42" y="51"/>
                    <a:pt x="42" y="51"/>
                  </a:cubicBezTo>
                  <a:cubicBezTo>
                    <a:pt x="40" y="29"/>
                    <a:pt x="59" y="31"/>
                    <a:pt x="59" y="31"/>
                  </a:cubicBezTo>
                  <a:cubicBezTo>
                    <a:pt x="62" y="0"/>
                    <a:pt x="88" y="15"/>
                    <a:pt x="88" y="15"/>
                  </a:cubicBezTo>
                  <a:cubicBezTo>
                    <a:pt x="102" y="24"/>
                    <a:pt x="88" y="66"/>
                    <a:pt x="88" y="66"/>
                  </a:cubicBezTo>
                  <a:cubicBezTo>
                    <a:pt x="109" y="82"/>
                    <a:pt x="72" y="109"/>
                    <a:pt x="72" y="109"/>
                  </a:cubicBezTo>
                  <a:cubicBezTo>
                    <a:pt x="88" y="127"/>
                    <a:pt x="61" y="137"/>
                    <a:pt x="61" y="137"/>
                  </a:cubicBezTo>
                  <a:cubicBezTo>
                    <a:pt x="65" y="164"/>
                    <a:pt x="43" y="165"/>
                    <a:pt x="43" y="165"/>
                  </a:cubicBezTo>
                  <a:cubicBezTo>
                    <a:pt x="25" y="163"/>
                    <a:pt x="30" y="143"/>
                    <a:pt x="30" y="143"/>
                  </a:cubicBezTo>
                  <a:cubicBezTo>
                    <a:pt x="3" y="132"/>
                    <a:pt x="23" y="109"/>
                    <a:pt x="23" y="109"/>
                  </a:cubicBezTo>
                  <a:cubicBezTo>
                    <a:pt x="0" y="92"/>
                    <a:pt x="23" y="78"/>
                    <a:pt x="23" y="78"/>
                  </a:cubicBezTo>
                  <a:close/>
                </a:path>
              </a:pathLst>
            </a:custGeom>
            <a:solidFill>
              <a:srgbClr val="09B89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590" name="Freeform 6"/>
            <p:cNvSpPr>
              <a:spLocks/>
            </p:cNvSpPr>
            <p:nvPr/>
          </p:nvSpPr>
          <p:spPr bwMode="auto">
            <a:xfrm>
              <a:off x="3726042" y="6226999"/>
              <a:ext cx="82197" cy="222535"/>
            </a:xfrm>
            <a:custGeom>
              <a:avLst/>
              <a:gdLst>
                <a:gd name="T0" fmla="*/ 4 w 51"/>
                <a:gd name="T1" fmla="*/ 12 h 140"/>
                <a:gd name="T2" fmla="*/ 18 w 51"/>
                <a:gd name="T3" fmla="*/ 38 h 140"/>
                <a:gd name="T4" fmla="*/ 19 w 51"/>
                <a:gd name="T5" fmla="*/ 39 h 140"/>
                <a:gd name="T6" fmla="*/ 18 w 51"/>
                <a:gd name="T7" fmla="*/ 38 h 140"/>
                <a:gd name="T8" fmla="*/ 23 w 51"/>
                <a:gd name="T9" fmla="*/ 0 h 140"/>
                <a:gd name="T10" fmla="*/ 32 w 51"/>
                <a:gd name="T11" fmla="*/ 5 h 140"/>
                <a:gd name="T12" fmla="*/ 26 w 51"/>
                <a:gd name="T13" fmla="*/ 46 h 140"/>
                <a:gd name="T14" fmla="*/ 26 w 51"/>
                <a:gd name="T15" fmla="*/ 48 h 140"/>
                <a:gd name="T16" fmla="*/ 26 w 51"/>
                <a:gd name="T17" fmla="*/ 46 h 140"/>
                <a:gd name="T18" fmla="*/ 50 w 51"/>
                <a:gd name="T19" fmla="*/ 6 h 140"/>
                <a:gd name="T20" fmla="*/ 51 w 51"/>
                <a:gd name="T21" fmla="*/ 19 h 140"/>
                <a:gd name="T22" fmla="*/ 32 w 51"/>
                <a:gd name="T23" fmla="*/ 63 h 140"/>
                <a:gd name="T24" fmla="*/ 35 w 51"/>
                <a:gd name="T25" fmla="*/ 137 h 140"/>
                <a:gd name="T26" fmla="*/ 19 w 51"/>
                <a:gd name="T27" fmla="*/ 140 h 140"/>
                <a:gd name="T28" fmla="*/ 7 w 51"/>
                <a:gd name="T29" fmla="*/ 138 h 140"/>
                <a:gd name="T30" fmla="*/ 4 w 51"/>
                <a:gd name="T31" fmla="*/ 137 h 140"/>
                <a:gd name="T32" fmla="*/ 10 w 51"/>
                <a:gd name="T33" fmla="*/ 81 h 140"/>
                <a:gd name="T34" fmla="*/ 0 w 51"/>
                <a:gd name="T35" fmla="*/ 25 h 140"/>
                <a:gd name="T36" fmla="*/ 4 w 51"/>
                <a:gd name="T37" fmla="*/ 12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1" h="140">
                  <a:moveTo>
                    <a:pt x="4" y="12"/>
                  </a:moveTo>
                  <a:cubicBezTo>
                    <a:pt x="14" y="21"/>
                    <a:pt x="18" y="34"/>
                    <a:pt x="18" y="38"/>
                  </a:cubicBezTo>
                  <a:cubicBezTo>
                    <a:pt x="18" y="39"/>
                    <a:pt x="19" y="39"/>
                    <a:pt x="19" y="39"/>
                  </a:cubicBezTo>
                  <a:cubicBezTo>
                    <a:pt x="19" y="39"/>
                    <a:pt x="19" y="39"/>
                    <a:pt x="18" y="38"/>
                  </a:cubicBezTo>
                  <a:cubicBezTo>
                    <a:pt x="18" y="32"/>
                    <a:pt x="23" y="0"/>
                    <a:pt x="23" y="0"/>
                  </a:cubicBezTo>
                  <a:cubicBezTo>
                    <a:pt x="32" y="5"/>
                    <a:pt x="32" y="5"/>
                    <a:pt x="32" y="5"/>
                  </a:cubicBezTo>
                  <a:cubicBezTo>
                    <a:pt x="28" y="11"/>
                    <a:pt x="26" y="38"/>
                    <a:pt x="26" y="46"/>
                  </a:cubicBezTo>
                  <a:cubicBezTo>
                    <a:pt x="26" y="47"/>
                    <a:pt x="26" y="47"/>
                    <a:pt x="26" y="48"/>
                  </a:cubicBezTo>
                  <a:cubicBezTo>
                    <a:pt x="26" y="48"/>
                    <a:pt x="26" y="47"/>
                    <a:pt x="26" y="46"/>
                  </a:cubicBezTo>
                  <a:cubicBezTo>
                    <a:pt x="28" y="29"/>
                    <a:pt x="50" y="6"/>
                    <a:pt x="50" y="6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44" y="21"/>
                    <a:pt x="37" y="41"/>
                    <a:pt x="32" y="63"/>
                  </a:cubicBezTo>
                  <a:cubicBezTo>
                    <a:pt x="27" y="85"/>
                    <a:pt x="35" y="137"/>
                    <a:pt x="35" y="137"/>
                  </a:cubicBezTo>
                  <a:cubicBezTo>
                    <a:pt x="35" y="137"/>
                    <a:pt x="23" y="140"/>
                    <a:pt x="19" y="140"/>
                  </a:cubicBezTo>
                  <a:cubicBezTo>
                    <a:pt x="16" y="140"/>
                    <a:pt x="7" y="138"/>
                    <a:pt x="7" y="138"/>
                  </a:cubicBezTo>
                  <a:cubicBezTo>
                    <a:pt x="4" y="137"/>
                    <a:pt x="4" y="137"/>
                    <a:pt x="4" y="137"/>
                  </a:cubicBezTo>
                  <a:cubicBezTo>
                    <a:pt x="7" y="130"/>
                    <a:pt x="10" y="81"/>
                    <a:pt x="10" y="81"/>
                  </a:cubicBezTo>
                  <a:cubicBezTo>
                    <a:pt x="13" y="38"/>
                    <a:pt x="0" y="25"/>
                    <a:pt x="0" y="25"/>
                  </a:cubicBezTo>
                  <a:lnTo>
                    <a:pt x="4" y="12"/>
                  </a:lnTo>
                  <a:close/>
                </a:path>
              </a:pathLst>
            </a:custGeom>
            <a:solidFill>
              <a:srgbClr val="543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591" name="Freeform 7"/>
            <p:cNvSpPr>
              <a:spLocks/>
            </p:cNvSpPr>
            <p:nvPr/>
          </p:nvSpPr>
          <p:spPr bwMode="auto">
            <a:xfrm>
              <a:off x="3754777" y="6287143"/>
              <a:ext cx="2005" cy="2005"/>
            </a:xfrm>
            <a:custGeom>
              <a:avLst/>
              <a:gdLst>
                <a:gd name="T0" fmla="*/ 0 w 1"/>
                <a:gd name="T1" fmla="*/ 0 h 1"/>
                <a:gd name="T2" fmla="*/ 1 w 1"/>
                <a:gd name="T3" fmla="*/ 1 h 1"/>
                <a:gd name="T4" fmla="*/ 0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0" y="1"/>
                    <a:pt x="0" y="0"/>
                  </a:cubicBezTo>
                  <a:close/>
                </a:path>
              </a:pathLst>
            </a:custGeom>
            <a:solidFill>
              <a:srgbClr val="543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592" name="Freeform 8"/>
            <p:cNvSpPr>
              <a:spLocks/>
            </p:cNvSpPr>
            <p:nvPr/>
          </p:nvSpPr>
          <p:spPr bwMode="auto">
            <a:xfrm>
              <a:off x="3768143" y="6299840"/>
              <a:ext cx="0" cy="3342"/>
            </a:xfrm>
            <a:custGeom>
              <a:avLst/>
              <a:gdLst>
                <a:gd name="T0" fmla="*/ 0 h 2"/>
                <a:gd name="T1" fmla="*/ 2 h 2"/>
                <a:gd name="T2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1"/>
                    <a:pt x="0" y="1"/>
                    <a:pt x="0" y="0"/>
                  </a:cubicBezTo>
                  <a:close/>
                </a:path>
              </a:pathLst>
            </a:custGeom>
            <a:solidFill>
              <a:srgbClr val="543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593" name="Freeform 9"/>
            <p:cNvSpPr>
              <a:spLocks/>
            </p:cNvSpPr>
            <p:nvPr/>
          </p:nvSpPr>
          <p:spPr bwMode="auto">
            <a:xfrm>
              <a:off x="3638498" y="6092676"/>
              <a:ext cx="87544" cy="126304"/>
            </a:xfrm>
            <a:custGeom>
              <a:avLst/>
              <a:gdLst>
                <a:gd name="T0" fmla="*/ 18 w 55"/>
                <a:gd name="T1" fmla="*/ 26 h 79"/>
                <a:gd name="T2" fmla="*/ 36 w 55"/>
                <a:gd name="T3" fmla="*/ 6 h 79"/>
                <a:gd name="T4" fmla="*/ 32 w 55"/>
                <a:gd name="T5" fmla="*/ 73 h 79"/>
                <a:gd name="T6" fmla="*/ 16 w 55"/>
                <a:gd name="T7" fmla="*/ 51 h 79"/>
                <a:gd name="T8" fmla="*/ 18 w 55"/>
                <a:gd name="T9" fmla="*/ 2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79">
                  <a:moveTo>
                    <a:pt x="18" y="26"/>
                  </a:moveTo>
                  <a:cubicBezTo>
                    <a:pt x="7" y="0"/>
                    <a:pt x="36" y="6"/>
                    <a:pt x="36" y="6"/>
                  </a:cubicBezTo>
                  <a:cubicBezTo>
                    <a:pt x="55" y="10"/>
                    <a:pt x="32" y="73"/>
                    <a:pt x="32" y="73"/>
                  </a:cubicBezTo>
                  <a:cubicBezTo>
                    <a:pt x="5" y="79"/>
                    <a:pt x="16" y="51"/>
                    <a:pt x="16" y="51"/>
                  </a:cubicBezTo>
                  <a:cubicBezTo>
                    <a:pt x="0" y="35"/>
                    <a:pt x="18" y="26"/>
                    <a:pt x="18" y="26"/>
                  </a:cubicBezTo>
                  <a:close/>
                </a:path>
              </a:pathLst>
            </a:custGeom>
            <a:solidFill>
              <a:srgbClr val="5EC3A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594" name="Freeform 10"/>
            <p:cNvSpPr>
              <a:spLocks/>
            </p:cNvSpPr>
            <p:nvPr/>
          </p:nvSpPr>
          <p:spPr bwMode="auto">
            <a:xfrm>
              <a:off x="3729383" y="6051243"/>
              <a:ext cx="4678" cy="2005"/>
            </a:xfrm>
            <a:custGeom>
              <a:avLst/>
              <a:gdLst>
                <a:gd name="T0" fmla="*/ 0 w 3"/>
                <a:gd name="T1" fmla="*/ 0 h 1"/>
                <a:gd name="T2" fmla="*/ 3 w 3"/>
                <a:gd name="T3" fmla="*/ 1 h 1"/>
                <a:gd name="T4" fmla="*/ 0 w 3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1">
                  <a:moveTo>
                    <a:pt x="0" y="0"/>
                  </a:moveTo>
                  <a:cubicBezTo>
                    <a:pt x="2" y="0"/>
                    <a:pt x="3" y="1"/>
                    <a:pt x="3" y="1"/>
                  </a:cubicBezTo>
                  <a:cubicBezTo>
                    <a:pt x="2" y="1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595" name="Freeform 11"/>
            <p:cNvSpPr>
              <a:spLocks/>
            </p:cNvSpPr>
            <p:nvPr/>
          </p:nvSpPr>
          <p:spPr bwMode="auto">
            <a:xfrm>
              <a:off x="3691291" y="5970382"/>
              <a:ext cx="142342" cy="173751"/>
            </a:xfrm>
            <a:custGeom>
              <a:avLst/>
              <a:gdLst>
                <a:gd name="T0" fmla="*/ 12 w 89"/>
                <a:gd name="T1" fmla="*/ 77 h 109"/>
                <a:gd name="T2" fmla="*/ 9 w 89"/>
                <a:gd name="T3" fmla="*/ 60 h 109"/>
                <a:gd name="T4" fmla="*/ 24 w 89"/>
                <a:gd name="T5" fmla="*/ 51 h 109"/>
                <a:gd name="T6" fmla="*/ 27 w 89"/>
                <a:gd name="T7" fmla="*/ 52 h 109"/>
                <a:gd name="T8" fmla="*/ 24 w 89"/>
                <a:gd name="T9" fmla="*/ 51 h 109"/>
                <a:gd name="T10" fmla="*/ 20 w 89"/>
                <a:gd name="T11" fmla="*/ 33 h 109"/>
                <a:gd name="T12" fmla="*/ 46 w 89"/>
                <a:gd name="T13" fmla="*/ 19 h 109"/>
                <a:gd name="T14" fmla="*/ 67 w 89"/>
                <a:gd name="T15" fmla="*/ 3 h 109"/>
                <a:gd name="T16" fmla="*/ 79 w 89"/>
                <a:gd name="T17" fmla="*/ 19 h 109"/>
                <a:gd name="T18" fmla="*/ 71 w 89"/>
                <a:gd name="T19" fmla="*/ 40 h 109"/>
                <a:gd name="T20" fmla="*/ 59 w 89"/>
                <a:gd name="T21" fmla="*/ 59 h 109"/>
                <a:gd name="T22" fmla="*/ 45 w 89"/>
                <a:gd name="T23" fmla="*/ 83 h 109"/>
                <a:gd name="T24" fmla="*/ 23 w 89"/>
                <a:gd name="T25" fmla="*/ 107 h 109"/>
                <a:gd name="T26" fmla="*/ 3 w 89"/>
                <a:gd name="T27" fmla="*/ 94 h 109"/>
                <a:gd name="T28" fmla="*/ 12 w 89"/>
                <a:gd name="T29" fmla="*/ 7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9" h="109">
                  <a:moveTo>
                    <a:pt x="12" y="77"/>
                  </a:moveTo>
                  <a:cubicBezTo>
                    <a:pt x="6" y="64"/>
                    <a:pt x="9" y="60"/>
                    <a:pt x="9" y="60"/>
                  </a:cubicBezTo>
                  <a:cubicBezTo>
                    <a:pt x="11" y="50"/>
                    <a:pt x="20" y="50"/>
                    <a:pt x="24" y="51"/>
                  </a:cubicBezTo>
                  <a:cubicBezTo>
                    <a:pt x="25" y="51"/>
                    <a:pt x="26" y="52"/>
                    <a:pt x="27" y="52"/>
                  </a:cubicBezTo>
                  <a:cubicBezTo>
                    <a:pt x="27" y="52"/>
                    <a:pt x="26" y="51"/>
                    <a:pt x="24" y="51"/>
                  </a:cubicBezTo>
                  <a:cubicBezTo>
                    <a:pt x="18" y="48"/>
                    <a:pt x="20" y="33"/>
                    <a:pt x="20" y="33"/>
                  </a:cubicBezTo>
                  <a:cubicBezTo>
                    <a:pt x="23" y="9"/>
                    <a:pt x="46" y="19"/>
                    <a:pt x="46" y="19"/>
                  </a:cubicBezTo>
                  <a:cubicBezTo>
                    <a:pt x="47" y="0"/>
                    <a:pt x="67" y="3"/>
                    <a:pt x="67" y="3"/>
                  </a:cubicBezTo>
                  <a:cubicBezTo>
                    <a:pt x="80" y="4"/>
                    <a:pt x="79" y="19"/>
                    <a:pt x="79" y="19"/>
                  </a:cubicBezTo>
                  <a:cubicBezTo>
                    <a:pt x="81" y="27"/>
                    <a:pt x="71" y="40"/>
                    <a:pt x="71" y="40"/>
                  </a:cubicBezTo>
                  <a:cubicBezTo>
                    <a:pt x="89" y="68"/>
                    <a:pt x="59" y="59"/>
                    <a:pt x="59" y="59"/>
                  </a:cubicBezTo>
                  <a:cubicBezTo>
                    <a:pt x="80" y="75"/>
                    <a:pt x="45" y="83"/>
                    <a:pt x="45" y="83"/>
                  </a:cubicBezTo>
                  <a:cubicBezTo>
                    <a:pt x="51" y="109"/>
                    <a:pt x="23" y="107"/>
                    <a:pt x="23" y="107"/>
                  </a:cubicBezTo>
                  <a:cubicBezTo>
                    <a:pt x="5" y="109"/>
                    <a:pt x="3" y="94"/>
                    <a:pt x="3" y="94"/>
                  </a:cubicBezTo>
                  <a:cubicBezTo>
                    <a:pt x="0" y="84"/>
                    <a:pt x="12" y="77"/>
                    <a:pt x="12" y="77"/>
                  </a:cubicBezTo>
                  <a:close/>
                </a:path>
              </a:pathLst>
            </a:custGeom>
            <a:solidFill>
              <a:srgbClr val="5EC3A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596" name="Freeform 12"/>
            <p:cNvSpPr>
              <a:spLocks/>
            </p:cNvSpPr>
            <p:nvPr/>
          </p:nvSpPr>
          <p:spPr bwMode="auto">
            <a:xfrm>
              <a:off x="3742080" y="5987757"/>
              <a:ext cx="176424" cy="170410"/>
            </a:xfrm>
            <a:custGeom>
              <a:avLst/>
              <a:gdLst>
                <a:gd name="T0" fmla="*/ 24 w 110"/>
                <a:gd name="T1" fmla="*/ 35 h 107"/>
                <a:gd name="T2" fmla="*/ 39 w 110"/>
                <a:gd name="T3" fmla="*/ 21 h 107"/>
                <a:gd name="T4" fmla="*/ 55 w 110"/>
                <a:gd name="T5" fmla="*/ 2 h 107"/>
                <a:gd name="T6" fmla="*/ 69 w 110"/>
                <a:gd name="T7" fmla="*/ 20 h 107"/>
                <a:gd name="T8" fmla="*/ 88 w 110"/>
                <a:gd name="T9" fmla="*/ 38 h 107"/>
                <a:gd name="T10" fmla="*/ 78 w 110"/>
                <a:gd name="T11" fmla="*/ 72 h 107"/>
                <a:gd name="T12" fmla="*/ 58 w 110"/>
                <a:gd name="T13" fmla="*/ 88 h 107"/>
                <a:gd name="T14" fmla="*/ 33 w 110"/>
                <a:gd name="T15" fmla="*/ 83 h 107"/>
                <a:gd name="T16" fmla="*/ 24 w 110"/>
                <a:gd name="T17" fmla="*/ 56 h 107"/>
                <a:gd name="T18" fmla="*/ 24 w 110"/>
                <a:gd name="T19" fmla="*/ 35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0" h="107">
                  <a:moveTo>
                    <a:pt x="24" y="35"/>
                  </a:moveTo>
                  <a:cubicBezTo>
                    <a:pt x="22" y="17"/>
                    <a:pt x="39" y="21"/>
                    <a:pt x="39" y="21"/>
                  </a:cubicBezTo>
                  <a:cubicBezTo>
                    <a:pt x="42" y="0"/>
                    <a:pt x="55" y="2"/>
                    <a:pt x="55" y="2"/>
                  </a:cubicBezTo>
                  <a:cubicBezTo>
                    <a:pt x="68" y="3"/>
                    <a:pt x="69" y="20"/>
                    <a:pt x="69" y="20"/>
                  </a:cubicBezTo>
                  <a:cubicBezTo>
                    <a:pt x="93" y="19"/>
                    <a:pt x="88" y="38"/>
                    <a:pt x="88" y="38"/>
                  </a:cubicBezTo>
                  <a:cubicBezTo>
                    <a:pt x="110" y="59"/>
                    <a:pt x="78" y="72"/>
                    <a:pt x="78" y="72"/>
                  </a:cubicBezTo>
                  <a:cubicBezTo>
                    <a:pt x="84" y="98"/>
                    <a:pt x="58" y="88"/>
                    <a:pt x="58" y="88"/>
                  </a:cubicBezTo>
                  <a:cubicBezTo>
                    <a:pt x="42" y="107"/>
                    <a:pt x="33" y="83"/>
                    <a:pt x="33" y="83"/>
                  </a:cubicBezTo>
                  <a:cubicBezTo>
                    <a:pt x="18" y="85"/>
                    <a:pt x="24" y="56"/>
                    <a:pt x="24" y="56"/>
                  </a:cubicBezTo>
                  <a:cubicBezTo>
                    <a:pt x="0" y="43"/>
                    <a:pt x="24" y="35"/>
                    <a:pt x="24" y="35"/>
                  </a:cubicBezTo>
                  <a:close/>
                </a:path>
              </a:pathLst>
            </a:custGeom>
            <a:solidFill>
              <a:srgbClr val="09B89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597" name="Freeform 13"/>
            <p:cNvSpPr>
              <a:spLocks/>
            </p:cNvSpPr>
            <p:nvPr/>
          </p:nvSpPr>
          <p:spPr bwMode="auto">
            <a:xfrm>
              <a:off x="3802893" y="6048570"/>
              <a:ext cx="161722" cy="160386"/>
            </a:xfrm>
            <a:custGeom>
              <a:avLst/>
              <a:gdLst>
                <a:gd name="T0" fmla="*/ 23 w 101"/>
                <a:gd name="T1" fmla="*/ 43 h 101"/>
                <a:gd name="T2" fmla="*/ 20 w 101"/>
                <a:gd name="T3" fmla="*/ 25 h 101"/>
                <a:gd name="T4" fmla="*/ 42 w 101"/>
                <a:gd name="T5" fmla="*/ 22 h 101"/>
                <a:gd name="T6" fmla="*/ 55 w 101"/>
                <a:gd name="T7" fmla="*/ 0 h 101"/>
                <a:gd name="T8" fmla="*/ 69 w 101"/>
                <a:gd name="T9" fmla="*/ 20 h 101"/>
                <a:gd name="T10" fmla="*/ 79 w 101"/>
                <a:gd name="T11" fmla="*/ 39 h 101"/>
                <a:gd name="T12" fmla="*/ 83 w 101"/>
                <a:gd name="T13" fmla="*/ 69 h 101"/>
                <a:gd name="T14" fmla="*/ 80 w 101"/>
                <a:gd name="T15" fmla="*/ 69 h 101"/>
                <a:gd name="T16" fmla="*/ 61 w 101"/>
                <a:gd name="T17" fmla="*/ 79 h 101"/>
                <a:gd name="T18" fmla="*/ 43 w 101"/>
                <a:gd name="T19" fmla="*/ 78 h 101"/>
                <a:gd name="T20" fmla="*/ 8 w 101"/>
                <a:gd name="T21" fmla="*/ 66 h 101"/>
                <a:gd name="T22" fmla="*/ 23 w 101"/>
                <a:gd name="T23" fmla="*/ 43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1" h="101">
                  <a:moveTo>
                    <a:pt x="23" y="43"/>
                  </a:moveTo>
                  <a:cubicBezTo>
                    <a:pt x="14" y="40"/>
                    <a:pt x="20" y="25"/>
                    <a:pt x="20" y="25"/>
                  </a:cubicBezTo>
                  <a:cubicBezTo>
                    <a:pt x="25" y="11"/>
                    <a:pt x="42" y="22"/>
                    <a:pt x="42" y="22"/>
                  </a:cubicBezTo>
                  <a:cubicBezTo>
                    <a:pt x="35" y="0"/>
                    <a:pt x="55" y="0"/>
                    <a:pt x="55" y="0"/>
                  </a:cubicBezTo>
                  <a:cubicBezTo>
                    <a:pt x="68" y="0"/>
                    <a:pt x="69" y="20"/>
                    <a:pt x="69" y="20"/>
                  </a:cubicBezTo>
                  <a:cubicBezTo>
                    <a:pt x="91" y="21"/>
                    <a:pt x="79" y="39"/>
                    <a:pt x="79" y="39"/>
                  </a:cubicBezTo>
                  <a:cubicBezTo>
                    <a:pt x="101" y="49"/>
                    <a:pt x="83" y="69"/>
                    <a:pt x="83" y="69"/>
                  </a:cubicBezTo>
                  <a:cubicBezTo>
                    <a:pt x="82" y="70"/>
                    <a:pt x="80" y="69"/>
                    <a:pt x="80" y="69"/>
                  </a:cubicBezTo>
                  <a:cubicBezTo>
                    <a:pt x="82" y="94"/>
                    <a:pt x="61" y="79"/>
                    <a:pt x="61" y="79"/>
                  </a:cubicBezTo>
                  <a:cubicBezTo>
                    <a:pt x="59" y="92"/>
                    <a:pt x="43" y="78"/>
                    <a:pt x="43" y="78"/>
                  </a:cubicBezTo>
                  <a:cubicBezTo>
                    <a:pt x="21" y="101"/>
                    <a:pt x="8" y="66"/>
                    <a:pt x="8" y="66"/>
                  </a:cubicBezTo>
                  <a:cubicBezTo>
                    <a:pt x="0" y="46"/>
                    <a:pt x="23" y="43"/>
                    <a:pt x="23" y="43"/>
                  </a:cubicBezTo>
                  <a:close/>
                </a:path>
              </a:pathLst>
            </a:custGeom>
            <a:solidFill>
              <a:srgbClr val="5EC3A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598" name="Freeform 14"/>
            <p:cNvSpPr>
              <a:spLocks/>
            </p:cNvSpPr>
            <p:nvPr/>
          </p:nvSpPr>
          <p:spPr bwMode="auto">
            <a:xfrm>
              <a:off x="3881749" y="6250388"/>
              <a:ext cx="20716" cy="30741"/>
            </a:xfrm>
            <a:custGeom>
              <a:avLst/>
              <a:gdLst>
                <a:gd name="T0" fmla="*/ 0 w 13"/>
                <a:gd name="T1" fmla="*/ 19 h 19"/>
                <a:gd name="T2" fmla="*/ 0 w 13"/>
                <a:gd name="T3" fmla="*/ 19 h 19"/>
                <a:gd name="T4" fmla="*/ 0 w 13"/>
                <a:gd name="T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9">
                  <a:moveTo>
                    <a:pt x="0" y="19"/>
                  </a:moveTo>
                  <a:cubicBezTo>
                    <a:pt x="0" y="19"/>
                    <a:pt x="0" y="19"/>
                    <a:pt x="0" y="19"/>
                  </a:cubicBezTo>
                  <a:cubicBezTo>
                    <a:pt x="2" y="17"/>
                    <a:pt x="13" y="0"/>
                    <a:pt x="0" y="19"/>
                  </a:cubicBezTo>
                  <a:close/>
                </a:path>
              </a:pathLst>
            </a:custGeom>
            <a:solidFill>
              <a:srgbClr val="4DA0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599" name="Freeform 15"/>
            <p:cNvSpPr>
              <a:spLocks/>
            </p:cNvSpPr>
            <p:nvPr/>
          </p:nvSpPr>
          <p:spPr bwMode="auto">
            <a:xfrm>
              <a:off x="3792200" y="6132772"/>
              <a:ext cx="175756" cy="181770"/>
            </a:xfrm>
            <a:custGeom>
              <a:avLst/>
              <a:gdLst>
                <a:gd name="T0" fmla="*/ 20 w 110"/>
                <a:gd name="T1" fmla="*/ 36 h 114"/>
                <a:gd name="T2" fmla="*/ 38 w 110"/>
                <a:gd name="T3" fmla="*/ 23 h 114"/>
                <a:gd name="T4" fmla="*/ 58 w 110"/>
                <a:gd name="T5" fmla="*/ 10 h 114"/>
                <a:gd name="T6" fmla="*/ 67 w 110"/>
                <a:gd name="T7" fmla="*/ 1 h 114"/>
                <a:gd name="T8" fmla="*/ 67 w 110"/>
                <a:gd name="T9" fmla="*/ 1 h 114"/>
                <a:gd name="T10" fmla="*/ 85 w 110"/>
                <a:gd name="T11" fmla="*/ 16 h 114"/>
                <a:gd name="T12" fmla="*/ 87 w 110"/>
                <a:gd name="T13" fmla="*/ 40 h 114"/>
                <a:gd name="T14" fmla="*/ 85 w 110"/>
                <a:gd name="T15" fmla="*/ 60 h 114"/>
                <a:gd name="T16" fmla="*/ 73 w 110"/>
                <a:gd name="T17" fmla="*/ 75 h 114"/>
                <a:gd name="T18" fmla="*/ 56 w 110"/>
                <a:gd name="T19" fmla="*/ 94 h 114"/>
                <a:gd name="T20" fmla="*/ 56 w 110"/>
                <a:gd name="T21" fmla="*/ 93 h 114"/>
                <a:gd name="T22" fmla="*/ 56 w 110"/>
                <a:gd name="T23" fmla="*/ 93 h 114"/>
                <a:gd name="T24" fmla="*/ 56 w 110"/>
                <a:gd name="T25" fmla="*/ 93 h 114"/>
                <a:gd name="T26" fmla="*/ 55 w 110"/>
                <a:gd name="T27" fmla="*/ 95 h 114"/>
                <a:gd name="T28" fmla="*/ 34 w 110"/>
                <a:gd name="T29" fmla="*/ 96 h 114"/>
                <a:gd name="T30" fmla="*/ 33 w 110"/>
                <a:gd name="T31" fmla="*/ 97 h 114"/>
                <a:gd name="T32" fmla="*/ 16 w 110"/>
                <a:gd name="T33" fmla="*/ 86 h 114"/>
                <a:gd name="T34" fmla="*/ 14 w 110"/>
                <a:gd name="T35" fmla="*/ 72 h 114"/>
                <a:gd name="T36" fmla="*/ 12 w 110"/>
                <a:gd name="T37" fmla="*/ 53 h 114"/>
                <a:gd name="T38" fmla="*/ 20 w 110"/>
                <a:gd name="T39" fmla="*/ 36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10" h="114">
                  <a:moveTo>
                    <a:pt x="20" y="36"/>
                  </a:moveTo>
                  <a:cubicBezTo>
                    <a:pt x="19" y="15"/>
                    <a:pt x="38" y="23"/>
                    <a:pt x="38" y="23"/>
                  </a:cubicBezTo>
                  <a:cubicBezTo>
                    <a:pt x="45" y="0"/>
                    <a:pt x="58" y="10"/>
                    <a:pt x="58" y="10"/>
                  </a:cubicBezTo>
                  <a:cubicBezTo>
                    <a:pt x="58" y="5"/>
                    <a:pt x="67" y="1"/>
                    <a:pt x="67" y="1"/>
                  </a:cubicBezTo>
                  <a:cubicBezTo>
                    <a:pt x="67" y="1"/>
                    <a:pt x="67" y="1"/>
                    <a:pt x="67" y="1"/>
                  </a:cubicBezTo>
                  <a:cubicBezTo>
                    <a:pt x="86" y="0"/>
                    <a:pt x="85" y="16"/>
                    <a:pt x="85" y="16"/>
                  </a:cubicBezTo>
                  <a:cubicBezTo>
                    <a:pt x="110" y="27"/>
                    <a:pt x="87" y="40"/>
                    <a:pt x="87" y="40"/>
                  </a:cubicBezTo>
                  <a:cubicBezTo>
                    <a:pt x="106" y="51"/>
                    <a:pt x="85" y="60"/>
                    <a:pt x="85" y="60"/>
                  </a:cubicBezTo>
                  <a:cubicBezTo>
                    <a:pt x="89" y="83"/>
                    <a:pt x="73" y="75"/>
                    <a:pt x="73" y="75"/>
                  </a:cubicBezTo>
                  <a:cubicBezTo>
                    <a:pt x="77" y="105"/>
                    <a:pt x="56" y="94"/>
                    <a:pt x="56" y="94"/>
                  </a:cubicBezTo>
                  <a:cubicBezTo>
                    <a:pt x="56" y="94"/>
                    <a:pt x="56" y="94"/>
                    <a:pt x="56" y="93"/>
                  </a:cubicBezTo>
                  <a:cubicBezTo>
                    <a:pt x="56" y="93"/>
                    <a:pt x="56" y="93"/>
                    <a:pt x="56" y="93"/>
                  </a:cubicBezTo>
                  <a:cubicBezTo>
                    <a:pt x="69" y="74"/>
                    <a:pt x="58" y="91"/>
                    <a:pt x="56" y="93"/>
                  </a:cubicBezTo>
                  <a:cubicBezTo>
                    <a:pt x="56" y="94"/>
                    <a:pt x="55" y="94"/>
                    <a:pt x="55" y="95"/>
                  </a:cubicBezTo>
                  <a:cubicBezTo>
                    <a:pt x="42" y="114"/>
                    <a:pt x="34" y="96"/>
                    <a:pt x="34" y="96"/>
                  </a:cubicBezTo>
                  <a:cubicBezTo>
                    <a:pt x="34" y="97"/>
                    <a:pt x="33" y="97"/>
                    <a:pt x="33" y="97"/>
                  </a:cubicBezTo>
                  <a:cubicBezTo>
                    <a:pt x="10" y="111"/>
                    <a:pt x="16" y="86"/>
                    <a:pt x="16" y="86"/>
                  </a:cubicBezTo>
                  <a:cubicBezTo>
                    <a:pt x="5" y="78"/>
                    <a:pt x="14" y="72"/>
                    <a:pt x="14" y="72"/>
                  </a:cubicBezTo>
                  <a:cubicBezTo>
                    <a:pt x="0" y="69"/>
                    <a:pt x="12" y="53"/>
                    <a:pt x="12" y="53"/>
                  </a:cubicBezTo>
                  <a:cubicBezTo>
                    <a:pt x="3" y="43"/>
                    <a:pt x="20" y="36"/>
                    <a:pt x="20" y="36"/>
                  </a:cubicBezTo>
                  <a:close/>
                </a:path>
              </a:pathLst>
            </a:custGeom>
            <a:solidFill>
              <a:srgbClr val="09B89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600" name="Freeform 16"/>
            <p:cNvSpPr>
              <a:spLocks/>
            </p:cNvSpPr>
            <p:nvPr/>
          </p:nvSpPr>
          <p:spPr bwMode="auto">
            <a:xfrm>
              <a:off x="3663892" y="6075301"/>
              <a:ext cx="158380" cy="218526"/>
            </a:xfrm>
            <a:custGeom>
              <a:avLst/>
              <a:gdLst>
                <a:gd name="T0" fmla="*/ 14 w 99"/>
                <a:gd name="T1" fmla="*/ 87 h 137"/>
                <a:gd name="T2" fmla="*/ 10 w 99"/>
                <a:gd name="T3" fmla="*/ 71 h 137"/>
                <a:gd name="T4" fmla="*/ 21 w 99"/>
                <a:gd name="T5" fmla="*/ 57 h 137"/>
                <a:gd name="T6" fmla="*/ 21 w 99"/>
                <a:gd name="T7" fmla="*/ 42 h 137"/>
                <a:gd name="T8" fmla="*/ 33 w 99"/>
                <a:gd name="T9" fmla="*/ 37 h 137"/>
                <a:gd name="T10" fmla="*/ 54 w 99"/>
                <a:gd name="T11" fmla="*/ 15 h 137"/>
                <a:gd name="T12" fmla="*/ 70 w 99"/>
                <a:gd name="T13" fmla="*/ 0 h 137"/>
                <a:gd name="T14" fmla="*/ 83 w 99"/>
                <a:gd name="T15" fmla="*/ 23 h 137"/>
                <a:gd name="T16" fmla="*/ 97 w 99"/>
                <a:gd name="T17" fmla="*/ 48 h 137"/>
                <a:gd name="T18" fmla="*/ 74 w 99"/>
                <a:gd name="T19" fmla="*/ 78 h 137"/>
                <a:gd name="T20" fmla="*/ 57 w 99"/>
                <a:gd name="T21" fmla="*/ 77 h 137"/>
                <a:gd name="T22" fmla="*/ 57 w 99"/>
                <a:gd name="T23" fmla="*/ 78 h 137"/>
                <a:gd name="T24" fmla="*/ 42 w 99"/>
                <a:gd name="T25" fmla="*/ 93 h 137"/>
                <a:gd name="T26" fmla="*/ 5 w 99"/>
                <a:gd name="T27" fmla="*/ 104 h 137"/>
                <a:gd name="T28" fmla="*/ 14 w 99"/>
                <a:gd name="T29" fmla="*/ 87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7">
                  <a:moveTo>
                    <a:pt x="14" y="87"/>
                  </a:moveTo>
                  <a:cubicBezTo>
                    <a:pt x="9" y="86"/>
                    <a:pt x="10" y="71"/>
                    <a:pt x="10" y="71"/>
                  </a:cubicBezTo>
                  <a:cubicBezTo>
                    <a:pt x="9" y="61"/>
                    <a:pt x="21" y="57"/>
                    <a:pt x="21" y="57"/>
                  </a:cubicBezTo>
                  <a:cubicBezTo>
                    <a:pt x="16" y="52"/>
                    <a:pt x="21" y="42"/>
                    <a:pt x="21" y="42"/>
                  </a:cubicBezTo>
                  <a:cubicBezTo>
                    <a:pt x="25" y="34"/>
                    <a:pt x="33" y="37"/>
                    <a:pt x="33" y="37"/>
                  </a:cubicBezTo>
                  <a:cubicBezTo>
                    <a:pt x="31" y="14"/>
                    <a:pt x="54" y="15"/>
                    <a:pt x="54" y="15"/>
                  </a:cubicBezTo>
                  <a:cubicBezTo>
                    <a:pt x="54" y="2"/>
                    <a:pt x="70" y="0"/>
                    <a:pt x="70" y="0"/>
                  </a:cubicBezTo>
                  <a:cubicBezTo>
                    <a:pt x="86" y="3"/>
                    <a:pt x="83" y="23"/>
                    <a:pt x="83" y="23"/>
                  </a:cubicBezTo>
                  <a:cubicBezTo>
                    <a:pt x="99" y="24"/>
                    <a:pt x="97" y="48"/>
                    <a:pt x="97" y="48"/>
                  </a:cubicBezTo>
                  <a:cubicBezTo>
                    <a:pt x="98" y="111"/>
                    <a:pt x="74" y="78"/>
                    <a:pt x="74" y="78"/>
                  </a:cubicBezTo>
                  <a:cubicBezTo>
                    <a:pt x="68" y="90"/>
                    <a:pt x="57" y="77"/>
                    <a:pt x="57" y="77"/>
                  </a:cubicBezTo>
                  <a:cubicBezTo>
                    <a:pt x="57" y="77"/>
                    <a:pt x="57" y="77"/>
                    <a:pt x="57" y="78"/>
                  </a:cubicBezTo>
                  <a:cubicBezTo>
                    <a:pt x="65" y="98"/>
                    <a:pt x="42" y="93"/>
                    <a:pt x="42" y="93"/>
                  </a:cubicBezTo>
                  <a:cubicBezTo>
                    <a:pt x="17" y="137"/>
                    <a:pt x="5" y="104"/>
                    <a:pt x="5" y="104"/>
                  </a:cubicBezTo>
                  <a:cubicBezTo>
                    <a:pt x="0" y="95"/>
                    <a:pt x="14" y="87"/>
                    <a:pt x="14" y="87"/>
                  </a:cubicBezTo>
                  <a:close/>
                </a:path>
              </a:pathLst>
            </a:custGeom>
            <a:solidFill>
              <a:srgbClr val="09B89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601" name="Freeform 17"/>
            <p:cNvSpPr>
              <a:spLocks/>
            </p:cNvSpPr>
            <p:nvPr/>
          </p:nvSpPr>
          <p:spPr bwMode="auto">
            <a:xfrm>
              <a:off x="3633151" y="6104037"/>
              <a:ext cx="251939" cy="210506"/>
            </a:xfrm>
            <a:custGeom>
              <a:avLst/>
              <a:gdLst>
                <a:gd name="T0" fmla="*/ 14 w 157"/>
                <a:gd name="T1" fmla="*/ 96 h 132"/>
                <a:gd name="T2" fmla="*/ 37 w 157"/>
                <a:gd name="T3" fmla="*/ 89 h 132"/>
                <a:gd name="T4" fmla="*/ 48 w 157"/>
                <a:gd name="T5" fmla="*/ 74 h 132"/>
                <a:gd name="T6" fmla="*/ 70 w 157"/>
                <a:gd name="T7" fmla="*/ 49 h 132"/>
                <a:gd name="T8" fmla="*/ 80 w 157"/>
                <a:gd name="T9" fmla="*/ 31 h 132"/>
                <a:gd name="T10" fmla="*/ 109 w 157"/>
                <a:gd name="T11" fmla="*/ 33 h 132"/>
                <a:gd name="T12" fmla="*/ 126 w 157"/>
                <a:gd name="T13" fmla="*/ 47 h 132"/>
                <a:gd name="T14" fmla="*/ 137 w 157"/>
                <a:gd name="T15" fmla="*/ 74 h 132"/>
                <a:gd name="T16" fmla="*/ 126 w 157"/>
                <a:gd name="T17" fmla="*/ 96 h 132"/>
                <a:gd name="T18" fmla="*/ 103 w 157"/>
                <a:gd name="T19" fmla="*/ 80 h 132"/>
                <a:gd name="T20" fmla="*/ 78 w 157"/>
                <a:gd name="T21" fmla="*/ 80 h 132"/>
                <a:gd name="T22" fmla="*/ 61 w 157"/>
                <a:gd name="T23" fmla="*/ 89 h 132"/>
                <a:gd name="T24" fmla="*/ 60 w 157"/>
                <a:gd name="T25" fmla="*/ 88 h 132"/>
                <a:gd name="T26" fmla="*/ 60 w 157"/>
                <a:gd name="T27" fmla="*/ 88 h 132"/>
                <a:gd name="T28" fmla="*/ 37 w 157"/>
                <a:gd name="T29" fmla="*/ 109 h 132"/>
                <a:gd name="T30" fmla="*/ 8 w 157"/>
                <a:gd name="T31" fmla="*/ 114 h 132"/>
                <a:gd name="T32" fmla="*/ 14 w 157"/>
                <a:gd name="T33" fmla="*/ 96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7" h="132">
                  <a:moveTo>
                    <a:pt x="14" y="96"/>
                  </a:moveTo>
                  <a:cubicBezTo>
                    <a:pt x="14" y="96"/>
                    <a:pt x="17" y="69"/>
                    <a:pt x="37" y="89"/>
                  </a:cubicBezTo>
                  <a:cubicBezTo>
                    <a:pt x="37" y="89"/>
                    <a:pt x="30" y="74"/>
                    <a:pt x="48" y="74"/>
                  </a:cubicBezTo>
                  <a:cubicBezTo>
                    <a:pt x="48" y="74"/>
                    <a:pt x="35" y="40"/>
                    <a:pt x="70" y="49"/>
                  </a:cubicBezTo>
                  <a:cubicBezTo>
                    <a:pt x="70" y="49"/>
                    <a:pt x="59" y="28"/>
                    <a:pt x="80" y="31"/>
                  </a:cubicBezTo>
                  <a:cubicBezTo>
                    <a:pt x="80" y="31"/>
                    <a:pt x="95" y="0"/>
                    <a:pt x="109" y="33"/>
                  </a:cubicBezTo>
                  <a:cubicBezTo>
                    <a:pt x="109" y="33"/>
                    <a:pt x="131" y="23"/>
                    <a:pt x="126" y="47"/>
                  </a:cubicBezTo>
                  <a:cubicBezTo>
                    <a:pt x="126" y="47"/>
                    <a:pt x="152" y="52"/>
                    <a:pt x="137" y="74"/>
                  </a:cubicBezTo>
                  <a:cubicBezTo>
                    <a:pt x="137" y="74"/>
                    <a:pt x="157" y="103"/>
                    <a:pt x="126" y="96"/>
                  </a:cubicBezTo>
                  <a:cubicBezTo>
                    <a:pt x="126" y="96"/>
                    <a:pt x="104" y="118"/>
                    <a:pt x="103" y="80"/>
                  </a:cubicBezTo>
                  <a:cubicBezTo>
                    <a:pt x="103" y="80"/>
                    <a:pt x="90" y="108"/>
                    <a:pt x="78" y="80"/>
                  </a:cubicBezTo>
                  <a:cubicBezTo>
                    <a:pt x="78" y="80"/>
                    <a:pt x="78" y="99"/>
                    <a:pt x="61" y="89"/>
                  </a:cubicBezTo>
                  <a:cubicBezTo>
                    <a:pt x="61" y="89"/>
                    <a:pt x="60" y="88"/>
                    <a:pt x="60" y="88"/>
                  </a:cubicBezTo>
                  <a:cubicBezTo>
                    <a:pt x="42" y="77"/>
                    <a:pt x="60" y="88"/>
                    <a:pt x="60" y="88"/>
                  </a:cubicBezTo>
                  <a:cubicBezTo>
                    <a:pt x="60" y="88"/>
                    <a:pt x="64" y="128"/>
                    <a:pt x="37" y="109"/>
                  </a:cubicBezTo>
                  <a:cubicBezTo>
                    <a:pt x="37" y="109"/>
                    <a:pt x="26" y="132"/>
                    <a:pt x="8" y="114"/>
                  </a:cubicBezTo>
                  <a:cubicBezTo>
                    <a:pt x="8" y="114"/>
                    <a:pt x="0" y="98"/>
                    <a:pt x="14" y="96"/>
                  </a:cubicBezTo>
                  <a:close/>
                </a:path>
              </a:pathLst>
            </a:custGeom>
            <a:solidFill>
              <a:srgbClr val="5EC3A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pic>
        <p:nvPicPr>
          <p:cNvPr id="7680" name="Picture 767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flipH="1">
            <a:off x="2311807" y="3238693"/>
            <a:ext cx="657707" cy="237206"/>
          </a:xfrm>
          <a:prstGeom prst="rect">
            <a:avLst/>
          </a:prstGeom>
        </p:spPr>
      </p:pic>
      <p:grpSp>
        <p:nvGrpSpPr>
          <p:cNvPr id="7683" name="Group 5965"/>
          <p:cNvGrpSpPr>
            <a:grpSpLocks noChangeAspect="1"/>
          </p:cNvGrpSpPr>
          <p:nvPr/>
        </p:nvGrpSpPr>
        <p:grpSpPr bwMode="auto">
          <a:xfrm>
            <a:off x="2681297" y="4383103"/>
            <a:ext cx="1882782" cy="868365"/>
            <a:chOff x="1689" y="2761"/>
            <a:chExt cx="1186" cy="547"/>
          </a:xfrm>
        </p:grpSpPr>
        <p:sp>
          <p:nvSpPr>
            <p:cNvPr id="7684" name="AutoShape 5964"/>
            <p:cNvSpPr>
              <a:spLocks noChangeAspect="1" noChangeArrowheads="1" noTextEdit="1"/>
            </p:cNvSpPr>
            <p:nvPr/>
          </p:nvSpPr>
          <p:spPr bwMode="auto">
            <a:xfrm>
              <a:off x="1689" y="2761"/>
              <a:ext cx="1184" cy="5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685" name="Oval 5966"/>
            <p:cNvSpPr>
              <a:spLocks noChangeArrowheads="1"/>
            </p:cNvSpPr>
            <p:nvPr/>
          </p:nvSpPr>
          <p:spPr bwMode="auto">
            <a:xfrm>
              <a:off x="1691" y="2763"/>
              <a:ext cx="1184" cy="545"/>
            </a:xfrm>
            <a:prstGeom prst="ellipse">
              <a:avLst/>
            </a:prstGeom>
            <a:solidFill>
              <a:srgbClr val="739D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686" name="Freeform 5967"/>
            <p:cNvSpPr>
              <a:spLocks/>
            </p:cNvSpPr>
            <p:nvPr/>
          </p:nvSpPr>
          <p:spPr bwMode="auto">
            <a:xfrm>
              <a:off x="1790" y="3032"/>
              <a:ext cx="534" cy="91"/>
            </a:xfrm>
            <a:custGeom>
              <a:avLst/>
              <a:gdLst>
                <a:gd name="T0" fmla="*/ 254 w 302"/>
                <a:gd name="T1" fmla="*/ 51 h 51"/>
                <a:gd name="T2" fmla="*/ 252 w 302"/>
                <a:gd name="T3" fmla="*/ 51 h 51"/>
                <a:gd name="T4" fmla="*/ 213 w 302"/>
                <a:gd name="T5" fmla="*/ 24 h 51"/>
                <a:gd name="T6" fmla="*/ 181 w 302"/>
                <a:gd name="T7" fmla="*/ 4 h 51"/>
                <a:gd name="T8" fmla="*/ 142 w 302"/>
                <a:gd name="T9" fmla="*/ 24 h 51"/>
                <a:gd name="T10" fmla="*/ 110 w 302"/>
                <a:gd name="T11" fmla="*/ 44 h 51"/>
                <a:gd name="T12" fmla="*/ 68 w 302"/>
                <a:gd name="T13" fmla="*/ 24 h 51"/>
                <a:gd name="T14" fmla="*/ 29 w 302"/>
                <a:gd name="T15" fmla="*/ 6 h 51"/>
                <a:gd name="T16" fmla="*/ 4 w 302"/>
                <a:gd name="T17" fmla="*/ 24 h 51"/>
                <a:gd name="T18" fmla="*/ 0 w 302"/>
                <a:gd name="T19" fmla="*/ 22 h 51"/>
                <a:gd name="T20" fmla="*/ 29 w 302"/>
                <a:gd name="T21" fmla="*/ 3 h 51"/>
                <a:gd name="T22" fmla="*/ 70 w 302"/>
                <a:gd name="T23" fmla="*/ 22 h 51"/>
                <a:gd name="T24" fmla="*/ 110 w 302"/>
                <a:gd name="T25" fmla="*/ 40 h 51"/>
                <a:gd name="T26" fmla="*/ 140 w 302"/>
                <a:gd name="T27" fmla="*/ 22 h 51"/>
                <a:gd name="T28" fmla="*/ 181 w 302"/>
                <a:gd name="T29" fmla="*/ 0 h 51"/>
                <a:gd name="T30" fmla="*/ 216 w 302"/>
                <a:gd name="T31" fmla="*/ 22 h 51"/>
                <a:gd name="T32" fmla="*/ 252 w 302"/>
                <a:gd name="T33" fmla="*/ 48 h 51"/>
                <a:gd name="T34" fmla="*/ 299 w 302"/>
                <a:gd name="T35" fmla="*/ 21 h 51"/>
                <a:gd name="T36" fmla="*/ 302 w 302"/>
                <a:gd name="T37" fmla="*/ 23 h 51"/>
                <a:gd name="T38" fmla="*/ 254 w 302"/>
                <a:gd name="T39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02" h="51">
                  <a:moveTo>
                    <a:pt x="254" y="51"/>
                  </a:moveTo>
                  <a:cubicBezTo>
                    <a:pt x="254" y="51"/>
                    <a:pt x="253" y="51"/>
                    <a:pt x="252" y="51"/>
                  </a:cubicBezTo>
                  <a:cubicBezTo>
                    <a:pt x="238" y="50"/>
                    <a:pt x="226" y="41"/>
                    <a:pt x="213" y="24"/>
                  </a:cubicBezTo>
                  <a:cubicBezTo>
                    <a:pt x="203" y="11"/>
                    <a:pt x="192" y="4"/>
                    <a:pt x="181" y="4"/>
                  </a:cubicBezTo>
                  <a:cubicBezTo>
                    <a:pt x="160" y="3"/>
                    <a:pt x="143" y="24"/>
                    <a:pt x="142" y="24"/>
                  </a:cubicBezTo>
                  <a:cubicBezTo>
                    <a:pt x="142" y="25"/>
                    <a:pt x="130" y="42"/>
                    <a:pt x="110" y="44"/>
                  </a:cubicBezTo>
                  <a:cubicBezTo>
                    <a:pt x="96" y="45"/>
                    <a:pt x="82" y="38"/>
                    <a:pt x="68" y="24"/>
                  </a:cubicBezTo>
                  <a:cubicBezTo>
                    <a:pt x="54" y="11"/>
                    <a:pt x="41" y="5"/>
                    <a:pt x="29" y="6"/>
                  </a:cubicBezTo>
                  <a:cubicBezTo>
                    <a:pt x="13" y="8"/>
                    <a:pt x="4" y="24"/>
                    <a:pt x="4" y="24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1" y="21"/>
                    <a:pt x="11" y="5"/>
                    <a:pt x="29" y="3"/>
                  </a:cubicBezTo>
                  <a:cubicBezTo>
                    <a:pt x="42" y="1"/>
                    <a:pt x="56" y="7"/>
                    <a:pt x="70" y="22"/>
                  </a:cubicBezTo>
                  <a:cubicBezTo>
                    <a:pt x="84" y="35"/>
                    <a:pt x="97" y="41"/>
                    <a:pt x="110" y="40"/>
                  </a:cubicBezTo>
                  <a:cubicBezTo>
                    <a:pt x="128" y="38"/>
                    <a:pt x="139" y="22"/>
                    <a:pt x="140" y="22"/>
                  </a:cubicBezTo>
                  <a:cubicBezTo>
                    <a:pt x="140" y="21"/>
                    <a:pt x="158" y="0"/>
                    <a:pt x="181" y="0"/>
                  </a:cubicBezTo>
                  <a:cubicBezTo>
                    <a:pt x="193" y="1"/>
                    <a:pt x="205" y="8"/>
                    <a:pt x="216" y="22"/>
                  </a:cubicBezTo>
                  <a:cubicBezTo>
                    <a:pt x="228" y="38"/>
                    <a:pt x="240" y="47"/>
                    <a:pt x="252" y="48"/>
                  </a:cubicBezTo>
                  <a:cubicBezTo>
                    <a:pt x="270" y="49"/>
                    <a:pt x="285" y="35"/>
                    <a:pt x="299" y="21"/>
                  </a:cubicBezTo>
                  <a:cubicBezTo>
                    <a:pt x="302" y="23"/>
                    <a:pt x="302" y="23"/>
                    <a:pt x="302" y="23"/>
                  </a:cubicBezTo>
                  <a:cubicBezTo>
                    <a:pt x="288" y="38"/>
                    <a:pt x="272" y="51"/>
                    <a:pt x="254" y="51"/>
                  </a:cubicBez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687" name="Freeform 5968"/>
            <p:cNvSpPr>
              <a:spLocks/>
            </p:cNvSpPr>
            <p:nvPr/>
          </p:nvSpPr>
          <p:spPr bwMode="auto">
            <a:xfrm>
              <a:off x="2170" y="2907"/>
              <a:ext cx="535" cy="93"/>
            </a:xfrm>
            <a:custGeom>
              <a:avLst/>
              <a:gdLst>
                <a:gd name="T0" fmla="*/ 254 w 302"/>
                <a:gd name="T1" fmla="*/ 52 h 52"/>
                <a:gd name="T2" fmla="*/ 252 w 302"/>
                <a:gd name="T3" fmla="*/ 52 h 52"/>
                <a:gd name="T4" fmla="*/ 213 w 302"/>
                <a:gd name="T5" fmla="*/ 24 h 52"/>
                <a:gd name="T6" fmla="*/ 181 w 302"/>
                <a:gd name="T7" fmla="*/ 4 h 52"/>
                <a:gd name="T8" fmla="*/ 142 w 302"/>
                <a:gd name="T9" fmla="*/ 25 h 52"/>
                <a:gd name="T10" fmla="*/ 110 w 302"/>
                <a:gd name="T11" fmla="*/ 44 h 52"/>
                <a:gd name="T12" fmla="*/ 68 w 302"/>
                <a:gd name="T13" fmla="*/ 25 h 52"/>
                <a:gd name="T14" fmla="*/ 29 w 302"/>
                <a:gd name="T15" fmla="*/ 7 h 52"/>
                <a:gd name="T16" fmla="*/ 4 w 302"/>
                <a:gd name="T17" fmla="*/ 24 h 52"/>
                <a:gd name="T18" fmla="*/ 0 w 302"/>
                <a:gd name="T19" fmla="*/ 22 h 52"/>
                <a:gd name="T20" fmla="*/ 29 w 302"/>
                <a:gd name="T21" fmla="*/ 3 h 52"/>
                <a:gd name="T22" fmla="*/ 70 w 302"/>
                <a:gd name="T23" fmla="*/ 22 h 52"/>
                <a:gd name="T24" fmla="*/ 110 w 302"/>
                <a:gd name="T25" fmla="*/ 40 h 52"/>
                <a:gd name="T26" fmla="*/ 140 w 302"/>
                <a:gd name="T27" fmla="*/ 22 h 52"/>
                <a:gd name="T28" fmla="*/ 181 w 302"/>
                <a:gd name="T29" fmla="*/ 1 h 52"/>
                <a:gd name="T30" fmla="*/ 216 w 302"/>
                <a:gd name="T31" fmla="*/ 22 h 52"/>
                <a:gd name="T32" fmla="*/ 252 w 302"/>
                <a:gd name="T33" fmla="*/ 48 h 52"/>
                <a:gd name="T34" fmla="*/ 299 w 302"/>
                <a:gd name="T35" fmla="*/ 21 h 52"/>
                <a:gd name="T36" fmla="*/ 302 w 302"/>
                <a:gd name="T37" fmla="*/ 24 h 52"/>
                <a:gd name="T38" fmla="*/ 254 w 302"/>
                <a:gd name="T39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02" h="52">
                  <a:moveTo>
                    <a:pt x="254" y="52"/>
                  </a:moveTo>
                  <a:cubicBezTo>
                    <a:pt x="254" y="52"/>
                    <a:pt x="253" y="52"/>
                    <a:pt x="252" y="52"/>
                  </a:cubicBezTo>
                  <a:cubicBezTo>
                    <a:pt x="238" y="51"/>
                    <a:pt x="226" y="42"/>
                    <a:pt x="213" y="24"/>
                  </a:cubicBezTo>
                  <a:cubicBezTo>
                    <a:pt x="203" y="11"/>
                    <a:pt x="192" y="5"/>
                    <a:pt x="181" y="4"/>
                  </a:cubicBezTo>
                  <a:cubicBezTo>
                    <a:pt x="160" y="4"/>
                    <a:pt x="143" y="24"/>
                    <a:pt x="142" y="25"/>
                  </a:cubicBezTo>
                  <a:cubicBezTo>
                    <a:pt x="142" y="25"/>
                    <a:pt x="130" y="42"/>
                    <a:pt x="110" y="44"/>
                  </a:cubicBezTo>
                  <a:cubicBezTo>
                    <a:pt x="96" y="45"/>
                    <a:pt x="82" y="39"/>
                    <a:pt x="68" y="25"/>
                  </a:cubicBezTo>
                  <a:cubicBezTo>
                    <a:pt x="54" y="11"/>
                    <a:pt x="41" y="5"/>
                    <a:pt x="29" y="7"/>
                  </a:cubicBezTo>
                  <a:cubicBezTo>
                    <a:pt x="13" y="9"/>
                    <a:pt x="4" y="24"/>
                    <a:pt x="4" y="24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1" y="22"/>
                    <a:pt x="11" y="5"/>
                    <a:pt x="29" y="3"/>
                  </a:cubicBezTo>
                  <a:cubicBezTo>
                    <a:pt x="42" y="1"/>
                    <a:pt x="56" y="8"/>
                    <a:pt x="70" y="22"/>
                  </a:cubicBezTo>
                  <a:cubicBezTo>
                    <a:pt x="84" y="35"/>
                    <a:pt x="97" y="42"/>
                    <a:pt x="110" y="40"/>
                  </a:cubicBezTo>
                  <a:cubicBezTo>
                    <a:pt x="128" y="39"/>
                    <a:pt x="139" y="23"/>
                    <a:pt x="140" y="22"/>
                  </a:cubicBezTo>
                  <a:cubicBezTo>
                    <a:pt x="140" y="21"/>
                    <a:pt x="158" y="0"/>
                    <a:pt x="181" y="1"/>
                  </a:cubicBezTo>
                  <a:cubicBezTo>
                    <a:pt x="193" y="1"/>
                    <a:pt x="205" y="8"/>
                    <a:pt x="216" y="22"/>
                  </a:cubicBezTo>
                  <a:cubicBezTo>
                    <a:pt x="228" y="39"/>
                    <a:pt x="240" y="47"/>
                    <a:pt x="252" y="48"/>
                  </a:cubicBezTo>
                  <a:cubicBezTo>
                    <a:pt x="270" y="49"/>
                    <a:pt x="285" y="35"/>
                    <a:pt x="299" y="21"/>
                  </a:cubicBezTo>
                  <a:cubicBezTo>
                    <a:pt x="302" y="24"/>
                    <a:pt x="302" y="24"/>
                    <a:pt x="302" y="24"/>
                  </a:cubicBezTo>
                  <a:cubicBezTo>
                    <a:pt x="288" y="38"/>
                    <a:pt x="272" y="52"/>
                    <a:pt x="254" y="52"/>
                  </a:cubicBez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688" name="Freeform 5969"/>
            <p:cNvSpPr>
              <a:spLocks/>
            </p:cNvSpPr>
            <p:nvPr/>
          </p:nvSpPr>
          <p:spPr bwMode="auto">
            <a:xfrm>
              <a:off x="2300" y="3160"/>
              <a:ext cx="315" cy="87"/>
            </a:xfrm>
            <a:custGeom>
              <a:avLst/>
              <a:gdLst>
                <a:gd name="T0" fmla="*/ 131 w 178"/>
                <a:gd name="T1" fmla="*/ 45 h 49"/>
                <a:gd name="T2" fmla="*/ 84 w 178"/>
                <a:gd name="T3" fmla="*/ 22 h 49"/>
                <a:gd name="T4" fmla="*/ 44 w 178"/>
                <a:gd name="T5" fmla="*/ 3 h 49"/>
                <a:gd name="T6" fmla="*/ 3 w 178"/>
                <a:gd name="T7" fmla="*/ 22 h 49"/>
                <a:gd name="T8" fmla="*/ 0 w 178"/>
                <a:gd name="T9" fmla="*/ 19 h 49"/>
                <a:gd name="T10" fmla="*/ 44 w 178"/>
                <a:gd name="T11" fmla="*/ 0 h 49"/>
                <a:gd name="T12" fmla="*/ 87 w 178"/>
                <a:gd name="T13" fmla="*/ 19 h 49"/>
                <a:gd name="T14" fmla="*/ 175 w 178"/>
                <a:gd name="T15" fmla="*/ 19 h 49"/>
                <a:gd name="T16" fmla="*/ 178 w 178"/>
                <a:gd name="T17" fmla="*/ 22 h 49"/>
                <a:gd name="T18" fmla="*/ 131 w 178"/>
                <a:gd name="T19" fmla="*/ 45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8" h="49">
                  <a:moveTo>
                    <a:pt x="131" y="45"/>
                  </a:moveTo>
                  <a:cubicBezTo>
                    <a:pt x="115" y="45"/>
                    <a:pt x="100" y="37"/>
                    <a:pt x="84" y="22"/>
                  </a:cubicBezTo>
                  <a:cubicBezTo>
                    <a:pt x="72" y="9"/>
                    <a:pt x="59" y="3"/>
                    <a:pt x="44" y="3"/>
                  </a:cubicBezTo>
                  <a:cubicBezTo>
                    <a:pt x="21" y="4"/>
                    <a:pt x="3" y="22"/>
                    <a:pt x="3" y="22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1" y="18"/>
                    <a:pt x="19" y="0"/>
                    <a:pt x="44" y="0"/>
                  </a:cubicBezTo>
                  <a:cubicBezTo>
                    <a:pt x="59" y="0"/>
                    <a:pt x="74" y="6"/>
                    <a:pt x="87" y="19"/>
                  </a:cubicBezTo>
                  <a:cubicBezTo>
                    <a:pt x="116" y="49"/>
                    <a:pt x="146" y="49"/>
                    <a:pt x="175" y="19"/>
                  </a:cubicBezTo>
                  <a:cubicBezTo>
                    <a:pt x="178" y="22"/>
                    <a:pt x="178" y="22"/>
                    <a:pt x="178" y="22"/>
                  </a:cubicBezTo>
                  <a:cubicBezTo>
                    <a:pt x="163" y="37"/>
                    <a:pt x="147" y="45"/>
                    <a:pt x="131" y="45"/>
                  </a:cubicBez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689" name="Freeform 5970"/>
            <p:cNvSpPr>
              <a:spLocks/>
            </p:cNvSpPr>
            <p:nvPr/>
          </p:nvSpPr>
          <p:spPr bwMode="auto">
            <a:xfrm>
              <a:off x="1903" y="2873"/>
              <a:ext cx="207" cy="55"/>
            </a:xfrm>
            <a:custGeom>
              <a:avLst/>
              <a:gdLst>
                <a:gd name="T0" fmla="*/ 86 w 117"/>
                <a:gd name="T1" fmla="*/ 31 h 31"/>
                <a:gd name="T2" fmla="*/ 55 w 117"/>
                <a:gd name="T3" fmla="*/ 16 h 31"/>
                <a:gd name="T4" fmla="*/ 30 w 117"/>
                <a:gd name="T5" fmla="*/ 4 h 31"/>
                <a:gd name="T6" fmla="*/ 3 w 117"/>
                <a:gd name="T7" fmla="*/ 16 h 31"/>
                <a:gd name="T8" fmla="*/ 0 w 117"/>
                <a:gd name="T9" fmla="*/ 13 h 31"/>
                <a:gd name="T10" fmla="*/ 30 w 117"/>
                <a:gd name="T11" fmla="*/ 0 h 31"/>
                <a:gd name="T12" fmla="*/ 30 w 117"/>
                <a:gd name="T13" fmla="*/ 0 h 31"/>
                <a:gd name="T14" fmla="*/ 58 w 117"/>
                <a:gd name="T15" fmla="*/ 13 h 31"/>
                <a:gd name="T16" fmla="*/ 93 w 117"/>
                <a:gd name="T17" fmla="*/ 27 h 31"/>
                <a:gd name="T18" fmla="*/ 115 w 117"/>
                <a:gd name="T19" fmla="*/ 13 h 31"/>
                <a:gd name="T20" fmla="*/ 117 w 117"/>
                <a:gd name="T21" fmla="*/ 16 h 31"/>
                <a:gd name="T22" fmla="*/ 94 w 117"/>
                <a:gd name="T23" fmla="*/ 30 h 31"/>
                <a:gd name="T24" fmla="*/ 86 w 117"/>
                <a:gd name="T2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7" h="31">
                  <a:moveTo>
                    <a:pt x="86" y="31"/>
                  </a:moveTo>
                  <a:cubicBezTo>
                    <a:pt x="76" y="31"/>
                    <a:pt x="65" y="26"/>
                    <a:pt x="55" y="16"/>
                  </a:cubicBezTo>
                  <a:cubicBezTo>
                    <a:pt x="47" y="8"/>
                    <a:pt x="39" y="4"/>
                    <a:pt x="30" y="4"/>
                  </a:cubicBezTo>
                  <a:cubicBezTo>
                    <a:pt x="14" y="4"/>
                    <a:pt x="3" y="16"/>
                    <a:pt x="3" y="16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1" y="13"/>
                    <a:pt x="13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40" y="0"/>
                    <a:pt x="49" y="5"/>
                    <a:pt x="58" y="13"/>
                  </a:cubicBezTo>
                  <a:cubicBezTo>
                    <a:pt x="69" y="25"/>
                    <a:pt x="81" y="29"/>
                    <a:pt x="93" y="27"/>
                  </a:cubicBezTo>
                  <a:cubicBezTo>
                    <a:pt x="100" y="25"/>
                    <a:pt x="107" y="21"/>
                    <a:pt x="115" y="13"/>
                  </a:cubicBezTo>
                  <a:cubicBezTo>
                    <a:pt x="117" y="16"/>
                    <a:pt x="117" y="16"/>
                    <a:pt x="117" y="16"/>
                  </a:cubicBezTo>
                  <a:cubicBezTo>
                    <a:pt x="110" y="24"/>
                    <a:pt x="102" y="28"/>
                    <a:pt x="94" y="30"/>
                  </a:cubicBezTo>
                  <a:cubicBezTo>
                    <a:pt x="91" y="31"/>
                    <a:pt x="89" y="31"/>
                    <a:pt x="86" y="31"/>
                  </a:cubicBez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690" name="Freeform 5971"/>
            <p:cNvSpPr>
              <a:spLocks/>
            </p:cNvSpPr>
            <p:nvPr/>
          </p:nvSpPr>
          <p:spPr bwMode="auto">
            <a:xfrm>
              <a:off x="2298" y="2791"/>
              <a:ext cx="101" cy="120"/>
            </a:xfrm>
            <a:custGeom>
              <a:avLst/>
              <a:gdLst>
                <a:gd name="T0" fmla="*/ 0 w 57"/>
                <a:gd name="T1" fmla="*/ 33 h 67"/>
                <a:gd name="T2" fmla="*/ 57 w 57"/>
                <a:gd name="T3" fmla="*/ 33 h 67"/>
                <a:gd name="T4" fmla="*/ 0 w 57"/>
                <a:gd name="T5" fmla="*/ 33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7" h="67">
                  <a:moveTo>
                    <a:pt x="0" y="33"/>
                  </a:moveTo>
                  <a:cubicBezTo>
                    <a:pt x="0" y="33"/>
                    <a:pt x="24" y="67"/>
                    <a:pt x="57" y="33"/>
                  </a:cubicBezTo>
                  <a:cubicBezTo>
                    <a:pt x="24" y="0"/>
                    <a:pt x="0" y="33"/>
                    <a:pt x="0" y="33"/>
                  </a:cubicBezTo>
                  <a:close/>
                </a:path>
              </a:pathLst>
            </a:custGeom>
            <a:solidFill>
              <a:srgbClr val="FBF7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691" name="Freeform 5972"/>
            <p:cNvSpPr>
              <a:spLocks/>
            </p:cNvSpPr>
            <p:nvPr/>
          </p:nvSpPr>
          <p:spPr bwMode="auto">
            <a:xfrm>
              <a:off x="2399" y="2829"/>
              <a:ext cx="39" cy="42"/>
            </a:xfrm>
            <a:custGeom>
              <a:avLst/>
              <a:gdLst>
                <a:gd name="T0" fmla="*/ 22 w 22"/>
                <a:gd name="T1" fmla="*/ 0 h 24"/>
                <a:gd name="T2" fmla="*/ 0 w 22"/>
                <a:gd name="T3" fmla="*/ 12 h 24"/>
                <a:gd name="T4" fmla="*/ 22 w 22"/>
                <a:gd name="T5" fmla="*/ 24 h 24"/>
                <a:gd name="T6" fmla="*/ 16 w 22"/>
                <a:gd name="T7" fmla="*/ 12 h 24"/>
                <a:gd name="T8" fmla="*/ 22 w 22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24">
                  <a:moveTo>
                    <a:pt x="22" y="0"/>
                  </a:moveTo>
                  <a:cubicBezTo>
                    <a:pt x="10" y="0"/>
                    <a:pt x="0" y="12"/>
                    <a:pt x="0" y="12"/>
                  </a:cubicBezTo>
                  <a:cubicBezTo>
                    <a:pt x="0" y="12"/>
                    <a:pt x="10" y="24"/>
                    <a:pt x="22" y="24"/>
                  </a:cubicBezTo>
                  <a:cubicBezTo>
                    <a:pt x="22" y="24"/>
                    <a:pt x="19" y="15"/>
                    <a:pt x="16" y="12"/>
                  </a:cubicBezTo>
                  <a:cubicBezTo>
                    <a:pt x="19" y="10"/>
                    <a:pt x="22" y="0"/>
                    <a:pt x="22" y="0"/>
                  </a:cubicBezTo>
                  <a:close/>
                </a:path>
              </a:pathLst>
            </a:custGeom>
            <a:solidFill>
              <a:srgbClr val="FBF7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692" name="Freeform 5973"/>
            <p:cNvSpPr>
              <a:spLocks/>
            </p:cNvSpPr>
            <p:nvPr/>
          </p:nvSpPr>
          <p:spPr bwMode="auto">
            <a:xfrm>
              <a:off x="1937" y="2936"/>
              <a:ext cx="102" cy="119"/>
            </a:xfrm>
            <a:custGeom>
              <a:avLst/>
              <a:gdLst>
                <a:gd name="T0" fmla="*/ 0 w 58"/>
                <a:gd name="T1" fmla="*/ 34 h 67"/>
                <a:gd name="T2" fmla="*/ 58 w 58"/>
                <a:gd name="T3" fmla="*/ 34 h 67"/>
                <a:gd name="T4" fmla="*/ 0 w 58"/>
                <a:gd name="T5" fmla="*/ 34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8" h="67">
                  <a:moveTo>
                    <a:pt x="0" y="34"/>
                  </a:moveTo>
                  <a:cubicBezTo>
                    <a:pt x="0" y="34"/>
                    <a:pt x="24" y="67"/>
                    <a:pt x="58" y="34"/>
                  </a:cubicBezTo>
                  <a:cubicBezTo>
                    <a:pt x="24" y="0"/>
                    <a:pt x="0" y="34"/>
                    <a:pt x="0" y="34"/>
                  </a:cubicBezTo>
                  <a:close/>
                </a:path>
              </a:pathLst>
            </a:custGeom>
            <a:solidFill>
              <a:srgbClr val="FBF7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693" name="Freeform 5974"/>
            <p:cNvSpPr>
              <a:spLocks/>
            </p:cNvSpPr>
            <p:nvPr/>
          </p:nvSpPr>
          <p:spPr bwMode="auto">
            <a:xfrm>
              <a:off x="2039" y="2975"/>
              <a:ext cx="39" cy="42"/>
            </a:xfrm>
            <a:custGeom>
              <a:avLst/>
              <a:gdLst>
                <a:gd name="T0" fmla="*/ 22 w 22"/>
                <a:gd name="T1" fmla="*/ 0 h 24"/>
                <a:gd name="T2" fmla="*/ 0 w 22"/>
                <a:gd name="T3" fmla="*/ 12 h 24"/>
                <a:gd name="T4" fmla="*/ 22 w 22"/>
                <a:gd name="T5" fmla="*/ 24 h 24"/>
                <a:gd name="T6" fmla="*/ 16 w 22"/>
                <a:gd name="T7" fmla="*/ 12 h 24"/>
                <a:gd name="T8" fmla="*/ 22 w 22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24">
                  <a:moveTo>
                    <a:pt x="22" y="0"/>
                  </a:moveTo>
                  <a:cubicBezTo>
                    <a:pt x="10" y="0"/>
                    <a:pt x="0" y="12"/>
                    <a:pt x="0" y="12"/>
                  </a:cubicBezTo>
                  <a:cubicBezTo>
                    <a:pt x="0" y="12"/>
                    <a:pt x="10" y="24"/>
                    <a:pt x="22" y="24"/>
                  </a:cubicBezTo>
                  <a:cubicBezTo>
                    <a:pt x="22" y="24"/>
                    <a:pt x="18" y="15"/>
                    <a:pt x="16" y="12"/>
                  </a:cubicBezTo>
                  <a:cubicBezTo>
                    <a:pt x="18" y="9"/>
                    <a:pt x="22" y="0"/>
                    <a:pt x="22" y="0"/>
                  </a:cubicBezTo>
                  <a:close/>
                </a:path>
              </a:pathLst>
            </a:custGeom>
            <a:solidFill>
              <a:srgbClr val="FBF7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694" name="Freeform 5975"/>
            <p:cNvSpPr>
              <a:spLocks/>
            </p:cNvSpPr>
            <p:nvPr/>
          </p:nvSpPr>
          <p:spPr bwMode="auto">
            <a:xfrm>
              <a:off x="2592" y="3010"/>
              <a:ext cx="102" cy="120"/>
            </a:xfrm>
            <a:custGeom>
              <a:avLst/>
              <a:gdLst>
                <a:gd name="T0" fmla="*/ 0 w 58"/>
                <a:gd name="T1" fmla="*/ 34 h 67"/>
                <a:gd name="T2" fmla="*/ 58 w 58"/>
                <a:gd name="T3" fmla="*/ 34 h 67"/>
                <a:gd name="T4" fmla="*/ 0 w 58"/>
                <a:gd name="T5" fmla="*/ 34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8" h="67">
                  <a:moveTo>
                    <a:pt x="0" y="34"/>
                  </a:moveTo>
                  <a:cubicBezTo>
                    <a:pt x="0" y="34"/>
                    <a:pt x="24" y="67"/>
                    <a:pt x="58" y="34"/>
                  </a:cubicBezTo>
                  <a:cubicBezTo>
                    <a:pt x="24" y="0"/>
                    <a:pt x="0" y="34"/>
                    <a:pt x="0" y="34"/>
                  </a:cubicBezTo>
                  <a:close/>
                </a:path>
              </a:pathLst>
            </a:custGeom>
            <a:solidFill>
              <a:srgbClr val="FBF7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695" name="Freeform 5976"/>
            <p:cNvSpPr>
              <a:spLocks/>
            </p:cNvSpPr>
            <p:nvPr/>
          </p:nvSpPr>
          <p:spPr bwMode="auto">
            <a:xfrm>
              <a:off x="2694" y="3050"/>
              <a:ext cx="39" cy="42"/>
            </a:xfrm>
            <a:custGeom>
              <a:avLst/>
              <a:gdLst>
                <a:gd name="T0" fmla="*/ 22 w 22"/>
                <a:gd name="T1" fmla="*/ 0 h 24"/>
                <a:gd name="T2" fmla="*/ 0 w 22"/>
                <a:gd name="T3" fmla="*/ 12 h 24"/>
                <a:gd name="T4" fmla="*/ 22 w 22"/>
                <a:gd name="T5" fmla="*/ 24 h 24"/>
                <a:gd name="T6" fmla="*/ 16 w 22"/>
                <a:gd name="T7" fmla="*/ 12 h 24"/>
                <a:gd name="T8" fmla="*/ 22 w 22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24">
                  <a:moveTo>
                    <a:pt x="22" y="0"/>
                  </a:moveTo>
                  <a:cubicBezTo>
                    <a:pt x="10" y="0"/>
                    <a:pt x="0" y="12"/>
                    <a:pt x="0" y="12"/>
                  </a:cubicBezTo>
                  <a:cubicBezTo>
                    <a:pt x="0" y="12"/>
                    <a:pt x="10" y="24"/>
                    <a:pt x="22" y="24"/>
                  </a:cubicBezTo>
                  <a:cubicBezTo>
                    <a:pt x="22" y="24"/>
                    <a:pt x="19" y="14"/>
                    <a:pt x="16" y="12"/>
                  </a:cubicBezTo>
                  <a:cubicBezTo>
                    <a:pt x="19" y="9"/>
                    <a:pt x="22" y="0"/>
                    <a:pt x="22" y="0"/>
                  </a:cubicBezTo>
                  <a:close/>
                </a:path>
              </a:pathLst>
            </a:custGeom>
            <a:solidFill>
              <a:srgbClr val="FBF7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696" name="Freeform 5977"/>
            <p:cNvSpPr>
              <a:spLocks/>
            </p:cNvSpPr>
            <p:nvPr/>
          </p:nvSpPr>
          <p:spPr bwMode="auto">
            <a:xfrm>
              <a:off x="2471" y="3087"/>
              <a:ext cx="103" cy="119"/>
            </a:xfrm>
            <a:custGeom>
              <a:avLst/>
              <a:gdLst>
                <a:gd name="T0" fmla="*/ 0 w 58"/>
                <a:gd name="T1" fmla="*/ 33 h 67"/>
                <a:gd name="T2" fmla="*/ 58 w 58"/>
                <a:gd name="T3" fmla="*/ 33 h 67"/>
                <a:gd name="T4" fmla="*/ 0 w 58"/>
                <a:gd name="T5" fmla="*/ 33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8" h="67">
                  <a:moveTo>
                    <a:pt x="0" y="33"/>
                  </a:moveTo>
                  <a:cubicBezTo>
                    <a:pt x="0" y="33"/>
                    <a:pt x="24" y="67"/>
                    <a:pt x="58" y="33"/>
                  </a:cubicBezTo>
                  <a:cubicBezTo>
                    <a:pt x="24" y="0"/>
                    <a:pt x="0" y="33"/>
                    <a:pt x="0" y="33"/>
                  </a:cubicBezTo>
                  <a:close/>
                </a:path>
              </a:pathLst>
            </a:custGeom>
            <a:solidFill>
              <a:srgbClr val="FBF7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697" name="Freeform 5978"/>
            <p:cNvSpPr>
              <a:spLocks/>
            </p:cNvSpPr>
            <p:nvPr/>
          </p:nvSpPr>
          <p:spPr bwMode="auto">
            <a:xfrm>
              <a:off x="2574" y="3126"/>
              <a:ext cx="39" cy="41"/>
            </a:xfrm>
            <a:custGeom>
              <a:avLst/>
              <a:gdLst>
                <a:gd name="T0" fmla="*/ 22 w 22"/>
                <a:gd name="T1" fmla="*/ 0 h 23"/>
                <a:gd name="T2" fmla="*/ 0 w 22"/>
                <a:gd name="T3" fmla="*/ 11 h 23"/>
                <a:gd name="T4" fmla="*/ 22 w 22"/>
                <a:gd name="T5" fmla="*/ 23 h 23"/>
                <a:gd name="T6" fmla="*/ 15 w 22"/>
                <a:gd name="T7" fmla="*/ 11 h 23"/>
                <a:gd name="T8" fmla="*/ 22 w 22"/>
                <a:gd name="T9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23">
                  <a:moveTo>
                    <a:pt x="22" y="0"/>
                  </a:moveTo>
                  <a:cubicBezTo>
                    <a:pt x="10" y="0"/>
                    <a:pt x="0" y="11"/>
                    <a:pt x="0" y="11"/>
                  </a:cubicBezTo>
                  <a:cubicBezTo>
                    <a:pt x="0" y="11"/>
                    <a:pt x="10" y="23"/>
                    <a:pt x="22" y="23"/>
                  </a:cubicBezTo>
                  <a:cubicBezTo>
                    <a:pt x="22" y="23"/>
                    <a:pt x="18" y="14"/>
                    <a:pt x="15" y="11"/>
                  </a:cubicBezTo>
                  <a:cubicBezTo>
                    <a:pt x="18" y="9"/>
                    <a:pt x="22" y="0"/>
                    <a:pt x="22" y="0"/>
                  </a:cubicBezTo>
                  <a:close/>
                </a:path>
              </a:pathLst>
            </a:custGeom>
            <a:solidFill>
              <a:srgbClr val="FBF7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698" name="Freeform 5979"/>
            <p:cNvSpPr>
              <a:spLocks/>
            </p:cNvSpPr>
            <p:nvPr/>
          </p:nvSpPr>
          <p:spPr bwMode="auto">
            <a:xfrm>
              <a:off x="2418" y="2962"/>
              <a:ext cx="103" cy="120"/>
            </a:xfrm>
            <a:custGeom>
              <a:avLst/>
              <a:gdLst>
                <a:gd name="T0" fmla="*/ 0 w 58"/>
                <a:gd name="T1" fmla="*/ 34 h 67"/>
                <a:gd name="T2" fmla="*/ 58 w 58"/>
                <a:gd name="T3" fmla="*/ 34 h 67"/>
                <a:gd name="T4" fmla="*/ 0 w 58"/>
                <a:gd name="T5" fmla="*/ 34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8" h="67">
                  <a:moveTo>
                    <a:pt x="0" y="34"/>
                  </a:moveTo>
                  <a:cubicBezTo>
                    <a:pt x="0" y="34"/>
                    <a:pt x="24" y="67"/>
                    <a:pt x="58" y="34"/>
                  </a:cubicBezTo>
                  <a:cubicBezTo>
                    <a:pt x="24" y="0"/>
                    <a:pt x="0" y="34"/>
                    <a:pt x="0" y="34"/>
                  </a:cubicBezTo>
                  <a:close/>
                </a:path>
              </a:pathLst>
            </a:custGeom>
            <a:solidFill>
              <a:srgbClr val="FBF7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699" name="Freeform 5980"/>
            <p:cNvSpPr>
              <a:spLocks/>
            </p:cNvSpPr>
            <p:nvPr/>
          </p:nvSpPr>
          <p:spPr bwMode="auto">
            <a:xfrm>
              <a:off x="2521" y="3001"/>
              <a:ext cx="39" cy="43"/>
            </a:xfrm>
            <a:custGeom>
              <a:avLst/>
              <a:gdLst>
                <a:gd name="T0" fmla="*/ 22 w 22"/>
                <a:gd name="T1" fmla="*/ 0 h 24"/>
                <a:gd name="T2" fmla="*/ 0 w 22"/>
                <a:gd name="T3" fmla="*/ 12 h 24"/>
                <a:gd name="T4" fmla="*/ 22 w 22"/>
                <a:gd name="T5" fmla="*/ 24 h 24"/>
                <a:gd name="T6" fmla="*/ 16 w 22"/>
                <a:gd name="T7" fmla="*/ 12 h 24"/>
                <a:gd name="T8" fmla="*/ 22 w 22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24">
                  <a:moveTo>
                    <a:pt x="22" y="0"/>
                  </a:moveTo>
                  <a:cubicBezTo>
                    <a:pt x="10" y="0"/>
                    <a:pt x="0" y="12"/>
                    <a:pt x="0" y="12"/>
                  </a:cubicBezTo>
                  <a:cubicBezTo>
                    <a:pt x="0" y="12"/>
                    <a:pt x="10" y="24"/>
                    <a:pt x="22" y="24"/>
                  </a:cubicBezTo>
                  <a:cubicBezTo>
                    <a:pt x="22" y="24"/>
                    <a:pt x="19" y="14"/>
                    <a:pt x="16" y="12"/>
                  </a:cubicBezTo>
                  <a:cubicBezTo>
                    <a:pt x="19" y="9"/>
                    <a:pt x="22" y="0"/>
                    <a:pt x="22" y="0"/>
                  </a:cubicBezTo>
                  <a:close/>
                </a:path>
              </a:pathLst>
            </a:custGeom>
            <a:solidFill>
              <a:srgbClr val="FBF7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700" name="Freeform 5981"/>
            <p:cNvSpPr>
              <a:spLocks/>
            </p:cNvSpPr>
            <p:nvPr/>
          </p:nvSpPr>
          <p:spPr bwMode="auto">
            <a:xfrm>
              <a:off x="2052" y="3108"/>
              <a:ext cx="101" cy="120"/>
            </a:xfrm>
            <a:custGeom>
              <a:avLst/>
              <a:gdLst>
                <a:gd name="T0" fmla="*/ 0 w 57"/>
                <a:gd name="T1" fmla="*/ 33 h 67"/>
                <a:gd name="T2" fmla="*/ 57 w 57"/>
                <a:gd name="T3" fmla="*/ 33 h 67"/>
                <a:gd name="T4" fmla="*/ 0 w 57"/>
                <a:gd name="T5" fmla="*/ 33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7" h="67">
                  <a:moveTo>
                    <a:pt x="0" y="33"/>
                  </a:moveTo>
                  <a:cubicBezTo>
                    <a:pt x="0" y="33"/>
                    <a:pt x="24" y="67"/>
                    <a:pt x="57" y="33"/>
                  </a:cubicBezTo>
                  <a:cubicBezTo>
                    <a:pt x="24" y="0"/>
                    <a:pt x="0" y="33"/>
                    <a:pt x="0" y="33"/>
                  </a:cubicBezTo>
                  <a:close/>
                </a:path>
              </a:pathLst>
            </a:custGeom>
            <a:solidFill>
              <a:srgbClr val="FBF7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701" name="Freeform 5982"/>
            <p:cNvSpPr>
              <a:spLocks/>
            </p:cNvSpPr>
            <p:nvPr/>
          </p:nvSpPr>
          <p:spPr bwMode="auto">
            <a:xfrm>
              <a:off x="2153" y="3146"/>
              <a:ext cx="40" cy="42"/>
            </a:xfrm>
            <a:custGeom>
              <a:avLst/>
              <a:gdLst>
                <a:gd name="T0" fmla="*/ 23 w 23"/>
                <a:gd name="T1" fmla="*/ 0 h 24"/>
                <a:gd name="T2" fmla="*/ 0 w 23"/>
                <a:gd name="T3" fmla="*/ 12 h 24"/>
                <a:gd name="T4" fmla="*/ 23 w 23"/>
                <a:gd name="T5" fmla="*/ 24 h 24"/>
                <a:gd name="T6" fmla="*/ 16 w 23"/>
                <a:gd name="T7" fmla="*/ 12 h 24"/>
                <a:gd name="T8" fmla="*/ 23 w 23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4">
                  <a:moveTo>
                    <a:pt x="23" y="0"/>
                  </a:moveTo>
                  <a:cubicBezTo>
                    <a:pt x="11" y="0"/>
                    <a:pt x="0" y="12"/>
                    <a:pt x="0" y="12"/>
                  </a:cubicBezTo>
                  <a:cubicBezTo>
                    <a:pt x="0" y="12"/>
                    <a:pt x="11" y="24"/>
                    <a:pt x="23" y="24"/>
                  </a:cubicBezTo>
                  <a:cubicBezTo>
                    <a:pt x="23" y="24"/>
                    <a:pt x="19" y="15"/>
                    <a:pt x="16" y="12"/>
                  </a:cubicBezTo>
                  <a:cubicBezTo>
                    <a:pt x="19" y="10"/>
                    <a:pt x="23" y="0"/>
                    <a:pt x="23" y="0"/>
                  </a:cubicBezTo>
                  <a:close/>
                </a:path>
              </a:pathLst>
            </a:custGeom>
            <a:solidFill>
              <a:srgbClr val="FBF7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7732" name="Group 7731"/>
          <p:cNvGrpSpPr/>
          <p:nvPr/>
        </p:nvGrpSpPr>
        <p:grpSpPr>
          <a:xfrm>
            <a:off x="164382" y="4604560"/>
            <a:ext cx="814748" cy="931010"/>
            <a:chOff x="-873742" y="4360005"/>
            <a:chExt cx="474010" cy="541650"/>
          </a:xfrm>
        </p:grpSpPr>
        <p:sp>
          <p:nvSpPr>
            <p:cNvPr id="7705" name="Freeform 6"/>
            <p:cNvSpPr>
              <a:spLocks/>
            </p:cNvSpPr>
            <p:nvPr/>
          </p:nvSpPr>
          <p:spPr bwMode="auto">
            <a:xfrm>
              <a:off x="-711092" y="4388982"/>
              <a:ext cx="139414" cy="182779"/>
            </a:xfrm>
            <a:custGeom>
              <a:avLst/>
              <a:gdLst>
                <a:gd name="T0" fmla="*/ 913 w 936"/>
                <a:gd name="T1" fmla="*/ 886 h 1275"/>
                <a:gd name="T2" fmla="*/ 544 w 936"/>
                <a:gd name="T3" fmla="*/ 1275 h 1275"/>
                <a:gd name="T4" fmla="*/ 406 w 936"/>
                <a:gd name="T5" fmla="*/ 1275 h 1275"/>
                <a:gd name="T6" fmla="*/ 24 w 936"/>
                <a:gd name="T7" fmla="*/ 886 h 1275"/>
                <a:gd name="T8" fmla="*/ 0 w 936"/>
                <a:gd name="T9" fmla="*/ 389 h 1275"/>
                <a:gd name="T10" fmla="*/ 349 w 936"/>
                <a:gd name="T11" fmla="*/ 0 h 1275"/>
                <a:gd name="T12" fmla="*/ 587 w 936"/>
                <a:gd name="T13" fmla="*/ 0 h 1275"/>
                <a:gd name="T14" fmla="*/ 936 w 936"/>
                <a:gd name="T15" fmla="*/ 389 h 1275"/>
                <a:gd name="T16" fmla="*/ 913 w 936"/>
                <a:gd name="T17" fmla="*/ 886 h 1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36" h="1275">
                  <a:moveTo>
                    <a:pt x="913" y="886"/>
                  </a:moveTo>
                  <a:cubicBezTo>
                    <a:pt x="913" y="1100"/>
                    <a:pt x="736" y="1275"/>
                    <a:pt x="544" y="1275"/>
                  </a:cubicBezTo>
                  <a:cubicBezTo>
                    <a:pt x="406" y="1275"/>
                    <a:pt x="406" y="1275"/>
                    <a:pt x="406" y="1275"/>
                  </a:cubicBezTo>
                  <a:cubicBezTo>
                    <a:pt x="214" y="1275"/>
                    <a:pt x="24" y="1100"/>
                    <a:pt x="24" y="886"/>
                  </a:cubicBezTo>
                  <a:cubicBezTo>
                    <a:pt x="0" y="389"/>
                    <a:pt x="0" y="389"/>
                    <a:pt x="0" y="389"/>
                  </a:cubicBezTo>
                  <a:cubicBezTo>
                    <a:pt x="0" y="175"/>
                    <a:pt x="157" y="0"/>
                    <a:pt x="349" y="0"/>
                  </a:cubicBezTo>
                  <a:cubicBezTo>
                    <a:pt x="587" y="0"/>
                    <a:pt x="587" y="0"/>
                    <a:pt x="587" y="0"/>
                  </a:cubicBezTo>
                  <a:cubicBezTo>
                    <a:pt x="779" y="0"/>
                    <a:pt x="936" y="175"/>
                    <a:pt x="936" y="389"/>
                  </a:cubicBezTo>
                  <a:lnTo>
                    <a:pt x="913" y="886"/>
                  </a:lnTo>
                  <a:close/>
                </a:path>
              </a:pathLst>
            </a:custGeom>
            <a:solidFill>
              <a:srgbClr val="FDCF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706" name="Freeform 7"/>
            <p:cNvSpPr>
              <a:spLocks/>
            </p:cNvSpPr>
            <p:nvPr/>
          </p:nvSpPr>
          <p:spPr bwMode="auto">
            <a:xfrm>
              <a:off x="-756401" y="4360005"/>
              <a:ext cx="164974" cy="64641"/>
            </a:xfrm>
            <a:custGeom>
              <a:avLst/>
              <a:gdLst>
                <a:gd name="T0" fmla="*/ 851 w 1103"/>
                <a:gd name="T1" fmla="*/ 285 h 450"/>
                <a:gd name="T2" fmla="*/ 559 w 1103"/>
                <a:gd name="T3" fmla="*/ 377 h 450"/>
                <a:gd name="T4" fmla="*/ 262 w 1103"/>
                <a:gd name="T5" fmla="*/ 449 h 450"/>
                <a:gd name="T6" fmla="*/ 0 w 1103"/>
                <a:gd name="T7" fmla="*/ 315 h 450"/>
                <a:gd name="T8" fmla="*/ 180 w 1103"/>
                <a:gd name="T9" fmla="*/ 258 h 450"/>
                <a:gd name="T10" fmla="*/ 127 w 1103"/>
                <a:gd name="T11" fmla="*/ 232 h 450"/>
                <a:gd name="T12" fmla="*/ 510 w 1103"/>
                <a:gd name="T13" fmla="*/ 38 h 450"/>
                <a:gd name="T14" fmla="*/ 817 w 1103"/>
                <a:gd name="T15" fmla="*/ 11 h 450"/>
                <a:gd name="T16" fmla="*/ 1098 w 1103"/>
                <a:gd name="T17" fmla="*/ 188 h 450"/>
                <a:gd name="T18" fmla="*/ 1091 w 1103"/>
                <a:gd name="T19" fmla="*/ 236 h 450"/>
                <a:gd name="T20" fmla="*/ 1060 w 1103"/>
                <a:gd name="T21" fmla="*/ 250 h 450"/>
                <a:gd name="T22" fmla="*/ 1012 w 1103"/>
                <a:gd name="T23" fmla="*/ 250 h 450"/>
                <a:gd name="T24" fmla="*/ 851 w 1103"/>
                <a:gd name="T25" fmla="*/ 285 h 4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03" h="450">
                  <a:moveTo>
                    <a:pt x="851" y="285"/>
                  </a:moveTo>
                  <a:cubicBezTo>
                    <a:pt x="749" y="298"/>
                    <a:pt x="654" y="339"/>
                    <a:pt x="559" y="377"/>
                  </a:cubicBezTo>
                  <a:cubicBezTo>
                    <a:pt x="463" y="415"/>
                    <a:pt x="364" y="450"/>
                    <a:pt x="262" y="449"/>
                  </a:cubicBezTo>
                  <a:cubicBezTo>
                    <a:pt x="159" y="447"/>
                    <a:pt x="51" y="403"/>
                    <a:pt x="0" y="315"/>
                  </a:cubicBezTo>
                  <a:cubicBezTo>
                    <a:pt x="64" y="333"/>
                    <a:pt x="138" y="309"/>
                    <a:pt x="180" y="258"/>
                  </a:cubicBezTo>
                  <a:cubicBezTo>
                    <a:pt x="162" y="249"/>
                    <a:pt x="144" y="241"/>
                    <a:pt x="127" y="232"/>
                  </a:cubicBezTo>
                  <a:cubicBezTo>
                    <a:pt x="264" y="189"/>
                    <a:pt x="374" y="86"/>
                    <a:pt x="510" y="38"/>
                  </a:cubicBezTo>
                  <a:cubicBezTo>
                    <a:pt x="607" y="3"/>
                    <a:pt x="714" y="0"/>
                    <a:pt x="817" y="11"/>
                  </a:cubicBezTo>
                  <a:cubicBezTo>
                    <a:pt x="934" y="24"/>
                    <a:pt x="1068" y="74"/>
                    <a:pt x="1098" y="188"/>
                  </a:cubicBezTo>
                  <a:cubicBezTo>
                    <a:pt x="1102" y="205"/>
                    <a:pt x="1103" y="224"/>
                    <a:pt x="1091" y="236"/>
                  </a:cubicBezTo>
                  <a:cubicBezTo>
                    <a:pt x="1083" y="245"/>
                    <a:pt x="1072" y="248"/>
                    <a:pt x="1060" y="250"/>
                  </a:cubicBezTo>
                  <a:cubicBezTo>
                    <a:pt x="1008" y="261"/>
                    <a:pt x="1066" y="248"/>
                    <a:pt x="1012" y="250"/>
                  </a:cubicBezTo>
                  <a:lnTo>
                    <a:pt x="851" y="285"/>
                  </a:lnTo>
                  <a:close/>
                </a:path>
              </a:pathLst>
            </a:custGeom>
            <a:solidFill>
              <a:srgbClr val="FAA3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707" name="Freeform 8"/>
            <p:cNvSpPr>
              <a:spLocks/>
            </p:cNvSpPr>
            <p:nvPr/>
          </p:nvSpPr>
          <p:spPr bwMode="auto">
            <a:xfrm>
              <a:off x="-726195" y="4366692"/>
              <a:ext cx="180077" cy="127054"/>
            </a:xfrm>
            <a:custGeom>
              <a:avLst/>
              <a:gdLst>
                <a:gd name="T0" fmla="*/ 1017 w 1206"/>
                <a:gd name="T1" fmla="*/ 862 h 884"/>
                <a:gd name="T2" fmla="*/ 998 w 1206"/>
                <a:gd name="T3" fmla="*/ 511 h 884"/>
                <a:gd name="T4" fmla="*/ 878 w 1206"/>
                <a:gd name="T5" fmla="*/ 233 h 884"/>
                <a:gd name="T6" fmla="*/ 611 w 1206"/>
                <a:gd name="T7" fmla="*/ 188 h 884"/>
                <a:gd name="T8" fmla="*/ 222 w 1206"/>
                <a:gd name="T9" fmla="*/ 310 h 884"/>
                <a:gd name="T10" fmla="*/ 151 w 1206"/>
                <a:gd name="T11" fmla="*/ 348 h 884"/>
                <a:gd name="T12" fmla="*/ 124 w 1206"/>
                <a:gd name="T13" fmla="*/ 483 h 884"/>
                <a:gd name="T14" fmla="*/ 113 w 1206"/>
                <a:gd name="T15" fmla="*/ 884 h 884"/>
                <a:gd name="T16" fmla="*/ 39 w 1206"/>
                <a:gd name="T17" fmla="*/ 432 h 884"/>
                <a:gd name="T18" fmla="*/ 171 w 1206"/>
                <a:gd name="T19" fmla="*/ 188 h 884"/>
                <a:gd name="T20" fmla="*/ 402 w 1206"/>
                <a:gd name="T21" fmla="*/ 62 h 884"/>
                <a:gd name="T22" fmla="*/ 677 w 1206"/>
                <a:gd name="T23" fmla="*/ 1 h 884"/>
                <a:gd name="T24" fmla="*/ 1129 w 1206"/>
                <a:gd name="T25" fmla="*/ 277 h 884"/>
                <a:gd name="T26" fmla="*/ 1091 w 1206"/>
                <a:gd name="T27" fmla="*/ 790 h 884"/>
                <a:gd name="T28" fmla="*/ 1017 w 1206"/>
                <a:gd name="T29" fmla="*/ 862 h 8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06" h="884">
                  <a:moveTo>
                    <a:pt x="1017" y="862"/>
                  </a:moveTo>
                  <a:cubicBezTo>
                    <a:pt x="1003" y="739"/>
                    <a:pt x="1017" y="625"/>
                    <a:pt x="998" y="511"/>
                  </a:cubicBezTo>
                  <a:cubicBezTo>
                    <a:pt x="982" y="409"/>
                    <a:pt x="960" y="296"/>
                    <a:pt x="878" y="233"/>
                  </a:cubicBezTo>
                  <a:cubicBezTo>
                    <a:pt x="804" y="177"/>
                    <a:pt x="703" y="177"/>
                    <a:pt x="611" y="188"/>
                  </a:cubicBezTo>
                  <a:cubicBezTo>
                    <a:pt x="475" y="204"/>
                    <a:pt x="340" y="241"/>
                    <a:pt x="222" y="310"/>
                  </a:cubicBezTo>
                  <a:cubicBezTo>
                    <a:pt x="184" y="332"/>
                    <a:pt x="172" y="310"/>
                    <a:pt x="151" y="348"/>
                  </a:cubicBezTo>
                  <a:cubicBezTo>
                    <a:pt x="132" y="380"/>
                    <a:pt x="128" y="446"/>
                    <a:pt x="124" y="483"/>
                  </a:cubicBezTo>
                  <a:cubicBezTo>
                    <a:pt x="108" y="613"/>
                    <a:pt x="129" y="754"/>
                    <a:pt x="113" y="884"/>
                  </a:cubicBezTo>
                  <a:cubicBezTo>
                    <a:pt x="66" y="735"/>
                    <a:pt x="0" y="583"/>
                    <a:pt x="39" y="432"/>
                  </a:cubicBezTo>
                  <a:cubicBezTo>
                    <a:pt x="63" y="341"/>
                    <a:pt x="103" y="252"/>
                    <a:pt x="171" y="188"/>
                  </a:cubicBezTo>
                  <a:cubicBezTo>
                    <a:pt x="235" y="127"/>
                    <a:pt x="319" y="92"/>
                    <a:pt x="402" y="62"/>
                  </a:cubicBezTo>
                  <a:cubicBezTo>
                    <a:pt x="491" y="30"/>
                    <a:pt x="583" y="0"/>
                    <a:pt x="677" y="1"/>
                  </a:cubicBezTo>
                  <a:cubicBezTo>
                    <a:pt x="860" y="3"/>
                    <a:pt x="1051" y="112"/>
                    <a:pt x="1129" y="277"/>
                  </a:cubicBezTo>
                  <a:cubicBezTo>
                    <a:pt x="1206" y="442"/>
                    <a:pt x="1197" y="600"/>
                    <a:pt x="1091" y="790"/>
                  </a:cubicBezTo>
                  <a:lnTo>
                    <a:pt x="1017" y="862"/>
                  </a:lnTo>
                  <a:close/>
                </a:path>
              </a:pathLst>
            </a:custGeom>
            <a:solidFill>
              <a:srgbClr val="FAA3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708" name="Rectangle 9"/>
            <p:cNvSpPr>
              <a:spLocks noChangeArrowheads="1"/>
            </p:cNvSpPr>
            <p:nvPr/>
          </p:nvSpPr>
          <p:spPr bwMode="auto">
            <a:xfrm>
              <a:off x="-657650" y="4547242"/>
              <a:ext cx="36016" cy="59069"/>
            </a:xfrm>
            <a:prstGeom prst="rect">
              <a:avLst/>
            </a:prstGeom>
            <a:solidFill>
              <a:srgbClr val="FDCF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709" name="Oval 10"/>
            <p:cNvSpPr>
              <a:spLocks noChangeArrowheads="1"/>
            </p:cNvSpPr>
            <p:nvPr/>
          </p:nvSpPr>
          <p:spPr bwMode="auto">
            <a:xfrm>
              <a:off x="-592589" y="4482601"/>
              <a:ext cx="42987" cy="45695"/>
            </a:xfrm>
            <a:prstGeom prst="ellipse">
              <a:avLst/>
            </a:prstGeom>
            <a:solidFill>
              <a:srgbClr val="FDCF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710" name="Oval 11"/>
            <p:cNvSpPr>
              <a:spLocks noChangeArrowheads="1"/>
            </p:cNvSpPr>
            <p:nvPr/>
          </p:nvSpPr>
          <p:spPr bwMode="auto">
            <a:xfrm>
              <a:off x="-732004" y="4482601"/>
              <a:ext cx="41824" cy="45695"/>
            </a:xfrm>
            <a:prstGeom prst="ellipse">
              <a:avLst/>
            </a:prstGeom>
            <a:solidFill>
              <a:srgbClr val="FDCF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711" name="Freeform 12"/>
            <p:cNvSpPr>
              <a:spLocks/>
            </p:cNvSpPr>
            <p:nvPr/>
          </p:nvSpPr>
          <p:spPr bwMode="auto">
            <a:xfrm>
              <a:off x="-721547" y="4588478"/>
              <a:ext cx="160327" cy="130397"/>
            </a:xfrm>
            <a:custGeom>
              <a:avLst/>
              <a:gdLst>
                <a:gd name="T0" fmla="*/ 1014 w 1080"/>
                <a:gd name="T1" fmla="*/ 681 h 914"/>
                <a:gd name="T2" fmla="*/ 659 w 1080"/>
                <a:gd name="T3" fmla="*/ 914 h 914"/>
                <a:gd name="T4" fmla="*/ 422 w 1080"/>
                <a:gd name="T5" fmla="*/ 914 h 914"/>
                <a:gd name="T6" fmla="*/ 66 w 1080"/>
                <a:gd name="T7" fmla="*/ 681 h 914"/>
                <a:gd name="T8" fmla="*/ 15 w 1080"/>
                <a:gd name="T9" fmla="*/ 232 h 914"/>
                <a:gd name="T10" fmla="*/ 317 w 1080"/>
                <a:gd name="T11" fmla="*/ 0 h 914"/>
                <a:gd name="T12" fmla="*/ 763 w 1080"/>
                <a:gd name="T13" fmla="*/ 0 h 914"/>
                <a:gd name="T14" fmla="*/ 1065 w 1080"/>
                <a:gd name="T15" fmla="*/ 232 h 914"/>
                <a:gd name="T16" fmla="*/ 1014 w 1080"/>
                <a:gd name="T17" fmla="*/ 681 h 9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80" h="914">
                  <a:moveTo>
                    <a:pt x="1014" y="681"/>
                  </a:moveTo>
                  <a:cubicBezTo>
                    <a:pt x="999" y="809"/>
                    <a:pt x="839" y="914"/>
                    <a:pt x="659" y="914"/>
                  </a:cubicBezTo>
                  <a:cubicBezTo>
                    <a:pt x="422" y="914"/>
                    <a:pt x="422" y="914"/>
                    <a:pt x="422" y="914"/>
                  </a:cubicBezTo>
                  <a:cubicBezTo>
                    <a:pt x="241" y="914"/>
                    <a:pt x="81" y="809"/>
                    <a:pt x="66" y="681"/>
                  </a:cubicBezTo>
                  <a:cubicBezTo>
                    <a:pt x="15" y="232"/>
                    <a:pt x="15" y="232"/>
                    <a:pt x="15" y="232"/>
                  </a:cubicBezTo>
                  <a:cubicBezTo>
                    <a:pt x="0" y="104"/>
                    <a:pt x="136" y="0"/>
                    <a:pt x="317" y="0"/>
                  </a:cubicBezTo>
                  <a:cubicBezTo>
                    <a:pt x="763" y="0"/>
                    <a:pt x="763" y="0"/>
                    <a:pt x="763" y="0"/>
                  </a:cubicBezTo>
                  <a:cubicBezTo>
                    <a:pt x="944" y="0"/>
                    <a:pt x="1080" y="104"/>
                    <a:pt x="1065" y="232"/>
                  </a:cubicBezTo>
                  <a:lnTo>
                    <a:pt x="1014" y="68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712" name="Freeform 13"/>
            <p:cNvSpPr>
              <a:spLocks/>
            </p:cNvSpPr>
            <p:nvPr/>
          </p:nvSpPr>
          <p:spPr bwMode="auto">
            <a:xfrm>
              <a:off x="-698312" y="4716647"/>
              <a:ext cx="116179" cy="63527"/>
            </a:xfrm>
            <a:custGeom>
              <a:avLst/>
              <a:gdLst>
                <a:gd name="T0" fmla="*/ 782 w 782"/>
                <a:gd name="T1" fmla="*/ 339 h 444"/>
                <a:gd name="T2" fmla="*/ 678 w 782"/>
                <a:gd name="T3" fmla="*/ 444 h 444"/>
                <a:gd name="T4" fmla="*/ 104 w 782"/>
                <a:gd name="T5" fmla="*/ 444 h 444"/>
                <a:gd name="T6" fmla="*/ 0 w 782"/>
                <a:gd name="T7" fmla="*/ 339 h 444"/>
                <a:gd name="T8" fmla="*/ 0 w 782"/>
                <a:gd name="T9" fmla="*/ 105 h 444"/>
                <a:gd name="T10" fmla="*/ 104 w 782"/>
                <a:gd name="T11" fmla="*/ 0 h 444"/>
                <a:gd name="T12" fmla="*/ 678 w 782"/>
                <a:gd name="T13" fmla="*/ 0 h 444"/>
                <a:gd name="T14" fmla="*/ 782 w 782"/>
                <a:gd name="T15" fmla="*/ 105 h 444"/>
                <a:gd name="T16" fmla="*/ 782 w 782"/>
                <a:gd name="T17" fmla="*/ 339 h 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82" h="444">
                  <a:moveTo>
                    <a:pt x="782" y="339"/>
                  </a:moveTo>
                  <a:cubicBezTo>
                    <a:pt x="782" y="397"/>
                    <a:pt x="735" y="444"/>
                    <a:pt x="678" y="444"/>
                  </a:cubicBezTo>
                  <a:cubicBezTo>
                    <a:pt x="104" y="444"/>
                    <a:pt x="104" y="444"/>
                    <a:pt x="104" y="444"/>
                  </a:cubicBezTo>
                  <a:cubicBezTo>
                    <a:pt x="47" y="444"/>
                    <a:pt x="0" y="397"/>
                    <a:pt x="0" y="339"/>
                  </a:cubicBezTo>
                  <a:cubicBezTo>
                    <a:pt x="0" y="105"/>
                    <a:pt x="0" y="105"/>
                    <a:pt x="0" y="105"/>
                  </a:cubicBezTo>
                  <a:cubicBezTo>
                    <a:pt x="0" y="48"/>
                    <a:pt x="47" y="0"/>
                    <a:pt x="104" y="0"/>
                  </a:cubicBezTo>
                  <a:cubicBezTo>
                    <a:pt x="678" y="0"/>
                    <a:pt x="678" y="0"/>
                    <a:pt x="678" y="0"/>
                  </a:cubicBezTo>
                  <a:cubicBezTo>
                    <a:pt x="735" y="0"/>
                    <a:pt x="782" y="48"/>
                    <a:pt x="782" y="105"/>
                  </a:cubicBezTo>
                  <a:lnTo>
                    <a:pt x="782" y="339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713" name="Freeform 14"/>
            <p:cNvSpPr>
              <a:spLocks/>
            </p:cNvSpPr>
            <p:nvPr/>
          </p:nvSpPr>
          <p:spPr bwMode="auto">
            <a:xfrm>
              <a:off x="-851668" y="4584020"/>
              <a:ext cx="173107" cy="56840"/>
            </a:xfrm>
            <a:custGeom>
              <a:avLst/>
              <a:gdLst>
                <a:gd name="T0" fmla="*/ 1136 w 1166"/>
                <a:gd name="T1" fmla="*/ 266 h 401"/>
                <a:gd name="T2" fmla="*/ 865 w 1166"/>
                <a:gd name="T3" fmla="*/ 78 h 401"/>
                <a:gd name="T4" fmla="*/ 551 w 1166"/>
                <a:gd name="T5" fmla="*/ 4 h 401"/>
                <a:gd name="T6" fmla="*/ 167 w 1166"/>
                <a:gd name="T7" fmla="*/ 94 h 401"/>
                <a:gd name="T8" fmla="*/ 48 w 1166"/>
                <a:gd name="T9" fmla="*/ 163 h 401"/>
                <a:gd name="T10" fmla="*/ 21 w 1166"/>
                <a:gd name="T11" fmla="*/ 265 h 401"/>
                <a:gd name="T12" fmla="*/ 123 w 1166"/>
                <a:gd name="T13" fmla="*/ 292 h 401"/>
                <a:gd name="T14" fmla="*/ 219 w 1166"/>
                <a:gd name="T15" fmla="*/ 234 h 401"/>
                <a:gd name="T16" fmla="*/ 265 w 1166"/>
                <a:gd name="T17" fmla="*/ 211 h 401"/>
                <a:gd name="T18" fmla="*/ 309 w 1166"/>
                <a:gd name="T19" fmla="*/ 194 h 401"/>
                <a:gd name="T20" fmla="*/ 398 w 1166"/>
                <a:gd name="T21" fmla="*/ 167 h 401"/>
                <a:gd name="T22" fmla="*/ 441 w 1166"/>
                <a:gd name="T23" fmla="*/ 159 h 401"/>
                <a:gd name="T24" fmla="*/ 450 w 1166"/>
                <a:gd name="T25" fmla="*/ 157 h 401"/>
                <a:gd name="T26" fmla="*/ 477 w 1166"/>
                <a:gd name="T27" fmla="*/ 154 h 401"/>
                <a:gd name="T28" fmla="*/ 558 w 1166"/>
                <a:gd name="T29" fmla="*/ 152 h 401"/>
                <a:gd name="T30" fmla="*/ 596 w 1166"/>
                <a:gd name="T31" fmla="*/ 155 h 401"/>
                <a:gd name="T32" fmla="*/ 615 w 1166"/>
                <a:gd name="T33" fmla="*/ 157 h 401"/>
                <a:gd name="T34" fmla="*/ 614 w 1166"/>
                <a:gd name="T35" fmla="*/ 157 h 401"/>
                <a:gd name="T36" fmla="*/ 626 w 1166"/>
                <a:gd name="T37" fmla="*/ 159 h 401"/>
                <a:gd name="T38" fmla="*/ 767 w 1166"/>
                <a:gd name="T39" fmla="*/ 197 h 401"/>
                <a:gd name="T40" fmla="*/ 783 w 1166"/>
                <a:gd name="T41" fmla="*/ 203 h 401"/>
                <a:gd name="T42" fmla="*/ 785 w 1166"/>
                <a:gd name="T43" fmla="*/ 204 h 401"/>
                <a:gd name="T44" fmla="*/ 814 w 1166"/>
                <a:gd name="T45" fmla="*/ 217 h 401"/>
                <a:gd name="T46" fmla="*/ 871 w 1166"/>
                <a:gd name="T47" fmla="*/ 247 h 401"/>
                <a:gd name="T48" fmla="*/ 960 w 1166"/>
                <a:gd name="T49" fmla="*/ 307 h 401"/>
                <a:gd name="T50" fmla="*/ 956 w 1166"/>
                <a:gd name="T51" fmla="*/ 304 h 401"/>
                <a:gd name="T52" fmla="*/ 964 w 1166"/>
                <a:gd name="T53" fmla="*/ 311 h 401"/>
                <a:gd name="T54" fmla="*/ 979 w 1166"/>
                <a:gd name="T55" fmla="*/ 323 h 401"/>
                <a:gd name="T56" fmla="*/ 1006 w 1166"/>
                <a:gd name="T57" fmla="*/ 346 h 401"/>
                <a:gd name="T58" fmla="*/ 1030 w 1166"/>
                <a:gd name="T59" fmla="*/ 370 h 401"/>
                <a:gd name="T60" fmla="*/ 1031 w 1166"/>
                <a:gd name="T61" fmla="*/ 371 h 401"/>
                <a:gd name="T62" fmla="*/ 1136 w 1166"/>
                <a:gd name="T63" fmla="*/ 371 h 401"/>
                <a:gd name="T64" fmla="*/ 1136 w 1166"/>
                <a:gd name="T65" fmla="*/ 266 h 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66" h="401">
                  <a:moveTo>
                    <a:pt x="1136" y="266"/>
                  </a:moveTo>
                  <a:cubicBezTo>
                    <a:pt x="1063" y="186"/>
                    <a:pt x="963" y="122"/>
                    <a:pt x="865" y="78"/>
                  </a:cubicBezTo>
                  <a:cubicBezTo>
                    <a:pt x="765" y="33"/>
                    <a:pt x="660" y="7"/>
                    <a:pt x="551" y="4"/>
                  </a:cubicBezTo>
                  <a:cubicBezTo>
                    <a:pt x="418" y="0"/>
                    <a:pt x="287" y="36"/>
                    <a:pt x="167" y="94"/>
                  </a:cubicBezTo>
                  <a:cubicBezTo>
                    <a:pt x="126" y="114"/>
                    <a:pt x="86" y="138"/>
                    <a:pt x="48" y="163"/>
                  </a:cubicBezTo>
                  <a:cubicBezTo>
                    <a:pt x="14" y="186"/>
                    <a:pt x="0" y="228"/>
                    <a:pt x="21" y="265"/>
                  </a:cubicBezTo>
                  <a:cubicBezTo>
                    <a:pt x="41" y="298"/>
                    <a:pt x="89" y="314"/>
                    <a:pt x="123" y="292"/>
                  </a:cubicBezTo>
                  <a:cubicBezTo>
                    <a:pt x="154" y="271"/>
                    <a:pt x="186" y="252"/>
                    <a:pt x="219" y="234"/>
                  </a:cubicBezTo>
                  <a:cubicBezTo>
                    <a:pt x="234" y="226"/>
                    <a:pt x="250" y="218"/>
                    <a:pt x="265" y="211"/>
                  </a:cubicBezTo>
                  <a:cubicBezTo>
                    <a:pt x="281" y="204"/>
                    <a:pt x="289" y="201"/>
                    <a:pt x="309" y="194"/>
                  </a:cubicBezTo>
                  <a:cubicBezTo>
                    <a:pt x="338" y="183"/>
                    <a:pt x="368" y="174"/>
                    <a:pt x="398" y="167"/>
                  </a:cubicBezTo>
                  <a:cubicBezTo>
                    <a:pt x="412" y="164"/>
                    <a:pt x="427" y="161"/>
                    <a:pt x="441" y="159"/>
                  </a:cubicBezTo>
                  <a:cubicBezTo>
                    <a:pt x="443" y="159"/>
                    <a:pt x="466" y="155"/>
                    <a:pt x="450" y="157"/>
                  </a:cubicBezTo>
                  <a:cubicBezTo>
                    <a:pt x="459" y="156"/>
                    <a:pt x="468" y="155"/>
                    <a:pt x="477" y="154"/>
                  </a:cubicBezTo>
                  <a:cubicBezTo>
                    <a:pt x="504" y="152"/>
                    <a:pt x="531" y="152"/>
                    <a:pt x="558" y="152"/>
                  </a:cubicBezTo>
                  <a:cubicBezTo>
                    <a:pt x="571" y="153"/>
                    <a:pt x="584" y="154"/>
                    <a:pt x="596" y="155"/>
                  </a:cubicBezTo>
                  <a:cubicBezTo>
                    <a:pt x="603" y="155"/>
                    <a:pt x="609" y="156"/>
                    <a:pt x="615" y="157"/>
                  </a:cubicBezTo>
                  <a:cubicBezTo>
                    <a:pt x="624" y="158"/>
                    <a:pt x="624" y="158"/>
                    <a:pt x="614" y="157"/>
                  </a:cubicBezTo>
                  <a:cubicBezTo>
                    <a:pt x="618" y="157"/>
                    <a:pt x="622" y="158"/>
                    <a:pt x="626" y="159"/>
                  </a:cubicBezTo>
                  <a:cubicBezTo>
                    <a:pt x="675" y="166"/>
                    <a:pt x="722" y="180"/>
                    <a:pt x="767" y="197"/>
                  </a:cubicBezTo>
                  <a:cubicBezTo>
                    <a:pt x="773" y="199"/>
                    <a:pt x="778" y="201"/>
                    <a:pt x="783" y="203"/>
                  </a:cubicBezTo>
                  <a:cubicBezTo>
                    <a:pt x="800" y="210"/>
                    <a:pt x="768" y="196"/>
                    <a:pt x="785" y="204"/>
                  </a:cubicBezTo>
                  <a:cubicBezTo>
                    <a:pt x="795" y="208"/>
                    <a:pt x="804" y="212"/>
                    <a:pt x="814" y="217"/>
                  </a:cubicBezTo>
                  <a:cubicBezTo>
                    <a:pt x="833" y="226"/>
                    <a:pt x="852" y="237"/>
                    <a:pt x="871" y="247"/>
                  </a:cubicBezTo>
                  <a:cubicBezTo>
                    <a:pt x="902" y="265"/>
                    <a:pt x="931" y="285"/>
                    <a:pt x="960" y="307"/>
                  </a:cubicBezTo>
                  <a:cubicBezTo>
                    <a:pt x="971" y="316"/>
                    <a:pt x="945" y="296"/>
                    <a:pt x="956" y="304"/>
                  </a:cubicBezTo>
                  <a:cubicBezTo>
                    <a:pt x="959" y="306"/>
                    <a:pt x="962" y="308"/>
                    <a:pt x="964" y="311"/>
                  </a:cubicBezTo>
                  <a:cubicBezTo>
                    <a:pt x="970" y="315"/>
                    <a:pt x="975" y="319"/>
                    <a:pt x="979" y="323"/>
                  </a:cubicBezTo>
                  <a:cubicBezTo>
                    <a:pt x="988" y="330"/>
                    <a:pt x="997" y="338"/>
                    <a:pt x="1006" y="346"/>
                  </a:cubicBezTo>
                  <a:cubicBezTo>
                    <a:pt x="1014" y="354"/>
                    <a:pt x="1022" y="362"/>
                    <a:pt x="1030" y="370"/>
                  </a:cubicBezTo>
                  <a:cubicBezTo>
                    <a:pt x="1031" y="371"/>
                    <a:pt x="1031" y="371"/>
                    <a:pt x="1031" y="371"/>
                  </a:cubicBezTo>
                  <a:cubicBezTo>
                    <a:pt x="1058" y="401"/>
                    <a:pt x="1108" y="399"/>
                    <a:pt x="1136" y="371"/>
                  </a:cubicBezTo>
                  <a:cubicBezTo>
                    <a:pt x="1166" y="342"/>
                    <a:pt x="1163" y="296"/>
                    <a:pt x="1136" y="266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714" name="Freeform 15"/>
            <p:cNvSpPr>
              <a:spLocks/>
            </p:cNvSpPr>
            <p:nvPr/>
          </p:nvSpPr>
          <p:spPr bwMode="auto">
            <a:xfrm>
              <a:off x="-593751" y="4605196"/>
              <a:ext cx="173107" cy="63527"/>
            </a:xfrm>
            <a:custGeom>
              <a:avLst/>
              <a:gdLst>
                <a:gd name="T0" fmla="*/ 30 w 1162"/>
                <a:gd name="T1" fmla="*/ 136 h 446"/>
                <a:gd name="T2" fmla="*/ 282 w 1162"/>
                <a:gd name="T3" fmla="*/ 327 h 446"/>
                <a:gd name="T4" fmla="*/ 940 w 1162"/>
                <a:gd name="T5" fmla="*/ 362 h 446"/>
                <a:gd name="T6" fmla="*/ 1115 w 1162"/>
                <a:gd name="T7" fmla="*/ 274 h 446"/>
                <a:gd name="T8" fmla="*/ 1141 w 1162"/>
                <a:gd name="T9" fmla="*/ 172 h 446"/>
                <a:gd name="T10" fmla="*/ 1040 w 1162"/>
                <a:gd name="T11" fmla="*/ 146 h 446"/>
                <a:gd name="T12" fmla="*/ 944 w 1162"/>
                <a:gd name="T13" fmla="*/ 199 h 446"/>
                <a:gd name="T14" fmla="*/ 855 w 1162"/>
                <a:gd name="T15" fmla="*/ 235 h 446"/>
                <a:gd name="T16" fmla="*/ 767 w 1162"/>
                <a:gd name="T17" fmla="*/ 258 h 446"/>
                <a:gd name="T18" fmla="*/ 725 w 1162"/>
                <a:gd name="T19" fmla="*/ 266 h 446"/>
                <a:gd name="T20" fmla="*/ 717 w 1162"/>
                <a:gd name="T21" fmla="*/ 266 h 446"/>
                <a:gd name="T22" fmla="*/ 690 w 1162"/>
                <a:gd name="T23" fmla="*/ 268 h 446"/>
                <a:gd name="T24" fmla="*/ 611 w 1162"/>
                <a:gd name="T25" fmla="*/ 269 h 446"/>
                <a:gd name="T26" fmla="*/ 573 w 1162"/>
                <a:gd name="T27" fmla="*/ 266 h 446"/>
                <a:gd name="T28" fmla="*/ 568 w 1162"/>
                <a:gd name="T29" fmla="*/ 265 h 446"/>
                <a:gd name="T30" fmla="*/ 544 w 1162"/>
                <a:gd name="T31" fmla="*/ 261 h 446"/>
                <a:gd name="T32" fmla="*/ 406 w 1162"/>
                <a:gd name="T33" fmla="*/ 222 h 446"/>
                <a:gd name="T34" fmla="*/ 404 w 1162"/>
                <a:gd name="T35" fmla="*/ 221 h 446"/>
                <a:gd name="T36" fmla="*/ 390 w 1162"/>
                <a:gd name="T37" fmla="*/ 214 h 446"/>
                <a:gd name="T38" fmla="*/ 361 w 1162"/>
                <a:gd name="T39" fmla="*/ 201 h 446"/>
                <a:gd name="T40" fmla="*/ 305 w 1162"/>
                <a:gd name="T41" fmla="*/ 170 h 446"/>
                <a:gd name="T42" fmla="*/ 259 w 1162"/>
                <a:gd name="T43" fmla="*/ 140 h 446"/>
                <a:gd name="T44" fmla="*/ 238 w 1162"/>
                <a:gd name="T45" fmla="*/ 125 h 446"/>
                <a:gd name="T46" fmla="*/ 229 w 1162"/>
                <a:gd name="T47" fmla="*/ 118 h 446"/>
                <a:gd name="T48" fmla="*/ 228 w 1162"/>
                <a:gd name="T49" fmla="*/ 118 h 446"/>
                <a:gd name="T50" fmla="*/ 138 w 1162"/>
                <a:gd name="T51" fmla="*/ 35 h 446"/>
                <a:gd name="T52" fmla="*/ 135 w 1162"/>
                <a:gd name="T53" fmla="*/ 31 h 446"/>
                <a:gd name="T54" fmla="*/ 30 w 1162"/>
                <a:gd name="T55" fmla="*/ 31 h 446"/>
                <a:gd name="T56" fmla="*/ 30 w 1162"/>
                <a:gd name="T57" fmla="*/ 136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162" h="446">
                  <a:moveTo>
                    <a:pt x="30" y="136"/>
                  </a:moveTo>
                  <a:cubicBezTo>
                    <a:pt x="97" y="215"/>
                    <a:pt x="190" y="280"/>
                    <a:pt x="282" y="327"/>
                  </a:cubicBezTo>
                  <a:cubicBezTo>
                    <a:pt x="487" y="433"/>
                    <a:pt x="724" y="446"/>
                    <a:pt x="940" y="362"/>
                  </a:cubicBezTo>
                  <a:cubicBezTo>
                    <a:pt x="1001" y="338"/>
                    <a:pt x="1059" y="308"/>
                    <a:pt x="1115" y="274"/>
                  </a:cubicBezTo>
                  <a:cubicBezTo>
                    <a:pt x="1149" y="253"/>
                    <a:pt x="1162" y="208"/>
                    <a:pt x="1141" y="172"/>
                  </a:cubicBezTo>
                  <a:cubicBezTo>
                    <a:pt x="1121" y="138"/>
                    <a:pt x="1074" y="125"/>
                    <a:pt x="1040" y="146"/>
                  </a:cubicBezTo>
                  <a:cubicBezTo>
                    <a:pt x="1009" y="165"/>
                    <a:pt x="977" y="183"/>
                    <a:pt x="944" y="199"/>
                  </a:cubicBezTo>
                  <a:cubicBezTo>
                    <a:pt x="912" y="215"/>
                    <a:pt x="891" y="223"/>
                    <a:pt x="855" y="235"/>
                  </a:cubicBezTo>
                  <a:cubicBezTo>
                    <a:pt x="826" y="244"/>
                    <a:pt x="797" y="252"/>
                    <a:pt x="767" y="258"/>
                  </a:cubicBezTo>
                  <a:cubicBezTo>
                    <a:pt x="753" y="261"/>
                    <a:pt x="739" y="263"/>
                    <a:pt x="725" y="266"/>
                  </a:cubicBezTo>
                  <a:cubicBezTo>
                    <a:pt x="741" y="263"/>
                    <a:pt x="719" y="266"/>
                    <a:pt x="717" y="266"/>
                  </a:cubicBezTo>
                  <a:cubicBezTo>
                    <a:pt x="708" y="267"/>
                    <a:pt x="699" y="268"/>
                    <a:pt x="690" y="268"/>
                  </a:cubicBezTo>
                  <a:cubicBezTo>
                    <a:pt x="664" y="270"/>
                    <a:pt x="637" y="270"/>
                    <a:pt x="611" y="269"/>
                  </a:cubicBezTo>
                  <a:cubicBezTo>
                    <a:pt x="598" y="268"/>
                    <a:pt x="586" y="267"/>
                    <a:pt x="573" y="266"/>
                  </a:cubicBezTo>
                  <a:cubicBezTo>
                    <a:pt x="570" y="265"/>
                    <a:pt x="549" y="263"/>
                    <a:pt x="568" y="265"/>
                  </a:cubicBezTo>
                  <a:cubicBezTo>
                    <a:pt x="560" y="264"/>
                    <a:pt x="552" y="263"/>
                    <a:pt x="544" y="261"/>
                  </a:cubicBezTo>
                  <a:cubicBezTo>
                    <a:pt x="497" y="253"/>
                    <a:pt x="451" y="239"/>
                    <a:pt x="406" y="222"/>
                  </a:cubicBezTo>
                  <a:cubicBezTo>
                    <a:pt x="403" y="220"/>
                    <a:pt x="386" y="213"/>
                    <a:pt x="404" y="221"/>
                  </a:cubicBezTo>
                  <a:cubicBezTo>
                    <a:pt x="399" y="219"/>
                    <a:pt x="394" y="217"/>
                    <a:pt x="390" y="214"/>
                  </a:cubicBezTo>
                  <a:cubicBezTo>
                    <a:pt x="380" y="210"/>
                    <a:pt x="371" y="206"/>
                    <a:pt x="361" y="201"/>
                  </a:cubicBezTo>
                  <a:cubicBezTo>
                    <a:pt x="342" y="191"/>
                    <a:pt x="323" y="181"/>
                    <a:pt x="305" y="170"/>
                  </a:cubicBezTo>
                  <a:cubicBezTo>
                    <a:pt x="289" y="161"/>
                    <a:pt x="274" y="151"/>
                    <a:pt x="259" y="140"/>
                  </a:cubicBezTo>
                  <a:cubicBezTo>
                    <a:pt x="252" y="135"/>
                    <a:pt x="245" y="130"/>
                    <a:pt x="238" y="125"/>
                  </a:cubicBezTo>
                  <a:cubicBezTo>
                    <a:pt x="235" y="123"/>
                    <a:pt x="232" y="121"/>
                    <a:pt x="229" y="118"/>
                  </a:cubicBezTo>
                  <a:cubicBezTo>
                    <a:pt x="218" y="110"/>
                    <a:pt x="244" y="130"/>
                    <a:pt x="228" y="118"/>
                  </a:cubicBezTo>
                  <a:cubicBezTo>
                    <a:pt x="196" y="93"/>
                    <a:pt x="165" y="65"/>
                    <a:pt x="138" y="35"/>
                  </a:cubicBezTo>
                  <a:cubicBezTo>
                    <a:pt x="137" y="33"/>
                    <a:pt x="136" y="32"/>
                    <a:pt x="135" y="31"/>
                  </a:cubicBezTo>
                  <a:cubicBezTo>
                    <a:pt x="109" y="0"/>
                    <a:pt x="57" y="4"/>
                    <a:pt x="30" y="31"/>
                  </a:cubicBezTo>
                  <a:cubicBezTo>
                    <a:pt x="0" y="61"/>
                    <a:pt x="4" y="105"/>
                    <a:pt x="30" y="136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715" name="Freeform 16"/>
            <p:cNvSpPr>
              <a:spLocks/>
            </p:cNvSpPr>
            <p:nvPr/>
          </p:nvSpPr>
          <p:spPr bwMode="auto">
            <a:xfrm>
              <a:off x="-705282" y="4696586"/>
              <a:ext cx="132444" cy="31206"/>
            </a:xfrm>
            <a:custGeom>
              <a:avLst/>
              <a:gdLst>
                <a:gd name="T0" fmla="*/ 886 w 886"/>
                <a:gd name="T1" fmla="*/ 159 h 212"/>
                <a:gd name="T2" fmla="*/ 833 w 886"/>
                <a:gd name="T3" fmla="*/ 212 h 212"/>
                <a:gd name="T4" fmla="*/ 52 w 886"/>
                <a:gd name="T5" fmla="*/ 212 h 212"/>
                <a:gd name="T6" fmla="*/ 0 w 886"/>
                <a:gd name="T7" fmla="*/ 159 h 212"/>
                <a:gd name="T8" fmla="*/ 0 w 886"/>
                <a:gd name="T9" fmla="*/ 53 h 212"/>
                <a:gd name="T10" fmla="*/ 52 w 886"/>
                <a:gd name="T11" fmla="*/ 0 h 212"/>
                <a:gd name="T12" fmla="*/ 833 w 886"/>
                <a:gd name="T13" fmla="*/ 0 h 212"/>
                <a:gd name="T14" fmla="*/ 886 w 886"/>
                <a:gd name="T15" fmla="*/ 53 h 212"/>
                <a:gd name="T16" fmla="*/ 886 w 886"/>
                <a:gd name="T17" fmla="*/ 159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86" h="212">
                  <a:moveTo>
                    <a:pt x="886" y="159"/>
                  </a:moveTo>
                  <a:cubicBezTo>
                    <a:pt x="886" y="188"/>
                    <a:pt x="862" y="212"/>
                    <a:pt x="833" y="212"/>
                  </a:cubicBezTo>
                  <a:cubicBezTo>
                    <a:pt x="52" y="212"/>
                    <a:pt x="52" y="212"/>
                    <a:pt x="52" y="212"/>
                  </a:cubicBezTo>
                  <a:cubicBezTo>
                    <a:pt x="23" y="212"/>
                    <a:pt x="0" y="188"/>
                    <a:pt x="0" y="159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24"/>
                    <a:pt x="23" y="0"/>
                    <a:pt x="52" y="0"/>
                  </a:cubicBezTo>
                  <a:cubicBezTo>
                    <a:pt x="833" y="0"/>
                    <a:pt x="833" y="0"/>
                    <a:pt x="833" y="0"/>
                  </a:cubicBezTo>
                  <a:cubicBezTo>
                    <a:pt x="862" y="0"/>
                    <a:pt x="886" y="24"/>
                    <a:pt x="886" y="53"/>
                  </a:cubicBezTo>
                  <a:lnTo>
                    <a:pt x="886" y="159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716" name="Freeform 17"/>
            <p:cNvSpPr>
              <a:spLocks/>
            </p:cNvSpPr>
            <p:nvPr/>
          </p:nvSpPr>
          <p:spPr bwMode="auto">
            <a:xfrm>
              <a:off x="-653002" y="4588478"/>
              <a:ext cx="25559" cy="24519"/>
            </a:xfrm>
            <a:custGeom>
              <a:avLst/>
              <a:gdLst>
                <a:gd name="T0" fmla="*/ 170 w 170"/>
                <a:gd name="T1" fmla="*/ 118 h 171"/>
                <a:gd name="T2" fmla="*/ 118 w 170"/>
                <a:gd name="T3" fmla="*/ 171 h 171"/>
                <a:gd name="T4" fmla="*/ 53 w 170"/>
                <a:gd name="T5" fmla="*/ 171 h 171"/>
                <a:gd name="T6" fmla="*/ 0 w 170"/>
                <a:gd name="T7" fmla="*/ 118 h 171"/>
                <a:gd name="T8" fmla="*/ 0 w 170"/>
                <a:gd name="T9" fmla="*/ 52 h 171"/>
                <a:gd name="T10" fmla="*/ 53 w 170"/>
                <a:gd name="T11" fmla="*/ 0 h 171"/>
                <a:gd name="T12" fmla="*/ 118 w 170"/>
                <a:gd name="T13" fmla="*/ 0 h 171"/>
                <a:gd name="T14" fmla="*/ 170 w 170"/>
                <a:gd name="T15" fmla="*/ 52 h 171"/>
                <a:gd name="T16" fmla="*/ 170 w 170"/>
                <a:gd name="T17" fmla="*/ 118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0" h="171">
                  <a:moveTo>
                    <a:pt x="170" y="118"/>
                  </a:moveTo>
                  <a:cubicBezTo>
                    <a:pt x="170" y="147"/>
                    <a:pt x="146" y="171"/>
                    <a:pt x="118" y="171"/>
                  </a:cubicBezTo>
                  <a:cubicBezTo>
                    <a:pt x="53" y="171"/>
                    <a:pt x="53" y="171"/>
                    <a:pt x="53" y="171"/>
                  </a:cubicBezTo>
                  <a:cubicBezTo>
                    <a:pt x="24" y="171"/>
                    <a:pt x="0" y="147"/>
                    <a:pt x="0" y="118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0" y="23"/>
                    <a:pt x="24" y="0"/>
                    <a:pt x="53" y="0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46" y="0"/>
                    <a:pt x="170" y="23"/>
                    <a:pt x="170" y="52"/>
                  </a:cubicBezTo>
                  <a:lnTo>
                    <a:pt x="170" y="118"/>
                  </a:lnTo>
                  <a:close/>
                </a:path>
              </a:pathLst>
            </a:custGeom>
            <a:solidFill>
              <a:srgbClr val="E65A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717" name="Freeform 18"/>
            <p:cNvSpPr>
              <a:spLocks/>
            </p:cNvSpPr>
            <p:nvPr/>
          </p:nvSpPr>
          <p:spPr bwMode="auto">
            <a:xfrm>
              <a:off x="-713415" y="4611883"/>
              <a:ext cx="73193" cy="34550"/>
            </a:xfrm>
            <a:custGeom>
              <a:avLst/>
              <a:gdLst>
                <a:gd name="T0" fmla="*/ 63 w 63"/>
                <a:gd name="T1" fmla="*/ 0 h 31"/>
                <a:gd name="T2" fmla="*/ 8 w 63"/>
                <a:gd name="T3" fmla="*/ 11 h 31"/>
                <a:gd name="T4" fmla="*/ 0 w 63"/>
                <a:gd name="T5" fmla="*/ 27 h 31"/>
                <a:gd name="T6" fmla="*/ 16 w 63"/>
                <a:gd name="T7" fmla="*/ 31 h 31"/>
                <a:gd name="T8" fmla="*/ 63 w 63"/>
                <a:gd name="T9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31">
                  <a:moveTo>
                    <a:pt x="63" y="0"/>
                  </a:moveTo>
                  <a:lnTo>
                    <a:pt x="8" y="11"/>
                  </a:lnTo>
                  <a:lnTo>
                    <a:pt x="0" y="27"/>
                  </a:lnTo>
                  <a:lnTo>
                    <a:pt x="16" y="31"/>
                  </a:lnTo>
                  <a:lnTo>
                    <a:pt x="63" y="0"/>
                  </a:lnTo>
                  <a:close/>
                </a:path>
              </a:pathLst>
            </a:custGeom>
            <a:solidFill>
              <a:srgbClr val="E65A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718" name="Freeform 19"/>
            <p:cNvSpPr>
              <a:spLocks/>
            </p:cNvSpPr>
            <p:nvPr/>
          </p:nvSpPr>
          <p:spPr bwMode="auto">
            <a:xfrm>
              <a:off x="-449689" y="4597394"/>
              <a:ext cx="49957" cy="55725"/>
            </a:xfrm>
            <a:custGeom>
              <a:avLst/>
              <a:gdLst>
                <a:gd name="T0" fmla="*/ 294 w 334"/>
                <a:gd name="T1" fmla="*/ 252 h 391"/>
                <a:gd name="T2" fmla="*/ 95 w 334"/>
                <a:gd name="T3" fmla="*/ 360 h 391"/>
                <a:gd name="T4" fmla="*/ 40 w 334"/>
                <a:gd name="T5" fmla="*/ 140 h 391"/>
                <a:gd name="T6" fmla="*/ 239 w 334"/>
                <a:gd name="T7" fmla="*/ 31 h 391"/>
                <a:gd name="T8" fmla="*/ 294 w 334"/>
                <a:gd name="T9" fmla="*/ 252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4" h="391">
                  <a:moveTo>
                    <a:pt x="294" y="252"/>
                  </a:moveTo>
                  <a:cubicBezTo>
                    <a:pt x="254" y="342"/>
                    <a:pt x="165" y="391"/>
                    <a:pt x="95" y="360"/>
                  </a:cubicBezTo>
                  <a:cubicBezTo>
                    <a:pt x="24" y="329"/>
                    <a:pt x="0" y="230"/>
                    <a:pt x="40" y="140"/>
                  </a:cubicBezTo>
                  <a:cubicBezTo>
                    <a:pt x="80" y="49"/>
                    <a:pt x="169" y="0"/>
                    <a:pt x="239" y="31"/>
                  </a:cubicBezTo>
                  <a:cubicBezTo>
                    <a:pt x="309" y="62"/>
                    <a:pt x="334" y="161"/>
                    <a:pt x="294" y="252"/>
                  </a:cubicBezTo>
                  <a:close/>
                </a:path>
              </a:pathLst>
            </a:custGeom>
            <a:solidFill>
              <a:srgbClr val="FDCF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719" name="Freeform 20"/>
            <p:cNvSpPr>
              <a:spLocks/>
            </p:cNvSpPr>
            <p:nvPr/>
          </p:nvSpPr>
          <p:spPr bwMode="auto">
            <a:xfrm>
              <a:off x="-873742" y="4594051"/>
              <a:ext cx="56928" cy="47924"/>
            </a:xfrm>
            <a:custGeom>
              <a:avLst/>
              <a:gdLst>
                <a:gd name="T0" fmla="*/ 271 w 381"/>
                <a:gd name="T1" fmla="*/ 284 h 341"/>
                <a:gd name="T2" fmla="*/ 44 w 381"/>
                <a:gd name="T3" fmla="*/ 274 h 341"/>
                <a:gd name="T4" fmla="*/ 110 w 381"/>
                <a:gd name="T5" fmla="*/ 57 h 341"/>
                <a:gd name="T6" fmla="*/ 337 w 381"/>
                <a:gd name="T7" fmla="*/ 67 h 341"/>
                <a:gd name="T8" fmla="*/ 271 w 381"/>
                <a:gd name="T9" fmla="*/ 284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1" h="341">
                  <a:moveTo>
                    <a:pt x="271" y="284"/>
                  </a:moveTo>
                  <a:cubicBezTo>
                    <a:pt x="190" y="341"/>
                    <a:pt x="88" y="337"/>
                    <a:pt x="44" y="274"/>
                  </a:cubicBezTo>
                  <a:cubicBezTo>
                    <a:pt x="0" y="211"/>
                    <a:pt x="29" y="114"/>
                    <a:pt x="110" y="57"/>
                  </a:cubicBezTo>
                  <a:cubicBezTo>
                    <a:pt x="191" y="0"/>
                    <a:pt x="293" y="4"/>
                    <a:pt x="337" y="67"/>
                  </a:cubicBezTo>
                  <a:cubicBezTo>
                    <a:pt x="381" y="129"/>
                    <a:pt x="352" y="227"/>
                    <a:pt x="271" y="284"/>
                  </a:cubicBezTo>
                  <a:close/>
                </a:path>
              </a:pathLst>
            </a:custGeom>
            <a:solidFill>
              <a:srgbClr val="FDCF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720" name="Freeform 21"/>
            <p:cNvSpPr>
              <a:spLocks/>
            </p:cNvSpPr>
            <p:nvPr/>
          </p:nvSpPr>
          <p:spPr bwMode="auto">
            <a:xfrm>
              <a:off x="-643708" y="4740051"/>
              <a:ext cx="166136" cy="157146"/>
            </a:xfrm>
            <a:custGeom>
              <a:avLst/>
              <a:gdLst>
                <a:gd name="T0" fmla="*/ 171 w 1117"/>
                <a:gd name="T1" fmla="*/ 255 h 1101"/>
                <a:gd name="T2" fmla="*/ 197 w 1117"/>
                <a:gd name="T3" fmla="*/ 256 h 1101"/>
                <a:gd name="T4" fmla="*/ 226 w 1117"/>
                <a:gd name="T5" fmla="*/ 258 h 1101"/>
                <a:gd name="T6" fmla="*/ 244 w 1117"/>
                <a:gd name="T7" fmla="*/ 258 h 1101"/>
                <a:gd name="T8" fmla="*/ 240 w 1117"/>
                <a:gd name="T9" fmla="*/ 258 h 1101"/>
                <a:gd name="T10" fmla="*/ 469 w 1117"/>
                <a:gd name="T11" fmla="*/ 276 h 1101"/>
                <a:gd name="T12" fmla="*/ 729 w 1117"/>
                <a:gd name="T13" fmla="*/ 314 h 1101"/>
                <a:gd name="T14" fmla="*/ 786 w 1117"/>
                <a:gd name="T15" fmla="*/ 327 h 1101"/>
                <a:gd name="T16" fmla="*/ 812 w 1117"/>
                <a:gd name="T17" fmla="*/ 335 h 1101"/>
                <a:gd name="T18" fmla="*/ 825 w 1117"/>
                <a:gd name="T19" fmla="*/ 338 h 1101"/>
                <a:gd name="T20" fmla="*/ 813 w 1117"/>
                <a:gd name="T21" fmla="*/ 334 h 1101"/>
                <a:gd name="T22" fmla="*/ 857 w 1117"/>
                <a:gd name="T23" fmla="*/ 351 h 1101"/>
                <a:gd name="T24" fmla="*/ 876 w 1117"/>
                <a:gd name="T25" fmla="*/ 360 h 1101"/>
                <a:gd name="T26" fmla="*/ 885 w 1117"/>
                <a:gd name="T27" fmla="*/ 365 h 1101"/>
                <a:gd name="T28" fmla="*/ 867 w 1117"/>
                <a:gd name="T29" fmla="*/ 355 h 1101"/>
                <a:gd name="T30" fmla="*/ 865 w 1117"/>
                <a:gd name="T31" fmla="*/ 349 h 1101"/>
                <a:gd name="T32" fmla="*/ 873 w 1117"/>
                <a:gd name="T33" fmla="*/ 358 h 1101"/>
                <a:gd name="T34" fmla="*/ 858 w 1117"/>
                <a:gd name="T35" fmla="*/ 337 h 1101"/>
                <a:gd name="T36" fmla="*/ 849 w 1117"/>
                <a:gd name="T37" fmla="*/ 314 h 1101"/>
                <a:gd name="T38" fmla="*/ 860 w 1117"/>
                <a:gd name="T39" fmla="*/ 350 h 1101"/>
                <a:gd name="T40" fmla="*/ 864 w 1117"/>
                <a:gd name="T41" fmla="*/ 370 h 1101"/>
                <a:gd name="T42" fmla="*/ 861 w 1117"/>
                <a:gd name="T43" fmla="*/ 355 h 1101"/>
                <a:gd name="T44" fmla="*/ 863 w 1117"/>
                <a:gd name="T45" fmla="*/ 369 h 1101"/>
                <a:gd name="T46" fmla="*/ 870 w 1117"/>
                <a:gd name="T47" fmla="*/ 611 h 1101"/>
                <a:gd name="T48" fmla="*/ 849 w 1117"/>
                <a:gd name="T49" fmla="*/ 947 h 1101"/>
                <a:gd name="T50" fmla="*/ 975 w 1117"/>
                <a:gd name="T51" fmla="*/ 1095 h 1101"/>
                <a:gd name="T52" fmla="*/ 1060 w 1117"/>
                <a:gd name="T53" fmla="*/ 1076 h 1101"/>
                <a:gd name="T54" fmla="*/ 1094 w 1117"/>
                <a:gd name="T55" fmla="*/ 993 h 1101"/>
                <a:gd name="T56" fmla="*/ 1117 w 1117"/>
                <a:gd name="T57" fmla="*/ 573 h 1101"/>
                <a:gd name="T58" fmla="*/ 1087 w 1117"/>
                <a:gd name="T59" fmla="*/ 300 h 1101"/>
                <a:gd name="T60" fmla="*/ 894 w 1117"/>
                <a:gd name="T61" fmla="*/ 113 h 1101"/>
                <a:gd name="T62" fmla="*/ 415 w 1117"/>
                <a:gd name="T63" fmla="*/ 21 h 1101"/>
                <a:gd name="T64" fmla="*/ 100 w 1117"/>
                <a:gd name="T65" fmla="*/ 1 h 1101"/>
                <a:gd name="T66" fmla="*/ 18 w 1117"/>
                <a:gd name="T67" fmla="*/ 139 h 1101"/>
                <a:gd name="T68" fmla="*/ 171 w 1117"/>
                <a:gd name="T69" fmla="*/ 255 h 1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117" h="1101">
                  <a:moveTo>
                    <a:pt x="171" y="255"/>
                  </a:moveTo>
                  <a:cubicBezTo>
                    <a:pt x="179" y="256"/>
                    <a:pt x="188" y="256"/>
                    <a:pt x="197" y="256"/>
                  </a:cubicBezTo>
                  <a:cubicBezTo>
                    <a:pt x="207" y="257"/>
                    <a:pt x="216" y="257"/>
                    <a:pt x="226" y="258"/>
                  </a:cubicBezTo>
                  <a:cubicBezTo>
                    <a:pt x="232" y="258"/>
                    <a:pt x="238" y="258"/>
                    <a:pt x="244" y="258"/>
                  </a:cubicBezTo>
                  <a:cubicBezTo>
                    <a:pt x="273" y="260"/>
                    <a:pt x="209" y="257"/>
                    <a:pt x="240" y="258"/>
                  </a:cubicBezTo>
                  <a:cubicBezTo>
                    <a:pt x="316" y="262"/>
                    <a:pt x="392" y="268"/>
                    <a:pt x="469" y="276"/>
                  </a:cubicBezTo>
                  <a:cubicBezTo>
                    <a:pt x="555" y="285"/>
                    <a:pt x="642" y="296"/>
                    <a:pt x="729" y="314"/>
                  </a:cubicBezTo>
                  <a:cubicBezTo>
                    <a:pt x="748" y="318"/>
                    <a:pt x="767" y="323"/>
                    <a:pt x="786" y="327"/>
                  </a:cubicBezTo>
                  <a:cubicBezTo>
                    <a:pt x="795" y="330"/>
                    <a:pt x="804" y="332"/>
                    <a:pt x="812" y="335"/>
                  </a:cubicBezTo>
                  <a:cubicBezTo>
                    <a:pt x="817" y="336"/>
                    <a:pt x="821" y="337"/>
                    <a:pt x="825" y="338"/>
                  </a:cubicBezTo>
                  <a:cubicBezTo>
                    <a:pt x="852" y="346"/>
                    <a:pt x="794" y="328"/>
                    <a:pt x="813" y="334"/>
                  </a:cubicBezTo>
                  <a:cubicBezTo>
                    <a:pt x="828" y="339"/>
                    <a:pt x="842" y="345"/>
                    <a:pt x="857" y="351"/>
                  </a:cubicBezTo>
                  <a:cubicBezTo>
                    <a:pt x="863" y="354"/>
                    <a:pt x="870" y="357"/>
                    <a:pt x="876" y="360"/>
                  </a:cubicBezTo>
                  <a:cubicBezTo>
                    <a:pt x="879" y="362"/>
                    <a:pt x="882" y="364"/>
                    <a:pt x="885" y="365"/>
                  </a:cubicBezTo>
                  <a:cubicBezTo>
                    <a:pt x="901" y="374"/>
                    <a:pt x="847" y="341"/>
                    <a:pt x="867" y="355"/>
                  </a:cubicBezTo>
                  <a:cubicBezTo>
                    <a:pt x="888" y="368"/>
                    <a:pt x="891" y="376"/>
                    <a:pt x="865" y="349"/>
                  </a:cubicBezTo>
                  <a:cubicBezTo>
                    <a:pt x="868" y="352"/>
                    <a:pt x="871" y="355"/>
                    <a:pt x="873" y="358"/>
                  </a:cubicBezTo>
                  <a:cubicBezTo>
                    <a:pt x="844" y="319"/>
                    <a:pt x="852" y="327"/>
                    <a:pt x="858" y="337"/>
                  </a:cubicBezTo>
                  <a:cubicBezTo>
                    <a:pt x="863" y="346"/>
                    <a:pt x="869" y="365"/>
                    <a:pt x="849" y="314"/>
                  </a:cubicBezTo>
                  <a:cubicBezTo>
                    <a:pt x="854" y="326"/>
                    <a:pt x="857" y="338"/>
                    <a:pt x="860" y="350"/>
                  </a:cubicBezTo>
                  <a:cubicBezTo>
                    <a:pt x="861" y="357"/>
                    <a:pt x="862" y="363"/>
                    <a:pt x="864" y="370"/>
                  </a:cubicBezTo>
                  <a:cubicBezTo>
                    <a:pt x="867" y="391"/>
                    <a:pt x="858" y="335"/>
                    <a:pt x="861" y="355"/>
                  </a:cubicBezTo>
                  <a:cubicBezTo>
                    <a:pt x="862" y="360"/>
                    <a:pt x="862" y="365"/>
                    <a:pt x="863" y="369"/>
                  </a:cubicBezTo>
                  <a:cubicBezTo>
                    <a:pt x="873" y="451"/>
                    <a:pt x="872" y="531"/>
                    <a:pt x="870" y="611"/>
                  </a:cubicBezTo>
                  <a:cubicBezTo>
                    <a:pt x="868" y="724"/>
                    <a:pt x="861" y="836"/>
                    <a:pt x="849" y="947"/>
                  </a:cubicBezTo>
                  <a:cubicBezTo>
                    <a:pt x="842" y="1013"/>
                    <a:pt x="915" y="1084"/>
                    <a:pt x="975" y="1095"/>
                  </a:cubicBezTo>
                  <a:cubicBezTo>
                    <a:pt x="1007" y="1101"/>
                    <a:pt x="1038" y="1094"/>
                    <a:pt x="1060" y="1076"/>
                  </a:cubicBezTo>
                  <a:cubicBezTo>
                    <a:pt x="1085" y="1055"/>
                    <a:pt x="1091" y="1027"/>
                    <a:pt x="1094" y="993"/>
                  </a:cubicBezTo>
                  <a:cubicBezTo>
                    <a:pt x="1109" y="855"/>
                    <a:pt x="1117" y="714"/>
                    <a:pt x="1117" y="573"/>
                  </a:cubicBezTo>
                  <a:cubicBezTo>
                    <a:pt x="1116" y="486"/>
                    <a:pt x="1116" y="389"/>
                    <a:pt x="1087" y="300"/>
                  </a:cubicBezTo>
                  <a:cubicBezTo>
                    <a:pt x="1056" y="206"/>
                    <a:pt x="980" y="146"/>
                    <a:pt x="894" y="113"/>
                  </a:cubicBezTo>
                  <a:cubicBezTo>
                    <a:pt x="736" y="52"/>
                    <a:pt x="572" y="35"/>
                    <a:pt x="415" y="21"/>
                  </a:cubicBezTo>
                  <a:cubicBezTo>
                    <a:pt x="310" y="11"/>
                    <a:pt x="204" y="4"/>
                    <a:pt x="100" y="1"/>
                  </a:cubicBezTo>
                  <a:cubicBezTo>
                    <a:pt x="34" y="0"/>
                    <a:pt x="0" y="75"/>
                    <a:pt x="18" y="139"/>
                  </a:cubicBezTo>
                  <a:cubicBezTo>
                    <a:pt x="39" y="213"/>
                    <a:pt x="105" y="254"/>
                    <a:pt x="171" y="25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721" name="Freeform 22"/>
            <p:cNvSpPr>
              <a:spLocks/>
            </p:cNvSpPr>
            <p:nvPr/>
          </p:nvSpPr>
          <p:spPr bwMode="auto">
            <a:xfrm>
              <a:off x="-831918" y="4738937"/>
              <a:ext cx="184725" cy="106993"/>
            </a:xfrm>
            <a:custGeom>
              <a:avLst/>
              <a:gdLst>
                <a:gd name="T0" fmla="*/ 1002 w 1239"/>
                <a:gd name="T1" fmla="*/ 66 h 754"/>
                <a:gd name="T2" fmla="*/ 811 w 1239"/>
                <a:gd name="T3" fmla="*/ 343 h 754"/>
                <a:gd name="T4" fmla="*/ 761 w 1239"/>
                <a:gd name="T5" fmla="*/ 407 h 754"/>
                <a:gd name="T6" fmla="*/ 750 w 1239"/>
                <a:gd name="T7" fmla="*/ 421 h 754"/>
                <a:gd name="T8" fmla="*/ 717 w 1239"/>
                <a:gd name="T9" fmla="*/ 452 h 754"/>
                <a:gd name="T10" fmla="*/ 667 w 1239"/>
                <a:gd name="T11" fmla="*/ 498 h 754"/>
                <a:gd name="T12" fmla="*/ 665 w 1239"/>
                <a:gd name="T13" fmla="*/ 501 h 754"/>
                <a:gd name="T14" fmla="*/ 652 w 1239"/>
                <a:gd name="T15" fmla="*/ 507 h 754"/>
                <a:gd name="T16" fmla="*/ 670 w 1239"/>
                <a:gd name="T17" fmla="*/ 502 h 754"/>
                <a:gd name="T18" fmla="*/ 681 w 1239"/>
                <a:gd name="T19" fmla="*/ 503 h 754"/>
                <a:gd name="T20" fmla="*/ 669 w 1239"/>
                <a:gd name="T21" fmla="*/ 504 h 754"/>
                <a:gd name="T22" fmla="*/ 637 w 1239"/>
                <a:gd name="T23" fmla="*/ 491 h 754"/>
                <a:gd name="T24" fmla="*/ 630 w 1239"/>
                <a:gd name="T25" fmla="*/ 484 h 754"/>
                <a:gd name="T26" fmla="*/ 615 w 1239"/>
                <a:gd name="T27" fmla="*/ 473 h 754"/>
                <a:gd name="T28" fmla="*/ 473 w 1239"/>
                <a:gd name="T29" fmla="*/ 342 h 754"/>
                <a:gd name="T30" fmla="*/ 458 w 1239"/>
                <a:gd name="T31" fmla="*/ 329 h 754"/>
                <a:gd name="T32" fmla="*/ 460 w 1239"/>
                <a:gd name="T33" fmla="*/ 331 h 754"/>
                <a:gd name="T34" fmla="*/ 431 w 1239"/>
                <a:gd name="T35" fmla="*/ 303 h 754"/>
                <a:gd name="T36" fmla="*/ 367 w 1239"/>
                <a:gd name="T37" fmla="*/ 238 h 754"/>
                <a:gd name="T38" fmla="*/ 241 w 1239"/>
                <a:gd name="T39" fmla="*/ 105 h 754"/>
                <a:gd name="T40" fmla="*/ 65 w 1239"/>
                <a:gd name="T41" fmla="*/ 87 h 754"/>
                <a:gd name="T42" fmla="*/ 47 w 1239"/>
                <a:gd name="T43" fmla="*/ 262 h 754"/>
                <a:gd name="T44" fmla="*/ 336 w 1239"/>
                <a:gd name="T45" fmla="*/ 552 h 754"/>
                <a:gd name="T46" fmla="*/ 366 w 1239"/>
                <a:gd name="T47" fmla="*/ 579 h 754"/>
                <a:gd name="T48" fmla="*/ 382 w 1239"/>
                <a:gd name="T49" fmla="*/ 592 h 754"/>
                <a:gd name="T50" fmla="*/ 384 w 1239"/>
                <a:gd name="T51" fmla="*/ 594 h 754"/>
                <a:gd name="T52" fmla="*/ 465 w 1239"/>
                <a:gd name="T53" fmla="*/ 671 h 754"/>
                <a:gd name="T54" fmla="*/ 658 w 1239"/>
                <a:gd name="T55" fmla="*/ 751 h 754"/>
                <a:gd name="T56" fmla="*/ 847 w 1239"/>
                <a:gd name="T57" fmla="*/ 672 h 754"/>
                <a:gd name="T58" fmla="*/ 983 w 1239"/>
                <a:gd name="T59" fmla="*/ 528 h 754"/>
                <a:gd name="T60" fmla="*/ 1205 w 1239"/>
                <a:gd name="T61" fmla="*/ 210 h 754"/>
                <a:gd name="T62" fmla="*/ 1176 w 1239"/>
                <a:gd name="T63" fmla="*/ 37 h 754"/>
                <a:gd name="T64" fmla="*/ 1002 w 1239"/>
                <a:gd name="T65" fmla="*/ 66 h 7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39" h="754">
                  <a:moveTo>
                    <a:pt x="1002" y="66"/>
                  </a:moveTo>
                  <a:cubicBezTo>
                    <a:pt x="946" y="164"/>
                    <a:pt x="878" y="253"/>
                    <a:pt x="811" y="343"/>
                  </a:cubicBezTo>
                  <a:cubicBezTo>
                    <a:pt x="795" y="365"/>
                    <a:pt x="778" y="386"/>
                    <a:pt x="761" y="407"/>
                  </a:cubicBezTo>
                  <a:cubicBezTo>
                    <a:pt x="757" y="412"/>
                    <a:pt x="727" y="445"/>
                    <a:pt x="750" y="421"/>
                  </a:cubicBezTo>
                  <a:cubicBezTo>
                    <a:pt x="739" y="432"/>
                    <a:pt x="728" y="442"/>
                    <a:pt x="717" y="452"/>
                  </a:cubicBezTo>
                  <a:cubicBezTo>
                    <a:pt x="701" y="467"/>
                    <a:pt x="684" y="484"/>
                    <a:pt x="667" y="498"/>
                  </a:cubicBezTo>
                  <a:cubicBezTo>
                    <a:pt x="659" y="505"/>
                    <a:pt x="630" y="520"/>
                    <a:pt x="665" y="501"/>
                  </a:cubicBezTo>
                  <a:cubicBezTo>
                    <a:pt x="661" y="503"/>
                    <a:pt x="656" y="505"/>
                    <a:pt x="652" y="507"/>
                  </a:cubicBezTo>
                  <a:cubicBezTo>
                    <a:pt x="658" y="505"/>
                    <a:pt x="664" y="503"/>
                    <a:pt x="670" y="502"/>
                  </a:cubicBezTo>
                  <a:cubicBezTo>
                    <a:pt x="657" y="504"/>
                    <a:pt x="661" y="504"/>
                    <a:pt x="681" y="503"/>
                  </a:cubicBezTo>
                  <a:cubicBezTo>
                    <a:pt x="672" y="503"/>
                    <a:pt x="636" y="496"/>
                    <a:pt x="669" y="504"/>
                  </a:cubicBezTo>
                  <a:cubicBezTo>
                    <a:pt x="658" y="501"/>
                    <a:pt x="647" y="496"/>
                    <a:pt x="637" y="491"/>
                  </a:cubicBezTo>
                  <a:cubicBezTo>
                    <a:pt x="671" y="507"/>
                    <a:pt x="637" y="490"/>
                    <a:pt x="630" y="484"/>
                  </a:cubicBezTo>
                  <a:cubicBezTo>
                    <a:pt x="623" y="479"/>
                    <a:pt x="587" y="447"/>
                    <a:pt x="615" y="473"/>
                  </a:cubicBezTo>
                  <a:cubicBezTo>
                    <a:pt x="568" y="429"/>
                    <a:pt x="521" y="385"/>
                    <a:pt x="473" y="342"/>
                  </a:cubicBezTo>
                  <a:cubicBezTo>
                    <a:pt x="468" y="338"/>
                    <a:pt x="463" y="333"/>
                    <a:pt x="458" y="329"/>
                  </a:cubicBezTo>
                  <a:cubicBezTo>
                    <a:pt x="470" y="340"/>
                    <a:pt x="471" y="341"/>
                    <a:pt x="460" y="331"/>
                  </a:cubicBezTo>
                  <a:cubicBezTo>
                    <a:pt x="451" y="322"/>
                    <a:pt x="441" y="312"/>
                    <a:pt x="431" y="303"/>
                  </a:cubicBezTo>
                  <a:cubicBezTo>
                    <a:pt x="410" y="281"/>
                    <a:pt x="389" y="260"/>
                    <a:pt x="367" y="238"/>
                  </a:cubicBezTo>
                  <a:cubicBezTo>
                    <a:pt x="325" y="194"/>
                    <a:pt x="283" y="149"/>
                    <a:pt x="241" y="105"/>
                  </a:cubicBezTo>
                  <a:cubicBezTo>
                    <a:pt x="194" y="56"/>
                    <a:pt x="121" y="42"/>
                    <a:pt x="65" y="87"/>
                  </a:cubicBezTo>
                  <a:cubicBezTo>
                    <a:pt x="16" y="127"/>
                    <a:pt x="0" y="213"/>
                    <a:pt x="47" y="262"/>
                  </a:cubicBezTo>
                  <a:cubicBezTo>
                    <a:pt x="142" y="361"/>
                    <a:pt x="234" y="461"/>
                    <a:pt x="336" y="552"/>
                  </a:cubicBezTo>
                  <a:cubicBezTo>
                    <a:pt x="346" y="561"/>
                    <a:pt x="356" y="570"/>
                    <a:pt x="366" y="579"/>
                  </a:cubicBezTo>
                  <a:cubicBezTo>
                    <a:pt x="371" y="583"/>
                    <a:pt x="376" y="588"/>
                    <a:pt x="382" y="592"/>
                  </a:cubicBezTo>
                  <a:cubicBezTo>
                    <a:pt x="356" y="571"/>
                    <a:pt x="379" y="589"/>
                    <a:pt x="384" y="594"/>
                  </a:cubicBezTo>
                  <a:cubicBezTo>
                    <a:pt x="411" y="620"/>
                    <a:pt x="437" y="646"/>
                    <a:pt x="465" y="671"/>
                  </a:cubicBezTo>
                  <a:cubicBezTo>
                    <a:pt x="518" y="718"/>
                    <a:pt x="588" y="748"/>
                    <a:pt x="658" y="751"/>
                  </a:cubicBezTo>
                  <a:cubicBezTo>
                    <a:pt x="731" y="754"/>
                    <a:pt x="794" y="720"/>
                    <a:pt x="847" y="672"/>
                  </a:cubicBezTo>
                  <a:cubicBezTo>
                    <a:pt x="895" y="627"/>
                    <a:pt x="942" y="580"/>
                    <a:pt x="983" y="528"/>
                  </a:cubicBezTo>
                  <a:cubicBezTo>
                    <a:pt x="1063" y="427"/>
                    <a:pt x="1141" y="322"/>
                    <a:pt x="1205" y="210"/>
                  </a:cubicBezTo>
                  <a:cubicBezTo>
                    <a:pt x="1239" y="151"/>
                    <a:pt x="1235" y="79"/>
                    <a:pt x="1176" y="37"/>
                  </a:cubicBezTo>
                  <a:cubicBezTo>
                    <a:pt x="1125" y="0"/>
                    <a:pt x="1036" y="7"/>
                    <a:pt x="1002" y="6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722" name="Freeform 23"/>
            <p:cNvSpPr>
              <a:spLocks/>
            </p:cNvSpPr>
            <p:nvPr/>
          </p:nvSpPr>
          <p:spPr bwMode="auto">
            <a:xfrm>
              <a:off x="-851668" y="4737822"/>
              <a:ext cx="58089" cy="49038"/>
            </a:xfrm>
            <a:custGeom>
              <a:avLst/>
              <a:gdLst>
                <a:gd name="T0" fmla="*/ 32 w 394"/>
                <a:gd name="T1" fmla="*/ 300 h 345"/>
                <a:gd name="T2" fmla="*/ 57 w 394"/>
                <a:gd name="T3" fmla="*/ 162 h 345"/>
                <a:gd name="T4" fmla="*/ 222 w 394"/>
                <a:gd name="T5" fmla="*/ 35 h 345"/>
                <a:gd name="T6" fmla="*/ 362 w 394"/>
                <a:gd name="T7" fmla="*/ 45 h 345"/>
                <a:gd name="T8" fmla="*/ 336 w 394"/>
                <a:gd name="T9" fmla="*/ 183 h 345"/>
                <a:gd name="T10" fmla="*/ 172 w 394"/>
                <a:gd name="T11" fmla="*/ 310 h 345"/>
                <a:gd name="T12" fmla="*/ 32 w 394"/>
                <a:gd name="T13" fmla="*/ 300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4" h="345">
                  <a:moveTo>
                    <a:pt x="32" y="300"/>
                  </a:moveTo>
                  <a:cubicBezTo>
                    <a:pt x="0" y="259"/>
                    <a:pt x="12" y="197"/>
                    <a:pt x="57" y="162"/>
                  </a:cubicBezTo>
                  <a:cubicBezTo>
                    <a:pt x="222" y="35"/>
                    <a:pt x="222" y="35"/>
                    <a:pt x="222" y="35"/>
                  </a:cubicBezTo>
                  <a:cubicBezTo>
                    <a:pt x="268" y="0"/>
                    <a:pt x="331" y="4"/>
                    <a:pt x="362" y="45"/>
                  </a:cubicBezTo>
                  <a:cubicBezTo>
                    <a:pt x="394" y="85"/>
                    <a:pt x="382" y="147"/>
                    <a:pt x="336" y="183"/>
                  </a:cubicBezTo>
                  <a:cubicBezTo>
                    <a:pt x="172" y="310"/>
                    <a:pt x="172" y="310"/>
                    <a:pt x="172" y="310"/>
                  </a:cubicBezTo>
                  <a:cubicBezTo>
                    <a:pt x="126" y="345"/>
                    <a:pt x="63" y="341"/>
                    <a:pt x="32" y="30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723" name="Freeform 24"/>
            <p:cNvSpPr>
              <a:spLocks/>
            </p:cNvSpPr>
            <p:nvPr/>
          </p:nvSpPr>
          <p:spPr bwMode="auto">
            <a:xfrm>
              <a:off x="-519396" y="4873792"/>
              <a:ext cx="62737" cy="27863"/>
            </a:xfrm>
            <a:custGeom>
              <a:avLst/>
              <a:gdLst>
                <a:gd name="T0" fmla="*/ 1 w 419"/>
                <a:gd name="T1" fmla="*/ 93 h 192"/>
                <a:gd name="T2" fmla="*/ 107 w 419"/>
                <a:gd name="T3" fmla="*/ 1 h 192"/>
                <a:gd name="T4" fmla="*/ 315 w 419"/>
                <a:gd name="T5" fmla="*/ 4 h 192"/>
                <a:gd name="T6" fmla="*/ 418 w 419"/>
                <a:gd name="T7" fmla="*/ 99 h 192"/>
                <a:gd name="T8" fmla="*/ 312 w 419"/>
                <a:gd name="T9" fmla="*/ 191 h 192"/>
                <a:gd name="T10" fmla="*/ 104 w 419"/>
                <a:gd name="T11" fmla="*/ 188 h 192"/>
                <a:gd name="T12" fmla="*/ 1 w 419"/>
                <a:gd name="T13" fmla="*/ 93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9" h="192">
                  <a:moveTo>
                    <a:pt x="1" y="93"/>
                  </a:moveTo>
                  <a:cubicBezTo>
                    <a:pt x="1" y="41"/>
                    <a:pt x="49" y="0"/>
                    <a:pt x="107" y="1"/>
                  </a:cubicBezTo>
                  <a:cubicBezTo>
                    <a:pt x="315" y="4"/>
                    <a:pt x="315" y="4"/>
                    <a:pt x="315" y="4"/>
                  </a:cubicBezTo>
                  <a:cubicBezTo>
                    <a:pt x="373" y="5"/>
                    <a:pt x="419" y="48"/>
                    <a:pt x="418" y="99"/>
                  </a:cubicBezTo>
                  <a:cubicBezTo>
                    <a:pt x="418" y="151"/>
                    <a:pt x="370" y="192"/>
                    <a:pt x="312" y="191"/>
                  </a:cubicBezTo>
                  <a:cubicBezTo>
                    <a:pt x="104" y="188"/>
                    <a:pt x="104" y="188"/>
                    <a:pt x="104" y="188"/>
                  </a:cubicBezTo>
                  <a:cubicBezTo>
                    <a:pt x="46" y="187"/>
                    <a:pt x="0" y="144"/>
                    <a:pt x="1" y="93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727" name="Freeform 28"/>
            <p:cNvSpPr>
              <a:spLocks/>
            </p:cNvSpPr>
            <p:nvPr/>
          </p:nvSpPr>
          <p:spPr bwMode="auto">
            <a:xfrm>
              <a:off x="-671591" y="4510463"/>
              <a:ext cx="62737" cy="33435"/>
            </a:xfrm>
            <a:custGeom>
              <a:avLst/>
              <a:gdLst>
                <a:gd name="T0" fmla="*/ 1 w 425"/>
                <a:gd name="T1" fmla="*/ 0 h 236"/>
                <a:gd name="T2" fmla="*/ 181 w 425"/>
                <a:gd name="T3" fmla="*/ 217 h 236"/>
                <a:gd name="T4" fmla="*/ 425 w 425"/>
                <a:gd name="T5" fmla="*/ 76 h 236"/>
                <a:gd name="T6" fmla="*/ 1 w 425"/>
                <a:gd name="T7" fmla="*/ 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25" h="236">
                  <a:moveTo>
                    <a:pt x="1" y="0"/>
                  </a:moveTo>
                  <a:cubicBezTo>
                    <a:pt x="0" y="105"/>
                    <a:pt x="75" y="198"/>
                    <a:pt x="181" y="217"/>
                  </a:cubicBezTo>
                  <a:cubicBezTo>
                    <a:pt x="288" y="236"/>
                    <a:pt x="390" y="174"/>
                    <a:pt x="425" y="76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728" name="Freeform 29"/>
            <p:cNvSpPr>
              <a:spLocks/>
            </p:cNvSpPr>
            <p:nvPr/>
          </p:nvSpPr>
          <p:spPr bwMode="auto">
            <a:xfrm>
              <a:off x="-618149" y="4445822"/>
              <a:ext cx="22074" cy="13374"/>
            </a:xfrm>
            <a:custGeom>
              <a:avLst/>
              <a:gdLst>
                <a:gd name="T0" fmla="*/ 126 w 152"/>
                <a:gd name="T1" fmla="*/ 84 h 88"/>
                <a:gd name="T2" fmla="*/ 12 w 152"/>
                <a:gd name="T3" fmla="*/ 35 h 88"/>
                <a:gd name="T4" fmla="*/ 3 w 152"/>
                <a:gd name="T5" fmla="*/ 13 h 88"/>
                <a:gd name="T6" fmla="*/ 3 w 152"/>
                <a:gd name="T7" fmla="*/ 13 h 88"/>
                <a:gd name="T8" fmla="*/ 26 w 152"/>
                <a:gd name="T9" fmla="*/ 4 h 88"/>
                <a:gd name="T10" fmla="*/ 139 w 152"/>
                <a:gd name="T11" fmla="*/ 53 h 88"/>
                <a:gd name="T12" fmla="*/ 148 w 152"/>
                <a:gd name="T13" fmla="*/ 75 h 88"/>
                <a:gd name="T14" fmla="*/ 148 w 152"/>
                <a:gd name="T15" fmla="*/ 75 h 88"/>
                <a:gd name="T16" fmla="*/ 126 w 152"/>
                <a:gd name="T17" fmla="*/ 84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2" h="88">
                  <a:moveTo>
                    <a:pt x="126" y="84"/>
                  </a:moveTo>
                  <a:cubicBezTo>
                    <a:pt x="12" y="35"/>
                    <a:pt x="12" y="35"/>
                    <a:pt x="12" y="35"/>
                  </a:cubicBezTo>
                  <a:cubicBezTo>
                    <a:pt x="4" y="32"/>
                    <a:pt x="0" y="21"/>
                    <a:pt x="3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7" y="4"/>
                    <a:pt x="17" y="0"/>
                    <a:pt x="26" y="4"/>
                  </a:cubicBezTo>
                  <a:cubicBezTo>
                    <a:pt x="139" y="53"/>
                    <a:pt x="139" y="53"/>
                    <a:pt x="139" y="53"/>
                  </a:cubicBezTo>
                  <a:cubicBezTo>
                    <a:pt x="148" y="56"/>
                    <a:pt x="152" y="67"/>
                    <a:pt x="148" y="75"/>
                  </a:cubicBezTo>
                  <a:cubicBezTo>
                    <a:pt x="148" y="75"/>
                    <a:pt x="148" y="75"/>
                    <a:pt x="148" y="75"/>
                  </a:cubicBezTo>
                  <a:cubicBezTo>
                    <a:pt x="145" y="84"/>
                    <a:pt x="134" y="88"/>
                    <a:pt x="126" y="84"/>
                  </a:cubicBezTo>
                  <a:close/>
                </a:path>
              </a:pathLst>
            </a:custGeom>
            <a:solidFill>
              <a:srgbClr val="9284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729" name="Freeform 30"/>
            <p:cNvSpPr>
              <a:spLocks/>
            </p:cNvSpPr>
            <p:nvPr/>
          </p:nvSpPr>
          <p:spPr bwMode="auto">
            <a:xfrm>
              <a:off x="-680885" y="4444707"/>
              <a:ext cx="24398" cy="8916"/>
            </a:xfrm>
            <a:custGeom>
              <a:avLst/>
              <a:gdLst>
                <a:gd name="T0" fmla="*/ 148 w 164"/>
                <a:gd name="T1" fmla="*/ 37 h 62"/>
                <a:gd name="T2" fmla="*/ 22 w 164"/>
                <a:gd name="T3" fmla="*/ 60 h 62"/>
                <a:gd name="T4" fmla="*/ 1 w 164"/>
                <a:gd name="T5" fmla="*/ 46 h 62"/>
                <a:gd name="T6" fmla="*/ 1 w 164"/>
                <a:gd name="T7" fmla="*/ 46 h 62"/>
                <a:gd name="T8" fmla="*/ 16 w 164"/>
                <a:gd name="T9" fmla="*/ 25 h 62"/>
                <a:gd name="T10" fmla="*/ 142 w 164"/>
                <a:gd name="T11" fmla="*/ 2 h 62"/>
                <a:gd name="T12" fmla="*/ 163 w 164"/>
                <a:gd name="T13" fmla="*/ 16 h 62"/>
                <a:gd name="T14" fmla="*/ 163 w 164"/>
                <a:gd name="T15" fmla="*/ 16 h 62"/>
                <a:gd name="T16" fmla="*/ 148 w 164"/>
                <a:gd name="T17" fmla="*/ 37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4" h="62">
                  <a:moveTo>
                    <a:pt x="148" y="37"/>
                  </a:moveTo>
                  <a:cubicBezTo>
                    <a:pt x="22" y="60"/>
                    <a:pt x="22" y="60"/>
                    <a:pt x="22" y="60"/>
                  </a:cubicBezTo>
                  <a:cubicBezTo>
                    <a:pt x="12" y="62"/>
                    <a:pt x="3" y="55"/>
                    <a:pt x="1" y="46"/>
                  </a:cubicBezTo>
                  <a:cubicBezTo>
                    <a:pt x="1" y="46"/>
                    <a:pt x="1" y="46"/>
                    <a:pt x="1" y="46"/>
                  </a:cubicBezTo>
                  <a:cubicBezTo>
                    <a:pt x="0" y="36"/>
                    <a:pt x="6" y="27"/>
                    <a:pt x="16" y="25"/>
                  </a:cubicBezTo>
                  <a:cubicBezTo>
                    <a:pt x="142" y="2"/>
                    <a:pt x="142" y="2"/>
                    <a:pt x="142" y="2"/>
                  </a:cubicBezTo>
                  <a:cubicBezTo>
                    <a:pt x="151" y="0"/>
                    <a:pt x="161" y="7"/>
                    <a:pt x="163" y="16"/>
                  </a:cubicBezTo>
                  <a:cubicBezTo>
                    <a:pt x="163" y="16"/>
                    <a:pt x="163" y="16"/>
                    <a:pt x="163" y="16"/>
                  </a:cubicBezTo>
                  <a:cubicBezTo>
                    <a:pt x="164" y="26"/>
                    <a:pt x="158" y="35"/>
                    <a:pt x="148" y="37"/>
                  </a:cubicBezTo>
                  <a:close/>
                </a:path>
              </a:pathLst>
            </a:custGeom>
            <a:solidFill>
              <a:srgbClr val="9284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730" name="Freeform 31"/>
            <p:cNvSpPr>
              <a:spLocks/>
            </p:cNvSpPr>
            <p:nvPr/>
          </p:nvSpPr>
          <p:spPr bwMode="auto">
            <a:xfrm>
              <a:off x="-622796" y="4465883"/>
              <a:ext cx="24398" cy="14489"/>
            </a:xfrm>
            <a:custGeom>
              <a:avLst/>
              <a:gdLst>
                <a:gd name="T0" fmla="*/ 20 w 166"/>
                <a:gd name="T1" fmla="*/ 70 h 101"/>
                <a:gd name="T2" fmla="*/ 92 w 166"/>
                <a:gd name="T3" fmla="*/ 29 h 101"/>
                <a:gd name="T4" fmla="*/ 140 w 166"/>
                <a:gd name="T5" fmla="*/ 97 h 101"/>
                <a:gd name="T6" fmla="*/ 160 w 166"/>
                <a:gd name="T7" fmla="*/ 101 h 101"/>
                <a:gd name="T8" fmla="*/ 97 w 166"/>
                <a:gd name="T9" fmla="*/ 9 h 101"/>
                <a:gd name="T10" fmla="*/ 0 w 166"/>
                <a:gd name="T11" fmla="*/ 66 h 101"/>
                <a:gd name="T12" fmla="*/ 20 w 166"/>
                <a:gd name="T13" fmla="*/ 7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6" h="101">
                  <a:moveTo>
                    <a:pt x="20" y="70"/>
                  </a:moveTo>
                  <a:cubicBezTo>
                    <a:pt x="30" y="40"/>
                    <a:pt x="61" y="22"/>
                    <a:pt x="92" y="29"/>
                  </a:cubicBezTo>
                  <a:cubicBezTo>
                    <a:pt x="124" y="36"/>
                    <a:pt x="144" y="65"/>
                    <a:pt x="140" y="97"/>
                  </a:cubicBezTo>
                  <a:cubicBezTo>
                    <a:pt x="160" y="101"/>
                    <a:pt x="160" y="101"/>
                    <a:pt x="160" y="101"/>
                  </a:cubicBezTo>
                  <a:cubicBezTo>
                    <a:pt x="166" y="59"/>
                    <a:pt x="139" y="18"/>
                    <a:pt x="97" y="9"/>
                  </a:cubicBezTo>
                  <a:cubicBezTo>
                    <a:pt x="55" y="0"/>
                    <a:pt x="12" y="25"/>
                    <a:pt x="0" y="66"/>
                  </a:cubicBezTo>
                  <a:lnTo>
                    <a:pt x="20" y="70"/>
                  </a:lnTo>
                  <a:close/>
                </a:path>
              </a:pathLst>
            </a:custGeom>
            <a:solidFill>
              <a:srgbClr val="615C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731" name="Freeform 32"/>
            <p:cNvSpPr>
              <a:spLocks/>
            </p:cNvSpPr>
            <p:nvPr/>
          </p:nvSpPr>
          <p:spPr bwMode="auto">
            <a:xfrm>
              <a:off x="-677400" y="4466998"/>
              <a:ext cx="24398" cy="11145"/>
            </a:xfrm>
            <a:custGeom>
              <a:avLst/>
              <a:gdLst>
                <a:gd name="T0" fmla="*/ 20 w 164"/>
                <a:gd name="T1" fmla="*/ 79 h 79"/>
                <a:gd name="T2" fmla="*/ 81 w 164"/>
                <a:gd name="T3" fmla="*/ 21 h 79"/>
                <a:gd name="T4" fmla="*/ 144 w 164"/>
                <a:gd name="T5" fmla="*/ 76 h 79"/>
                <a:gd name="T6" fmla="*/ 164 w 164"/>
                <a:gd name="T7" fmla="*/ 75 h 79"/>
                <a:gd name="T8" fmla="*/ 80 w 164"/>
                <a:gd name="T9" fmla="*/ 1 h 79"/>
                <a:gd name="T10" fmla="*/ 0 w 164"/>
                <a:gd name="T11" fmla="*/ 79 h 79"/>
                <a:gd name="T12" fmla="*/ 20 w 164"/>
                <a:gd name="T13" fmla="*/ 7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4" h="79">
                  <a:moveTo>
                    <a:pt x="20" y="79"/>
                  </a:moveTo>
                  <a:cubicBezTo>
                    <a:pt x="22" y="47"/>
                    <a:pt x="48" y="22"/>
                    <a:pt x="81" y="21"/>
                  </a:cubicBezTo>
                  <a:cubicBezTo>
                    <a:pt x="113" y="20"/>
                    <a:pt x="140" y="44"/>
                    <a:pt x="144" y="76"/>
                  </a:cubicBezTo>
                  <a:cubicBezTo>
                    <a:pt x="164" y="75"/>
                    <a:pt x="164" y="75"/>
                    <a:pt x="164" y="75"/>
                  </a:cubicBezTo>
                  <a:cubicBezTo>
                    <a:pt x="160" y="33"/>
                    <a:pt x="123" y="0"/>
                    <a:pt x="80" y="1"/>
                  </a:cubicBezTo>
                  <a:cubicBezTo>
                    <a:pt x="37" y="2"/>
                    <a:pt x="2" y="37"/>
                    <a:pt x="0" y="79"/>
                  </a:cubicBezTo>
                  <a:lnTo>
                    <a:pt x="20" y="79"/>
                  </a:lnTo>
                  <a:close/>
                </a:path>
              </a:pathLst>
            </a:custGeom>
            <a:solidFill>
              <a:srgbClr val="615C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pic>
        <p:nvPicPr>
          <p:cNvPr id="7733" name="Picture 773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28585" y="2858158"/>
            <a:ext cx="436774" cy="545272"/>
          </a:xfrm>
          <a:prstGeom prst="rect">
            <a:avLst/>
          </a:prstGeom>
        </p:spPr>
      </p:pic>
      <p:grpSp>
        <p:nvGrpSpPr>
          <p:cNvPr id="7741" name="Group 7740"/>
          <p:cNvGrpSpPr/>
          <p:nvPr/>
        </p:nvGrpSpPr>
        <p:grpSpPr>
          <a:xfrm>
            <a:off x="1055629" y="4899049"/>
            <a:ext cx="199658" cy="517374"/>
            <a:chOff x="845335" y="3446744"/>
            <a:chExt cx="400600" cy="1038075"/>
          </a:xfrm>
        </p:grpSpPr>
        <p:cxnSp>
          <p:nvCxnSpPr>
            <p:cNvPr id="7739" name="Straight Connector 7738"/>
            <p:cNvCxnSpPr/>
            <p:nvPr/>
          </p:nvCxnSpPr>
          <p:spPr>
            <a:xfrm flipH="1">
              <a:off x="1045635" y="3847344"/>
              <a:ext cx="0" cy="583384"/>
            </a:xfrm>
            <a:prstGeom prst="line">
              <a:avLst/>
            </a:prstGeom>
            <a:ln w="41275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737" name="Oval 7736"/>
            <p:cNvSpPr/>
            <p:nvPr/>
          </p:nvSpPr>
          <p:spPr>
            <a:xfrm>
              <a:off x="845335" y="3446744"/>
              <a:ext cx="400600" cy="400600"/>
            </a:xfrm>
            <a:prstGeom prst="ellipse">
              <a:avLst/>
            </a:prstGeom>
            <a:solidFill>
              <a:srgbClr val="E65A6D"/>
            </a:solidFill>
            <a:ln w="41275" cmpd="dbl">
              <a:solidFill>
                <a:srgbClr val="E65A6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200" b="1" dirty="0" smtClean="0">
                  <a:solidFill>
                    <a:schemeClr val="bg2"/>
                  </a:solidFill>
                </a:rPr>
                <a:t>1</a:t>
              </a:r>
            </a:p>
          </p:txBody>
        </p:sp>
        <p:sp>
          <p:nvSpPr>
            <p:cNvPr id="7740" name="Isosceles Triangle 7739"/>
            <p:cNvSpPr/>
            <p:nvPr/>
          </p:nvSpPr>
          <p:spPr>
            <a:xfrm>
              <a:off x="965031" y="4385250"/>
              <a:ext cx="170220" cy="99569"/>
            </a:xfrm>
            <a:prstGeom prst="triangle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200" dirty="0" err="1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7742" name="Group 7741"/>
          <p:cNvGrpSpPr/>
          <p:nvPr/>
        </p:nvGrpSpPr>
        <p:grpSpPr>
          <a:xfrm>
            <a:off x="1618477" y="4897161"/>
            <a:ext cx="199658" cy="517374"/>
            <a:chOff x="845335" y="3446744"/>
            <a:chExt cx="400600" cy="1038075"/>
          </a:xfrm>
        </p:grpSpPr>
        <p:cxnSp>
          <p:nvCxnSpPr>
            <p:cNvPr id="7743" name="Straight Connector 7742"/>
            <p:cNvCxnSpPr/>
            <p:nvPr/>
          </p:nvCxnSpPr>
          <p:spPr>
            <a:xfrm flipH="1">
              <a:off x="1045635" y="3847344"/>
              <a:ext cx="0" cy="583384"/>
            </a:xfrm>
            <a:prstGeom prst="line">
              <a:avLst/>
            </a:prstGeom>
            <a:ln w="41275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744" name="Oval 7743"/>
            <p:cNvSpPr/>
            <p:nvPr/>
          </p:nvSpPr>
          <p:spPr>
            <a:xfrm>
              <a:off x="845335" y="3446744"/>
              <a:ext cx="400600" cy="400600"/>
            </a:xfrm>
            <a:prstGeom prst="ellipse">
              <a:avLst/>
            </a:prstGeom>
            <a:solidFill>
              <a:srgbClr val="E65A6D"/>
            </a:solidFill>
            <a:ln w="41275" cmpd="dbl">
              <a:solidFill>
                <a:srgbClr val="E65A6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200" b="1" dirty="0" smtClean="0">
                  <a:solidFill>
                    <a:schemeClr val="bg2"/>
                  </a:solidFill>
                </a:rPr>
                <a:t>2</a:t>
              </a:r>
            </a:p>
          </p:txBody>
        </p:sp>
        <p:sp>
          <p:nvSpPr>
            <p:cNvPr id="7745" name="Isosceles Triangle 7744"/>
            <p:cNvSpPr/>
            <p:nvPr/>
          </p:nvSpPr>
          <p:spPr>
            <a:xfrm>
              <a:off x="965031" y="4385250"/>
              <a:ext cx="170220" cy="99569"/>
            </a:xfrm>
            <a:prstGeom prst="triangle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200" dirty="0" err="1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7746" name="Group 7745"/>
          <p:cNvGrpSpPr/>
          <p:nvPr/>
        </p:nvGrpSpPr>
        <p:grpSpPr>
          <a:xfrm>
            <a:off x="2460080" y="4592686"/>
            <a:ext cx="199658" cy="517374"/>
            <a:chOff x="845335" y="3446744"/>
            <a:chExt cx="400600" cy="1038075"/>
          </a:xfrm>
        </p:grpSpPr>
        <p:cxnSp>
          <p:nvCxnSpPr>
            <p:cNvPr id="7747" name="Straight Connector 7746"/>
            <p:cNvCxnSpPr/>
            <p:nvPr/>
          </p:nvCxnSpPr>
          <p:spPr>
            <a:xfrm flipH="1">
              <a:off x="1045635" y="3847344"/>
              <a:ext cx="0" cy="583384"/>
            </a:xfrm>
            <a:prstGeom prst="line">
              <a:avLst/>
            </a:prstGeom>
            <a:ln w="41275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748" name="Oval 7747"/>
            <p:cNvSpPr/>
            <p:nvPr/>
          </p:nvSpPr>
          <p:spPr>
            <a:xfrm>
              <a:off x="845335" y="3446744"/>
              <a:ext cx="400600" cy="400600"/>
            </a:xfrm>
            <a:prstGeom prst="ellipse">
              <a:avLst/>
            </a:prstGeom>
            <a:solidFill>
              <a:srgbClr val="E65A6D"/>
            </a:solidFill>
            <a:ln w="41275" cmpd="dbl">
              <a:solidFill>
                <a:srgbClr val="E65A6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200" b="1" dirty="0" smtClean="0">
                  <a:solidFill>
                    <a:schemeClr val="bg2"/>
                  </a:solidFill>
                </a:rPr>
                <a:t>3</a:t>
              </a:r>
            </a:p>
          </p:txBody>
        </p:sp>
        <p:sp>
          <p:nvSpPr>
            <p:cNvPr id="7749" name="Isosceles Triangle 7748"/>
            <p:cNvSpPr/>
            <p:nvPr/>
          </p:nvSpPr>
          <p:spPr>
            <a:xfrm>
              <a:off x="965031" y="4385250"/>
              <a:ext cx="170220" cy="99569"/>
            </a:xfrm>
            <a:prstGeom prst="triangle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200" dirty="0" err="1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7750" name="Group 7749"/>
          <p:cNvGrpSpPr/>
          <p:nvPr/>
        </p:nvGrpSpPr>
        <p:grpSpPr>
          <a:xfrm>
            <a:off x="1412464" y="3611849"/>
            <a:ext cx="199658" cy="517374"/>
            <a:chOff x="845335" y="3446744"/>
            <a:chExt cx="400600" cy="1038075"/>
          </a:xfrm>
        </p:grpSpPr>
        <p:cxnSp>
          <p:nvCxnSpPr>
            <p:cNvPr id="7751" name="Straight Connector 7750"/>
            <p:cNvCxnSpPr/>
            <p:nvPr/>
          </p:nvCxnSpPr>
          <p:spPr>
            <a:xfrm flipH="1">
              <a:off x="1045635" y="3847344"/>
              <a:ext cx="0" cy="583384"/>
            </a:xfrm>
            <a:prstGeom prst="line">
              <a:avLst/>
            </a:prstGeom>
            <a:ln w="41275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752" name="Oval 7751"/>
            <p:cNvSpPr/>
            <p:nvPr/>
          </p:nvSpPr>
          <p:spPr>
            <a:xfrm>
              <a:off x="845335" y="3446744"/>
              <a:ext cx="400600" cy="400600"/>
            </a:xfrm>
            <a:prstGeom prst="ellipse">
              <a:avLst/>
            </a:prstGeom>
            <a:solidFill>
              <a:srgbClr val="E65A6D"/>
            </a:solidFill>
            <a:ln w="41275" cmpd="dbl">
              <a:solidFill>
                <a:srgbClr val="E65A6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200" b="1" dirty="0" smtClean="0">
                  <a:solidFill>
                    <a:schemeClr val="bg2"/>
                  </a:solidFill>
                </a:rPr>
                <a:t>4</a:t>
              </a:r>
            </a:p>
          </p:txBody>
        </p:sp>
        <p:sp>
          <p:nvSpPr>
            <p:cNvPr id="7753" name="Isosceles Triangle 7752"/>
            <p:cNvSpPr/>
            <p:nvPr/>
          </p:nvSpPr>
          <p:spPr>
            <a:xfrm>
              <a:off x="965031" y="4385250"/>
              <a:ext cx="170220" cy="99569"/>
            </a:xfrm>
            <a:prstGeom prst="triangle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200" dirty="0" err="1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7754" name="Group 7753"/>
          <p:cNvGrpSpPr/>
          <p:nvPr/>
        </p:nvGrpSpPr>
        <p:grpSpPr>
          <a:xfrm>
            <a:off x="3402804" y="2712281"/>
            <a:ext cx="199658" cy="517374"/>
            <a:chOff x="845335" y="3446744"/>
            <a:chExt cx="400600" cy="1038075"/>
          </a:xfrm>
        </p:grpSpPr>
        <p:cxnSp>
          <p:nvCxnSpPr>
            <p:cNvPr id="7755" name="Straight Connector 7754"/>
            <p:cNvCxnSpPr/>
            <p:nvPr/>
          </p:nvCxnSpPr>
          <p:spPr>
            <a:xfrm flipH="1">
              <a:off x="1045635" y="3847344"/>
              <a:ext cx="0" cy="583384"/>
            </a:xfrm>
            <a:prstGeom prst="line">
              <a:avLst/>
            </a:prstGeom>
            <a:ln w="41275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756" name="Oval 7755"/>
            <p:cNvSpPr/>
            <p:nvPr/>
          </p:nvSpPr>
          <p:spPr>
            <a:xfrm>
              <a:off x="845335" y="3446744"/>
              <a:ext cx="400600" cy="400600"/>
            </a:xfrm>
            <a:prstGeom prst="ellipse">
              <a:avLst/>
            </a:prstGeom>
            <a:solidFill>
              <a:srgbClr val="E65A6D"/>
            </a:solidFill>
            <a:ln w="41275" cmpd="dbl">
              <a:solidFill>
                <a:srgbClr val="E65A6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200" b="1" dirty="0" smtClean="0">
                  <a:solidFill>
                    <a:schemeClr val="bg2"/>
                  </a:solidFill>
                </a:rPr>
                <a:t>5</a:t>
              </a:r>
            </a:p>
          </p:txBody>
        </p:sp>
        <p:sp>
          <p:nvSpPr>
            <p:cNvPr id="7757" name="Isosceles Triangle 7756"/>
            <p:cNvSpPr/>
            <p:nvPr/>
          </p:nvSpPr>
          <p:spPr>
            <a:xfrm>
              <a:off x="965031" y="4385250"/>
              <a:ext cx="170220" cy="99569"/>
            </a:xfrm>
            <a:prstGeom prst="triangle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200" dirty="0" err="1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7758" name="Group 7757"/>
          <p:cNvGrpSpPr/>
          <p:nvPr/>
        </p:nvGrpSpPr>
        <p:grpSpPr>
          <a:xfrm>
            <a:off x="7648584" y="2212118"/>
            <a:ext cx="199658" cy="517374"/>
            <a:chOff x="845335" y="3446744"/>
            <a:chExt cx="400600" cy="1038075"/>
          </a:xfrm>
        </p:grpSpPr>
        <p:cxnSp>
          <p:nvCxnSpPr>
            <p:cNvPr id="7759" name="Straight Connector 7758"/>
            <p:cNvCxnSpPr/>
            <p:nvPr/>
          </p:nvCxnSpPr>
          <p:spPr>
            <a:xfrm flipH="1">
              <a:off x="1045635" y="3847344"/>
              <a:ext cx="0" cy="583384"/>
            </a:xfrm>
            <a:prstGeom prst="line">
              <a:avLst/>
            </a:prstGeom>
            <a:ln w="41275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760" name="Oval 7759"/>
            <p:cNvSpPr/>
            <p:nvPr/>
          </p:nvSpPr>
          <p:spPr>
            <a:xfrm>
              <a:off x="845335" y="3446744"/>
              <a:ext cx="400600" cy="400600"/>
            </a:xfrm>
            <a:prstGeom prst="ellipse">
              <a:avLst/>
            </a:prstGeom>
            <a:solidFill>
              <a:srgbClr val="E65A6D"/>
            </a:solidFill>
            <a:ln w="41275" cmpd="dbl">
              <a:solidFill>
                <a:srgbClr val="E65A6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200" b="1" dirty="0" smtClean="0">
                  <a:solidFill>
                    <a:schemeClr val="bg2"/>
                  </a:solidFill>
                </a:rPr>
                <a:t>6</a:t>
              </a:r>
            </a:p>
          </p:txBody>
        </p:sp>
        <p:sp>
          <p:nvSpPr>
            <p:cNvPr id="7761" name="Isosceles Triangle 7760"/>
            <p:cNvSpPr/>
            <p:nvPr/>
          </p:nvSpPr>
          <p:spPr>
            <a:xfrm>
              <a:off x="965031" y="4385250"/>
              <a:ext cx="170220" cy="99569"/>
            </a:xfrm>
            <a:prstGeom prst="triangle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200" dirty="0" err="1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7766" name="Group 7765"/>
          <p:cNvGrpSpPr/>
          <p:nvPr/>
        </p:nvGrpSpPr>
        <p:grpSpPr>
          <a:xfrm>
            <a:off x="7207089" y="3839461"/>
            <a:ext cx="199658" cy="517374"/>
            <a:chOff x="845335" y="3446744"/>
            <a:chExt cx="400600" cy="1038075"/>
          </a:xfrm>
        </p:grpSpPr>
        <p:cxnSp>
          <p:nvCxnSpPr>
            <p:cNvPr id="7767" name="Straight Connector 7766"/>
            <p:cNvCxnSpPr/>
            <p:nvPr/>
          </p:nvCxnSpPr>
          <p:spPr>
            <a:xfrm flipH="1">
              <a:off x="1045635" y="3847344"/>
              <a:ext cx="0" cy="583384"/>
            </a:xfrm>
            <a:prstGeom prst="line">
              <a:avLst/>
            </a:prstGeom>
            <a:ln w="41275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768" name="Oval 7767"/>
            <p:cNvSpPr/>
            <p:nvPr/>
          </p:nvSpPr>
          <p:spPr>
            <a:xfrm>
              <a:off x="845335" y="3446744"/>
              <a:ext cx="400600" cy="400600"/>
            </a:xfrm>
            <a:prstGeom prst="ellipse">
              <a:avLst/>
            </a:prstGeom>
            <a:solidFill>
              <a:srgbClr val="E65A6D"/>
            </a:solidFill>
            <a:ln w="41275" cmpd="dbl">
              <a:solidFill>
                <a:srgbClr val="E65A6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200" b="1" dirty="0" smtClean="0">
                  <a:solidFill>
                    <a:schemeClr val="bg2"/>
                  </a:solidFill>
                </a:rPr>
                <a:t>8</a:t>
              </a:r>
            </a:p>
          </p:txBody>
        </p:sp>
        <p:sp>
          <p:nvSpPr>
            <p:cNvPr id="7769" name="Isosceles Triangle 7768"/>
            <p:cNvSpPr/>
            <p:nvPr/>
          </p:nvSpPr>
          <p:spPr>
            <a:xfrm>
              <a:off x="965031" y="4385250"/>
              <a:ext cx="170220" cy="99569"/>
            </a:xfrm>
            <a:prstGeom prst="triangle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200" dirty="0" err="1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7770" name="Group 7769"/>
          <p:cNvGrpSpPr/>
          <p:nvPr/>
        </p:nvGrpSpPr>
        <p:grpSpPr>
          <a:xfrm>
            <a:off x="7820405" y="4141252"/>
            <a:ext cx="199658" cy="517374"/>
            <a:chOff x="845335" y="3446744"/>
            <a:chExt cx="400600" cy="1038075"/>
          </a:xfrm>
        </p:grpSpPr>
        <p:cxnSp>
          <p:nvCxnSpPr>
            <p:cNvPr id="7771" name="Straight Connector 7770"/>
            <p:cNvCxnSpPr/>
            <p:nvPr/>
          </p:nvCxnSpPr>
          <p:spPr>
            <a:xfrm flipH="1">
              <a:off x="1045635" y="3847344"/>
              <a:ext cx="0" cy="583384"/>
            </a:xfrm>
            <a:prstGeom prst="line">
              <a:avLst/>
            </a:prstGeom>
            <a:ln w="41275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772" name="Oval 7771"/>
            <p:cNvSpPr/>
            <p:nvPr/>
          </p:nvSpPr>
          <p:spPr>
            <a:xfrm>
              <a:off x="845335" y="3446744"/>
              <a:ext cx="400600" cy="400600"/>
            </a:xfrm>
            <a:prstGeom prst="ellipse">
              <a:avLst/>
            </a:prstGeom>
            <a:solidFill>
              <a:srgbClr val="E65A6D"/>
            </a:solidFill>
            <a:ln w="41275" cmpd="dbl">
              <a:solidFill>
                <a:srgbClr val="E65A6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200" b="1" dirty="0" smtClean="0">
                  <a:solidFill>
                    <a:schemeClr val="bg2"/>
                  </a:solidFill>
                </a:rPr>
                <a:t>9</a:t>
              </a:r>
            </a:p>
          </p:txBody>
        </p:sp>
        <p:sp>
          <p:nvSpPr>
            <p:cNvPr id="7773" name="Isosceles Triangle 7772"/>
            <p:cNvSpPr/>
            <p:nvPr/>
          </p:nvSpPr>
          <p:spPr>
            <a:xfrm>
              <a:off x="965031" y="4385250"/>
              <a:ext cx="170220" cy="99569"/>
            </a:xfrm>
            <a:prstGeom prst="triangle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200" dirty="0" err="1" smtClean="0">
                <a:solidFill>
                  <a:schemeClr val="tx1"/>
                </a:solidFill>
              </a:endParaRPr>
            </a:p>
          </p:txBody>
        </p:sp>
      </p:grpSp>
      <p:sp>
        <p:nvSpPr>
          <p:cNvPr id="7774" name="Arc 7773"/>
          <p:cNvSpPr/>
          <p:nvPr/>
        </p:nvSpPr>
        <p:spPr>
          <a:xfrm>
            <a:off x="2306069" y="5140736"/>
            <a:ext cx="673569" cy="614298"/>
          </a:xfrm>
          <a:prstGeom prst="arc">
            <a:avLst>
              <a:gd name="adj1" fmla="val 17080664"/>
              <a:gd name="adj2" fmla="val 20868259"/>
            </a:avLst>
          </a:prstGeom>
          <a:ln w="15875" cap="sq">
            <a:solidFill>
              <a:srgbClr val="E65A6D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775" name="Arc 7774"/>
          <p:cNvSpPr/>
          <p:nvPr/>
        </p:nvSpPr>
        <p:spPr>
          <a:xfrm>
            <a:off x="2317952" y="5346555"/>
            <a:ext cx="673569" cy="614298"/>
          </a:xfrm>
          <a:prstGeom prst="arc">
            <a:avLst>
              <a:gd name="adj1" fmla="val 287184"/>
              <a:gd name="adj2" fmla="val 3570819"/>
            </a:avLst>
          </a:prstGeom>
          <a:ln w="15875" cap="sq">
            <a:solidFill>
              <a:srgbClr val="E65A6D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776" name="Arc 7775"/>
          <p:cNvSpPr/>
          <p:nvPr/>
        </p:nvSpPr>
        <p:spPr>
          <a:xfrm>
            <a:off x="2571069" y="5776129"/>
            <a:ext cx="673569" cy="614298"/>
          </a:xfrm>
          <a:prstGeom prst="arc">
            <a:avLst>
              <a:gd name="adj1" fmla="val 6801523"/>
              <a:gd name="adj2" fmla="val 10170346"/>
            </a:avLst>
          </a:prstGeom>
          <a:ln w="15875" cap="sq">
            <a:solidFill>
              <a:srgbClr val="E65A6D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777" name="Arc 7776"/>
          <p:cNvSpPr/>
          <p:nvPr/>
        </p:nvSpPr>
        <p:spPr>
          <a:xfrm>
            <a:off x="4255274" y="5785571"/>
            <a:ext cx="673569" cy="614298"/>
          </a:xfrm>
          <a:prstGeom prst="arc">
            <a:avLst>
              <a:gd name="adj1" fmla="val 849319"/>
              <a:gd name="adj2" fmla="val 4837785"/>
            </a:avLst>
          </a:prstGeom>
          <a:ln w="15875" cap="sq">
            <a:solidFill>
              <a:srgbClr val="E65A6D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7779" name="Straight Arrow Connector 7778"/>
          <p:cNvCxnSpPr/>
          <p:nvPr/>
        </p:nvCxnSpPr>
        <p:spPr>
          <a:xfrm>
            <a:off x="4919157" y="3895371"/>
            <a:ext cx="0" cy="1779236"/>
          </a:xfrm>
          <a:prstGeom prst="straightConnector1">
            <a:avLst/>
          </a:prstGeom>
          <a:ln w="15875" cap="sq">
            <a:solidFill>
              <a:srgbClr val="E65A6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80" name="Straight Arrow Connector 7779"/>
          <p:cNvCxnSpPr/>
          <p:nvPr/>
        </p:nvCxnSpPr>
        <p:spPr>
          <a:xfrm flipH="1">
            <a:off x="5415210" y="3534288"/>
            <a:ext cx="1783558" cy="0"/>
          </a:xfrm>
          <a:prstGeom prst="straightConnector1">
            <a:avLst/>
          </a:prstGeom>
          <a:ln w="15875" cap="sq">
            <a:solidFill>
              <a:srgbClr val="E65A6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784" name="Group 7783"/>
          <p:cNvGrpSpPr/>
          <p:nvPr/>
        </p:nvGrpSpPr>
        <p:grpSpPr>
          <a:xfrm>
            <a:off x="954650" y="6068647"/>
            <a:ext cx="199658" cy="517374"/>
            <a:chOff x="845335" y="3446744"/>
            <a:chExt cx="400600" cy="1038075"/>
          </a:xfrm>
        </p:grpSpPr>
        <p:cxnSp>
          <p:nvCxnSpPr>
            <p:cNvPr id="7785" name="Straight Connector 7784"/>
            <p:cNvCxnSpPr/>
            <p:nvPr/>
          </p:nvCxnSpPr>
          <p:spPr>
            <a:xfrm flipH="1">
              <a:off x="1045635" y="3847344"/>
              <a:ext cx="0" cy="583384"/>
            </a:xfrm>
            <a:prstGeom prst="line">
              <a:avLst/>
            </a:prstGeom>
            <a:ln w="41275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786" name="Oval 7785"/>
            <p:cNvSpPr/>
            <p:nvPr/>
          </p:nvSpPr>
          <p:spPr>
            <a:xfrm>
              <a:off x="845335" y="3446744"/>
              <a:ext cx="400600" cy="400600"/>
            </a:xfrm>
            <a:prstGeom prst="ellipse">
              <a:avLst/>
            </a:prstGeom>
            <a:solidFill>
              <a:srgbClr val="E65A6D"/>
            </a:solidFill>
            <a:ln w="41275" cmpd="dbl">
              <a:solidFill>
                <a:srgbClr val="E65A6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200" b="1" dirty="0" smtClean="0">
                  <a:solidFill>
                    <a:schemeClr val="bg2"/>
                  </a:solidFill>
                </a:rPr>
                <a:t>–</a:t>
              </a:r>
            </a:p>
          </p:txBody>
        </p:sp>
        <p:sp>
          <p:nvSpPr>
            <p:cNvPr id="7787" name="Isosceles Triangle 7786"/>
            <p:cNvSpPr/>
            <p:nvPr/>
          </p:nvSpPr>
          <p:spPr>
            <a:xfrm>
              <a:off x="965031" y="4385250"/>
              <a:ext cx="170220" cy="99569"/>
            </a:xfrm>
            <a:prstGeom prst="triangle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200" dirty="0" err="1" smtClean="0">
                <a:solidFill>
                  <a:schemeClr val="tx1"/>
                </a:solidFill>
              </a:endParaRPr>
            </a:p>
          </p:txBody>
        </p:sp>
      </p:grpSp>
      <p:sp>
        <p:nvSpPr>
          <p:cNvPr id="7789" name="Freeform 7788"/>
          <p:cNvSpPr/>
          <p:nvPr/>
        </p:nvSpPr>
        <p:spPr>
          <a:xfrm rot="153885">
            <a:off x="5113216" y="2358905"/>
            <a:ext cx="2110029" cy="734609"/>
          </a:xfrm>
          <a:custGeom>
            <a:avLst/>
            <a:gdLst>
              <a:gd name="connsiteX0" fmla="*/ 0 w 1181100"/>
              <a:gd name="connsiteY0" fmla="*/ 354471 h 500998"/>
              <a:gd name="connsiteX1" fmla="*/ 523875 w 1181100"/>
              <a:gd name="connsiteY1" fmla="*/ 2046 h 500998"/>
              <a:gd name="connsiteX2" fmla="*/ 523875 w 1181100"/>
              <a:gd name="connsiteY2" fmla="*/ 497346 h 500998"/>
              <a:gd name="connsiteX3" fmla="*/ 1181100 w 1181100"/>
              <a:gd name="connsiteY3" fmla="*/ 240171 h 500998"/>
              <a:gd name="connsiteX4" fmla="*/ 1181100 w 1181100"/>
              <a:gd name="connsiteY4" fmla="*/ 240171 h 500998"/>
              <a:gd name="connsiteX0" fmla="*/ 0 w 1168873"/>
              <a:gd name="connsiteY0" fmla="*/ 395288 h 499849"/>
              <a:gd name="connsiteX1" fmla="*/ 511648 w 1168873"/>
              <a:gd name="connsiteY1" fmla="*/ 897 h 499849"/>
              <a:gd name="connsiteX2" fmla="*/ 511648 w 1168873"/>
              <a:gd name="connsiteY2" fmla="*/ 496197 h 499849"/>
              <a:gd name="connsiteX3" fmla="*/ 1168873 w 1168873"/>
              <a:gd name="connsiteY3" fmla="*/ 239022 h 499849"/>
              <a:gd name="connsiteX4" fmla="*/ 1168873 w 1168873"/>
              <a:gd name="connsiteY4" fmla="*/ 239022 h 499849"/>
              <a:gd name="connsiteX0" fmla="*/ 0 w 1168873"/>
              <a:gd name="connsiteY0" fmla="*/ 332479 h 435473"/>
              <a:gd name="connsiteX1" fmla="*/ 496603 w 1168873"/>
              <a:gd name="connsiteY1" fmla="*/ 1217 h 435473"/>
              <a:gd name="connsiteX2" fmla="*/ 511648 w 1168873"/>
              <a:gd name="connsiteY2" fmla="*/ 433388 h 435473"/>
              <a:gd name="connsiteX3" fmla="*/ 1168873 w 1168873"/>
              <a:gd name="connsiteY3" fmla="*/ 176213 h 435473"/>
              <a:gd name="connsiteX4" fmla="*/ 1168873 w 1168873"/>
              <a:gd name="connsiteY4" fmla="*/ 176213 h 435473"/>
              <a:gd name="connsiteX0" fmla="*/ 0 w 1168873"/>
              <a:gd name="connsiteY0" fmla="*/ 332443 h 434146"/>
              <a:gd name="connsiteX1" fmla="*/ 496603 w 1168873"/>
              <a:gd name="connsiteY1" fmla="*/ 1181 h 434146"/>
              <a:gd name="connsiteX2" fmla="*/ 595079 w 1168873"/>
              <a:gd name="connsiteY2" fmla="*/ 431716 h 434146"/>
              <a:gd name="connsiteX3" fmla="*/ 1168873 w 1168873"/>
              <a:gd name="connsiteY3" fmla="*/ 176177 h 434146"/>
              <a:gd name="connsiteX4" fmla="*/ 1168873 w 1168873"/>
              <a:gd name="connsiteY4" fmla="*/ 176177 h 434146"/>
              <a:gd name="connsiteX0" fmla="*/ 0 w 1206016"/>
              <a:gd name="connsiteY0" fmla="*/ 332443 h 434143"/>
              <a:gd name="connsiteX1" fmla="*/ 496603 w 1206016"/>
              <a:gd name="connsiteY1" fmla="*/ 1181 h 434143"/>
              <a:gd name="connsiteX2" fmla="*/ 595079 w 1206016"/>
              <a:gd name="connsiteY2" fmla="*/ 431716 h 434143"/>
              <a:gd name="connsiteX3" fmla="*/ 1168873 w 1206016"/>
              <a:gd name="connsiteY3" fmla="*/ 176177 h 434143"/>
              <a:gd name="connsiteX4" fmla="*/ 1146658 w 1206016"/>
              <a:gd name="connsiteY4" fmla="*/ 177881 h 434143"/>
              <a:gd name="connsiteX0" fmla="*/ 0 w 1146658"/>
              <a:gd name="connsiteY0" fmla="*/ 332443 h 434305"/>
              <a:gd name="connsiteX1" fmla="*/ 496603 w 1146658"/>
              <a:gd name="connsiteY1" fmla="*/ 1181 h 434305"/>
              <a:gd name="connsiteX2" fmla="*/ 595079 w 1146658"/>
              <a:gd name="connsiteY2" fmla="*/ 431716 h 434305"/>
              <a:gd name="connsiteX3" fmla="*/ 1146658 w 1146658"/>
              <a:gd name="connsiteY3" fmla="*/ 177881 h 434305"/>
              <a:gd name="connsiteX0" fmla="*/ 0 w 1174427"/>
              <a:gd name="connsiteY0" fmla="*/ 332443 h 434227"/>
              <a:gd name="connsiteX1" fmla="*/ 496603 w 1174427"/>
              <a:gd name="connsiteY1" fmla="*/ 1181 h 434227"/>
              <a:gd name="connsiteX2" fmla="*/ 595079 w 1174427"/>
              <a:gd name="connsiteY2" fmla="*/ 431716 h 434227"/>
              <a:gd name="connsiteX3" fmla="*/ 1174427 w 1174427"/>
              <a:gd name="connsiteY3" fmla="*/ 175750 h 434227"/>
              <a:gd name="connsiteX0" fmla="*/ 0 w 1144628"/>
              <a:gd name="connsiteY0" fmla="*/ 302675 h 435349"/>
              <a:gd name="connsiteX1" fmla="*/ 466804 w 1144628"/>
              <a:gd name="connsiteY1" fmla="*/ 2303 h 435349"/>
              <a:gd name="connsiteX2" fmla="*/ 565280 w 1144628"/>
              <a:gd name="connsiteY2" fmla="*/ 432838 h 435349"/>
              <a:gd name="connsiteX3" fmla="*/ 1144628 w 1144628"/>
              <a:gd name="connsiteY3" fmla="*/ 176872 h 435349"/>
              <a:gd name="connsiteX0" fmla="*/ 0 w 1072802"/>
              <a:gd name="connsiteY0" fmla="*/ 283899 h 436386"/>
              <a:gd name="connsiteX1" fmla="*/ 394978 w 1072802"/>
              <a:gd name="connsiteY1" fmla="*/ 3340 h 436386"/>
              <a:gd name="connsiteX2" fmla="*/ 493454 w 1072802"/>
              <a:gd name="connsiteY2" fmla="*/ 433875 h 436386"/>
              <a:gd name="connsiteX3" fmla="*/ 1072802 w 1072802"/>
              <a:gd name="connsiteY3" fmla="*/ 177909 h 436386"/>
              <a:gd name="connsiteX0" fmla="*/ 0 w 1073300"/>
              <a:gd name="connsiteY0" fmla="*/ 266171 h 437689"/>
              <a:gd name="connsiteX1" fmla="*/ 395476 w 1073300"/>
              <a:gd name="connsiteY1" fmla="*/ 4643 h 437689"/>
              <a:gd name="connsiteX2" fmla="*/ 493952 w 1073300"/>
              <a:gd name="connsiteY2" fmla="*/ 435178 h 437689"/>
              <a:gd name="connsiteX3" fmla="*/ 1073300 w 1073300"/>
              <a:gd name="connsiteY3" fmla="*/ 179212 h 437689"/>
              <a:gd name="connsiteX0" fmla="*/ 0 w 1128340"/>
              <a:gd name="connsiteY0" fmla="*/ 287914 h 436139"/>
              <a:gd name="connsiteX1" fmla="*/ 450516 w 1128340"/>
              <a:gd name="connsiteY1" fmla="*/ 3093 h 436139"/>
              <a:gd name="connsiteX2" fmla="*/ 548992 w 1128340"/>
              <a:gd name="connsiteY2" fmla="*/ 433628 h 436139"/>
              <a:gd name="connsiteX3" fmla="*/ 1128340 w 1128340"/>
              <a:gd name="connsiteY3" fmla="*/ 177662 h 436139"/>
              <a:gd name="connsiteX0" fmla="*/ 0 w 1201824"/>
              <a:gd name="connsiteY0" fmla="*/ 348442 h 433820"/>
              <a:gd name="connsiteX1" fmla="*/ 524000 w 1201824"/>
              <a:gd name="connsiteY1" fmla="*/ 774 h 433820"/>
              <a:gd name="connsiteX2" fmla="*/ 622476 w 1201824"/>
              <a:gd name="connsiteY2" fmla="*/ 431309 h 433820"/>
              <a:gd name="connsiteX3" fmla="*/ 1201824 w 1201824"/>
              <a:gd name="connsiteY3" fmla="*/ 175343 h 433820"/>
              <a:gd name="connsiteX0" fmla="*/ 1248 w 1203072"/>
              <a:gd name="connsiteY0" fmla="*/ 349038 h 434416"/>
              <a:gd name="connsiteX1" fmla="*/ 57892 w 1203072"/>
              <a:gd name="connsiteY1" fmla="*/ 297146 h 434416"/>
              <a:gd name="connsiteX2" fmla="*/ 525248 w 1203072"/>
              <a:gd name="connsiteY2" fmla="*/ 1370 h 434416"/>
              <a:gd name="connsiteX3" fmla="*/ 623724 w 1203072"/>
              <a:gd name="connsiteY3" fmla="*/ 431905 h 434416"/>
              <a:gd name="connsiteX4" fmla="*/ 1203072 w 1203072"/>
              <a:gd name="connsiteY4" fmla="*/ 175939 h 434416"/>
              <a:gd name="connsiteX0" fmla="*/ 0 w 1255164"/>
              <a:gd name="connsiteY0" fmla="*/ 543823 h 543823"/>
              <a:gd name="connsiteX1" fmla="*/ 109984 w 1255164"/>
              <a:gd name="connsiteY1" fmla="*/ 297146 h 543823"/>
              <a:gd name="connsiteX2" fmla="*/ 577340 w 1255164"/>
              <a:gd name="connsiteY2" fmla="*/ 1370 h 543823"/>
              <a:gd name="connsiteX3" fmla="*/ 675816 w 1255164"/>
              <a:gd name="connsiteY3" fmla="*/ 431905 h 543823"/>
              <a:gd name="connsiteX4" fmla="*/ 1255164 w 1255164"/>
              <a:gd name="connsiteY4" fmla="*/ 175939 h 543823"/>
              <a:gd name="connsiteX0" fmla="*/ 0 w 1290144"/>
              <a:gd name="connsiteY0" fmla="*/ 589414 h 589414"/>
              <a:gd name="connsiteX1" fmla="*/ 144964 w 1290144"/>
              <a:gd name="connsiteY1" fmla="*/ 297146 h 589414"/>
              <a:gd name="connsiteX2" fmla="*/ 612320 w 1290144"/>
              <a:gd name="connsiteY2" fmla="*/ 1370 h 589414"/>
              <a:gd name="connsiteX3" fmla="*/ 710796 w 1290144"/>
              <a:gd name="connsiteY3" fmla="*/ 431905 h 589414"/>
              <a:gd name="connsiteX4" fmla="*/ 1290144 w 1290144"/>
              <a:gd name="connsiteY4" fmla="*/ 175939 h 589414"/>
              <a:gd name="connsiteX0" fmla="*/ 0 w 1290144"/>
              <a:gd name="connsiteY0" fmla="*/ 589414 h 589414"/>
              <a:gd name="connsiteX1" fmla="*/ 144964 w 1290144"/>
              <a:gd name="connsiteY1" fmla="*/ 297146 h 589414"/>
              <a:gd name="connsiteX2" fmla="*/ 612320 w 1290144"/>
              <a:gd name="connsiteY2" fmla="*/ 1370 h 589414"/>
              <a:gd name="connsiteX3" fmla="*/ 710796 w 1290144"/>
              <a:gd name="connsiteY3" fmla="*/ 431905 h 589414"/>
              <a:gd name="connsiteX4" fmla="*/ 1290144 w 1290144"/>
              <a:gd name="connsiteY4" fmla="*/ 175939 h 589414"/>
              <a:gd name="connsiteX0" fmla="*/ 0 w 1351111"/>
              <a:gd name="connsiteY0" fmla="*/ 598861 h 598861"/>
              <a:gd name="connsiteX1" fmla="*/ 205931 w 1351111"/>
              <a:gd name="connsiteY1" fmla="*/ 297146 h 598861"/>
              <a:gd name="connsiteX2" fmla="*/ 673287 w 1351111"/>
              <a:gd name="connsiteY2" fmla="*/ 1370 h 598861"/>
              <a:gd name="connsiteX3" fmla="*/ 771763 w 1351111"/>
              <a:gd name="connsiteY3" fmla="*/ 431905 h 598861"/>
              <a:gd name="connsiteX4" fmla="*/ 1351111 w 1351111"/>
              <a:gd name="connsiteY4" fmla="*/ 175939 h 598861"/>
              <a:gd name="connsiteX0" fmla="*/ 0 w 1291966"/>
              <a:gd name="connsiteY0" fmla="*/ 732572 h 732572"/>
              <a:gd name="connsiteX1" fmla="*/ 146786 w 1291966"/>
              <a:gd name="connsiteY1" fmla="*/ 297146 h 732572"/>
              <a:gd name="connsiteX2" fmla="*/ 614142 w 1291966"/>
              <a:gd name="connsiteY2" fmla="*/ 1370 h 732572"/>
              <a:gd name="connsiteX3" fmla="*/ 712618 w 1291966"/>
              <a:gd name="connsiteY3" fmla="*/ 431905 h 732572"/>
              <a:gd name="connsiteX4" fmla="*/ 1291966 w 1291966"/>
              <a:gd name="connsiteY4" fmla="*/ 175939 h 732572"/>
              <a:gd name="connsiteX0" fmla="*/ 0 w 1291966"/>
              <a:gd name="connsiteY0" fmla="*/ 734254 h 734254"/>
              <a:gd name="connsiteX1" fmla="*/ 145418 w 1291966"/>
              <a:gd name="connsiteY1" fmla="*/ 246493 h 734254"/>
              <a:gd name="connsiteX2" fmla="*/ 614142 w 1291966"/>
              <a:gd name="connsiteY2" fmla="*/ 3052 h 734254"/>
              <a:gd name="connsiteX3" fmla="*/ 712618 w 1291966"/>
              <a:gd name="connsiteY3" fmla="*/ 433587 h 734254"/>
              <a:gd name="connsiteX4" fmla="*/ 1291966 w 1291966"/>
              <a:gd name="connsiteY4" fmla="*/ 177621 h 734254"/>
              <a:gd name="connsiteX0" fmla="*/ 0 w 1291966"/>
              <a:gd name="connsiteY0" fmla="*/ 734254 h 734254"/>
              <a:gd name="connsiteX1" fmla="*/ 145418 w 1291966"/>
              <a:gd name="connsiteY1" fmla="*/ 246493 h 734254"/>
              <a:gd name="connsiteX2" fmla="*/ 614142 w 1291966"/>
              <a:gd name="connsiteY2" fmla="*/ 3052 h 734254"/>
              <a:gd name="connsiteX3" fmla="*/ 712618 w 1291966"/>
              <a:gd name="connsiteY3" fmla="*/ 433587 h 734254"/>
              <a:gd name="connsiteX4" fmla="*/ 1291966 w 1291966"/>
              <a:gd name="connsiteY4" fmla="*/ 177621 h 734254"/>
              <a:gd name="connsiteX0" fmla="*/ 0 w 1270871"/>
              <a:gd name="connsiteY0" fmla="*/ 689729 h 689729"/>
              <a:gd name="connsiteX1" fmla="*/ 124323 w 1270871"/>
              <a:gd name="connsiteY1" fmla="*/ 246493 h 689729"/>
              <a:gd name="connsiteX2" fmla="*/ 593047 w 1270871"/>
              <a:gd name="connsiteY2" fmla="*/ 3052 h 689729"/>
              <a:gd name="connsiteX3" fmla="*/ 691523 w 1270871"/>
              <a:gd name="connsiteY3" fmla="*/ 433587 h 689729"/>
              <a:gd name="connsiteX4" fmla="*/ 1270871 w 1270871"/>
              <a:gd name="connsiteY4" fmla="*/ 177621 h 689729"/>
              <a:gd name="connsiteX0" fmla="*/ 0 w 1270871"/>
              <a:gd name="connsiteY0" fmla="*/ 689729 h 689729"/>
              <a:gd name="connsiteX1" fmla="*/ 124323 w 1270871"/>
              <a:gd name="connsiteY1" fmla="*/ 246493 h 689729"/>
              <a:gd name="connsiteX2" fmla="*/ 593047 w 1270871"/>
              <a:gd name="connsiteY2" fmla="*/ 3052 h 689729"/>
              <a:gd name="connsiteX3" fmla="*/ 691523 w 1270871"/>
              <a:gd name="connsiteY3" fmla="*/ 433587 h 689729"/>
              <a:gd name="connsiteX4" fmla="*/ 1270871 w 1270871"/>
              <a:gd name="connsiteY4" fmla="*/ 177621 h 689729"/>
              <a:gd name="connsiteX0" fmla="*/ 0 w 1270871"/>
              <a:gd name="connsiteY0" fmla="*/ 690724 h 690724"/>
              <a:gd name="connsiteX1" fmla="*/ 124323 w 1270871"/>
              <a:gd name="connsiteY1" fmla="*/ 247488 h 690724"/>
              <a:gd name="connsiteX2" fmla="*/ 593047 w 1270871"/>
              <a:gd name="connsiteY2" fmla="*/ 4047 h 690724"/>
              <a:gd name="connsiteX3" fmla="*/ 691523 w 1270871"/>
              <a:gd name="connsiteY3" fmla="*/ 434582 h 690724"/>
              <a:gd name="connsiteX4" fmla="*/ 1270871 w 1270871"/>
              <a:gd name="connsiteY4" fmla="*/ 178616 h 690724"/>
              <a:gd name="connsiteX0" fmla="*/ 0 w 1270871"/>
              <a:gd name="connsiteY0" fmla="*/ 690724 h 690724"/>
              <a:gd name="connsiteX1" fmla="*/ 124323 w 1270871"/>
              <a:gd name="connsiteY1" fmla="*/ 247488 h 690724"/>
              <a:gd name="connsiteX2" fmla="*/ 593047 w 1270871"/>
              <a:gd name="connsiteY2" fmla="*/ 4047 h 690724"/>
              <a:gd name="connsiteX3" fmla="*/ 691523 w 1270871"/>
              <a:gd name="connsiteY3" fmla="*/ 434582 h 690724"/>
              <a:gd name="connsiteX4" fmla="*/ 1270871 w 1270871"/>
              <a:gd name="connsiteY4" fmla="*/ 178616 h 690724"/>
              <a:gd name="connsiteX0" fmla="*/ 0 w 1320387"/>
              <a:gd name="connsiteY0" fmla="*/ 690724 h 690724"/>
              <a:gd name="connsiteX1" fmla="*/ 124323 w 1320387"/>
              <a:gd name="connsiteY1" fmla="*/ 247488 h 690724"/>
              <a:gd name="connsiteX2" fmla="*/ 593047 w 1320387"/>
              <a:gd name="connsiteY2" fmla="*/ 4047 h 690724"/>
              <a:gd name="connsiteX3" fmla="*/ 691523 w 1320387"/>
              <a:gd name="connsiteY3" fmla="*/ 434582 h 690724"/>
              <a:gd name="connsiteX4" fmla="*/ 1320387 w 1320387"/>
              <a:gd name="connsiteY4" fmla="*/ 136932 h 690724"/>
              <a:gd name="connsiteX0" fmla="*/ 0 w 1320387"/>
              <a:gd name="connsiteY0" fmla="*/ 690724 h 690724"/>
              <a:gd name="connsiteX1" fmla="*/ 124323 w 1320387"/>
              <a:gd name="connsiteY1" fmla="*/ 247488 h 690724"/>
              <a:gd name="connsiteX2" fmla="*/ 593047 w 1320387"/>
              <a:gd name="connsiteY2" fmla="*/ 4047 h 690724"/>
              <a:gd name="connsiteX3" fmla="*/ 691523 w 1320387"/>
              <a:gd name="connsiteY3" fmla="*/ 434582 h 690724"/>
              <a:gd name="connsiteX4" fmla="*/ 1320387 w 1320387"/>
              <a:gd name="connsiteY4" fmla="*/ 136932 h 690724"/>
              <a:gd name="connsiteX0" fmla="*/ 0 w 1320387"/>
              <a:gd name="connsiteY0" fmla="*/ 690724 h 690724"/>
              <a:gd name="connsiteX1" fmla="*/ 124323 w 1320387"/>
              <a:gd name="connsiteY1" fmla="*/ 247488 h 690724"/>
              <a:gd name="connsiteX2" fmla="*/ 593047 w 1320387"/>
              <a:gd name="connsiteY2" fmla="*/ 4047 h 690724"/>
              <a:gd name="connsiteX3" fmla="*/ 691523 w 1320387"/>
              <a:gd name="connsiteY3" fmla="*/ 434582 h 690724"/>
              <a:gd name="connsiteX4" fmla="*/ 1320387 w 1320387"/>
              <a:gd name="connsiteY4" fmla="*/ 136932 h 690724"/>
              <a:gd name="connsiteX0" fmla="*/ 0 w 1305909"/>
              <a:gd name="connsiteY0" fmla="*/ 690724 h 690724"/>
              <a:gd name="connsiteX1" fmla="*/ 124323 w 1305909"/>
              <a:gd name="connsiteY1" fmla="*/ 247488 h 690724"/>
              <a:gd name="connsiteX2" fmla="*/ 593047 w 1305909"/>
              <a:gd name="connsiteY2" fmla="*/ 4047 h 690724"/>
              <a:gd name="connsiteX3" fmla="*/ 691523 w 1305909"/>
              <a:gd name="connsiteY3" fmla="*/ 434582 h 690724"/>
              <a:gd name="connsiteX4" fmla="*/ 1305909 w 1305909"/>
              <a:gd name="connsiteY4" fmla="*/ 152272 h 690724"/>
              <a:gd name="connsiteX0" fmla="*/ 0 w 1319587"/>
              <a:gd name="connsiteY0" fmla="*/ 734609 h 734609"/>
              <a:gd name="connsiteX1" fmla="*/ 138001 w 1319587"/>
              <a:gd name="connsiteY1" fmla="*/ 247488 h 734609"/>
              <a:gd name="connsiteX2" fmla="*/ 606725 w 1319587"/>
              <a:gd name="connsiteY2" fmla="*/ 4047 h 734609"/>
              <a:gd name="connsiteX3" fmla="*/ 705201 w 1319587"/>
              <a:gd name="connsiteY3" fmla="*/ 434582 h 734609"/>
              <a:gd name="connsiteX4" fmla="*/ 1319587 w 1319587"/>
              <a:gd name="connsiteY4" fmla="*/ 152272 h 734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19587" h="734609">
                <a:moveTo>
                  <a:pt x="0" y="734609"/>
                </a:moveTo>
                <a:cubicBezTo>
                  <a:pt x="65227" y="731214"/>
                  <a:pt x="29447" y="345199"/>
                  <a:pt x="138001" y="247488"/>
                </a:cubicBezTo>
                <a:cubicBezTo>
                  <a:pt x="215386" y="128331"/>
                  <a:pt x="512192" y="-27135"/>
                  <a:pt x="606725" y="4047"/>
                </a:cubicBezTo>
                <a:cubicBezTo>
                  <a:pt x="701258" y="35229"/>
                  <a:pt x="586391" y="409878"/>
                  <a:pt x="705201" y="434582"/>
                </a:cubicBezTo>
                <a:cubicBezTo>
                  <a:pt x="824011" y="459286"/>
                  <a:pt x="1224037" y="151328"/>
                  <a:pt x="1319587" y="152272"/>
                </a:cubicBezTo>
              </a:path>
            </a:pathLst>
          </a:custGeom>
          <a:noFill/>
          <a:ln w="273050">
            <a:solidFill>
              <a:srgbClr val="4C575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794" name="Freeform 7793"/>
          <p:cNvSpPr/>
          <p:nvPr/>
        </p:nvSpPr>
        <p:spPr>
          <a:xfrm rot="153885">
            <a:off x="5113216" y="2358905"/>
            <a:ext cx="2110029" cy="734609"/>
          </a:xfrm>
          <a:custGeom>
            <a:avLst/>
            <a:gdLst>
              <a:gd name="connsiteX0" fmla="*/ 0 w 1181100"/>
              <a:gd name="connsiteY0" fmla="*/ 354471 h 500998"/>
              <a:gd name="connsiteX1" fmla="*/ 523875 w 1181100"/>
              <a:gd name="connsiteY1" fmla="*/ 2046 h 500998"/>
              <a:gd name="connsiteX2" fmla="*/ 523875 w 1181100"/>
              <a:gd name="connsiteY2" fmla="*/ 497346 h 500998"/>
              <a:gd name="connsiteX3" fmla="*/ 1181100 w 1181100"/>
              <a:gd name="connsiteY3" fmla="*/ 240171 h 500998"/>
              <a:gd name="connsiteX4" fmla="*/ 1181100 w 1181100"/>
              <a:gd name="connsiteY4" fmla="*/ 240171 h 500998"/>
              <a:gd name="connsiteX0" fmla="*/ 0 w 1168873"/>
              <a:gd name="connsiteY0" fmla="*/ 395288 h 499849"/>
              <a:gd name="connsiteX1" fmla="*/ 511648 w 1168873"/>
              <a:gd name="connsiteY1" fmla="*/ 897 h 499849"/>
              <a:gd name="connsiteX2" fmla="*/ 511648 w 1168873"/>
              <a:gd name="connsiteY2" fmla="*/ 496197 h 499849"/>
              <a:gd name="connsiteX3" fmla="*/ 1168873 w 1168873"/>
              <a:gd name="connsiteY3" fmla="*/ 239022 h 499849"/>
              <a:gd name="connsiteX4" fmla="*/ 1168873 w 1168873"/>
              <a:gd name="connsiteY4" fmla="*/ 239022 h 499849"/>
              <a:gd name="connsiteX0" fmla="*/ 0 w 1168873"/>
              <a:gd name="connsiteY0" fmla="*/ 332479 h 435473"/>
              <a:gd name="connsiteX1" fmla="*/ 496603 w 1168873"/>
              <a:gd name="connsiteY1" fmla="*/ 1217 h 435473"/>
              <a:gd name="connsiteX2" fmla="*/ 511648 w 1168873"/>
              <a:gd name="connsiteY2" fmla="*/ 433388 h 435473"/>
              <a:gd name="connsiteX3" fmla="*/ 1168873 w 1168873"/>
              <a:gd name="connsiteY3" fmla="*/ 176213 h 435473"/>
              <a:gd name="connsiteX4" fmla="*/ 1168873 w 1168873"/>
              <a:gd name="connsiteY4" fmla="*/ 176213 h 435473"/>
              <a:gd name="connsiteX0" fmla="*/ 0 w 1168873"/>
              <a:gd name="connsiteY0" fmla="*/ 332443 h 434146"/>
              <a:gd name="connsiteX1" fmla="*/ 496603 w 1168873"/>
              <a:gd name="connsiteY1" fmla="*/ 1181 h 434146"/>
              <a:gd name="connsiteX2" fmla="*/ 595079 w 1168873"/>
              <a:gd name="connsiteY2" fmla="*/ 431716 h 434146"/>
              <a:gd name="connsiteX3" fmla="*/ 1168873 w 1168873"/>
              <a:gd name="connsiteY3" fmla="*/ 176177 h 434146"/>
              <a:gd name="connsiteX4" fmla="*/ 1168873 w 1168873"/>
              <a:gd name="connsiteY4" fmla="*/ 176177 h 434146"/>
              <a:gd name="connsiteX0" fmla="*/ 0 w 1206016"/>
              <a:gd name="connsiteY0" fmla="*/ 332443 h 434143"/>
              <a:gd name="connsiteX1" fmla="*/ 496603 w 1206016"/>
              <a:gd name="connsiteY1" fmla="*/ 1181 h 434143"/>
              <a:gd name="connsiteX2" fmla="*/ 595079 w 1206016"/>
              <a:gd name="connsiteY2" fmla="*/ 431716 h 434143"/>
              <a:gd name="connsiteX3" fmla="*/ 1168873 w 1206016"/>
              <a:gd name="connsiteY3" fmla="*/ 176177 h 434143"/>
              <a:gd name="connsiteX4" fmla="*/ 1146658 w 1206016"/>
              <a:gd name="connsiteY4" fmla="*/ 177881 h 434143"/>
              <a:gd name="connsiteX0" fmla="*/ 0 w 1146658"/>
              <a:gd name="connsiteY0" fmla="*/ 332443 h 434305"/>
              <a:gd name="connsiteX1" fmla="*/ 496603 w 1146658"/>
              <a:gd name="connsiteY1" fmla="*/ 1181 h 434305"/>
              <a:gd name="connsiteX2" fmla="*/ 595079 w 1146658"/>
              <a:gd name="connsiteY2" fmla="*/ 431716 h 434305"/>
              <a:gd name="connsiteX3" fmla="*/ 1146658 w 1146658"/>
              <a:gd name="connsiteY3" fmla="*/ 177881 h 434305"/>
              <a:gd name="connsiteX0" fmla="*/ 0 w 1174427"/>
              <a:gd name="connsiteY0" fmla="*/ 332443 h 434227"/>
              <a:gd name="connsiteX1" fmla="*/ 496603 w 1174427"/>
              <a:gd name="connsiteY1" fmla="*/ 1181 h 434227"/>
              <a:gd name="connsiteX2" fmla="*/ 595079 w 1174427"/>
              <a:gd name="connsiteY2" fmla="*/ 431716 h 434227"/>
              <a:gd name="connsiteX3" fmla="*/ 1174427 w 1174427"/>
              <a:gd name="connsiteY3" fmla="*/ 175750 h 434227"/>
              <a:gd name="connsiteX0" fmla="*/ 0 w 1144628"/>
              <a:gd name="connsiteY0" fmla="*/ 302675 h 435349"/>
              <a:gd name="connsiteX1" fmla="*/ 466804 w 1144628"/>
              <a:gd name="connsiteY1" fmla="*/ 2303 h 435349"/>
              <a:gd name="connsiteX2" fmla="*/ 565280 w 1144628"/>
              <a:gd name="connsiteY2" fmla="*/ 432838 h 435349"/>
              <a:gd name="connsiteX3" fmla="*/ 1144628 w 1144628"/>
              <a:gd name="connsiteY3" fmla="*/ 176872 h 435349"/>
              <a:gd name="connsiteX0" fmla="*/ 0 w 1072802"/>
              <a:gd name="connsiteY0" fmla="*/ 283899 h 436386"/>
              <a:gd name="connsiteX1" fmla="*/ 394978 w 1072802"/>
              <a:gd name="connsiteY1" fmla="*/ 3340 h 436386"/>
              <a:gd name="connsiteX2" fmla="*/ 493454 w 1072802"/>
              <a:gd name="connsiteY2" fmla="*/ 433875 h 436386"/>
              <a:gd name="connsiteX3" fmla="*/ 1072802 w 1072802"/>
              <a:gd name="connsiteY3" fmla="*/ 177909 h 436386"/>
              <a:gd name="connsiteX0" fmla="*/ 0 w 1073300"/>
              <a:gd name="connsiteY0" fmla="*/ 266171 h 437689"/>
              <a:gd name="connsiteX1" fmla="*/ 395476 w 1073300"/>
              <a:gd name="connsiteY1" fmla="*/ 4643 h 437689"/>
              <a:gd name="connsiteX2" fmla="*/ 493952 w 1073300"/>
              <a:gd name="connsiteY2" fmla="*/ 435178 h 437689"/>
              <a:gd name="connsiteX3" fmla="*/ 1073300 w 1073300"/>
              <a:gd name="connsiteY3" fmla="*/ 179212 h 437689"/>
              <a:gd name="connsiteX0" fmla="*/ 0 w 1128340"/>
              <a:gd name="connsiteY0" fmla="*/ 287914 h 436139"/>
              <a:gd name="connsiteX1" fmla="*/ 450516 w 1128340"/>
              <a:gd name="connsiteY1" fmla="*/ 3093 h 436139"/>
              <a:gd name="connsiteX2" fmla="*/ 548992 w 1128340"/>
              <a:gd name="connsiteY2" fmla="*/ 433628 h 436139"/>
              <a:gd name="connsiteX3" fmla="*/ 1128340 w 1128340"/>
              <a:gd name="connsiteY3" fmla="*/ 177662 h 436139"/>
              <a:gd name="connsiteX0" fmla="*/ 0 w 1201824"/>
              <a:gd name="connsiteY0" fmla="*/ 348442 h 433820"/>
              <a:gd name="connsiteX1" fmla="*/ 524000 w 1201824"/>
              <a:gd name="connsiteY1" fmla="*/ 774 h 433820"/>
              <a:gd name="connsiteX2" fmla="*/ 622476 w 1201824"/>
              <a:gd name="connsiteY2" fmla="*/ 431309 h 433820"/>
              <a:gd name="connsiteX3" fmla="*/ 1201824 w 1201824"/>
              <a:gd name="connsiteY3" fmla="*/ 175343 h 433820"/>
              <a:gd name="connsiteX0" fmla="*/ 1248 w 1203072"/>
              <a:gd name="connsiteY0" fmla="*/ 349038 h 434416"/>
              <a:gd name="connsiteX1" fmla="*/ 57892 w 1203072"/>
              <a:gd name="connsiteY1" fmla="*/ 297146 h 434416"/>
              <a:gd name="connsiteX2" fmla="*/ 525248 w 1203072"/>
              <a:gd name="connsiteY2" fmla="*/ 1370 h 434416"/>
              <a:gd name="connsiteX3" fmla="*/ 623724 w 1203072"/>
              <a:gd name="connsiteY3" fmla="*/ 431905 h 434416"/>
              <a:gd name="connsiteX4" fmla="*/ 1203072 w 1203072"/>
              <a:gd name="connsiteY4" fmla="*/ 175939 h 434416"/>
              <a:gd name="connsiteX0" fmla="*/ 0 w 1255164"/>
              <a:gd name="connsiteY0" fmla="*/ 543823 h 543823"/>
              <a:gd name="connsiteX1" fmla="*/ 109984 w 1255164"/>
              <a:gd name="connsiteY1" fmla="*/ 297146 h 543823"/>
              <a:gd name="connsiteX2" fmla="*/ 577340 w 1255164"/>
              <a:gd name="connsiteY2" fmla="*/ 1370 h 543823"/>
              <a:gd name="connsiteX3" fmla="*/ 675816 w 1255164"/>
              <a:gd name="connsiteY3" fmla="*/ 431905 h 543823"/>
              <a:gd name="connsiteX4" fmla="*/ 1255164 w 1255164"/>
              <a:gd name="connsiteY4" fmla="*/ 175939 h 543823"/>
              <a:gd name="connsiteX0" fmla="*/ 0 w 1290144"/>
              <a:gd name="connsiteY0" fmla="*/ 589414 h 589414"/>
              <a:gd name="connsiteX1" fmla="*/ 144964 w 1290144"/>
              <a:gd name="connsiteY1" fmla="*/ 297146 h 589414"/>
              <a:gd name="connsiteX2" fmla="*/ 612320 w 1290144"/>
              <a:gd name="connsiteY2" fmla="*/ 1370 h 589414"/>
              <a:gd name="connsiteX3" fmla="*/ 710796 w 1290144"/>
              <a:gd name="connsiteY3" fmla="*/ 431905 h 589414"/>
              <a:gd name="connsiteX4" fmla="*/ 1290144 w 1290144"/>
              <a:gd name="connsiteY4" fmla="*/ 175939 h 589414"/>
              <a:gd name="connsiteX0" fmla="*/ 0 w 1290144"/>
              <a:gd name="connsiteY0" fmla="*/ 589414 h 589414"/>
              <a:gd name="connsiteX1" fmla="*/ 144964 w 1290144"/>
              <a:gd name="connsiteY1" fmla="*/ 297146 h 589414"/>
              <a:gd name="connsiteX2" fmla="*/ 612320 w 1290144"/>
              <a:gd name="connsiteY2" fmla="*/ 1370 h 589414"/>
              <a:gd name="connsiteX3" fmla="*/ 710796 w 1290144"/>
              <a:gd name="connsiteY3" fmla="*/ 431905 h 589414"/>
              <a:gd name="connsiteX4" fmla="*/ 1290144 w 1290144"/>
              <a:gd name="connsiteY4" fmla="*/ 175939 h 589414"/>
              <a:gd name="connsiteX0" fmla="*/ 0 w 1351111"/>
              <a:gd name="connsiteY0" fmla="*/ 598861 h 598861"/>
              <a:gd name="connsiteX1" fmla="*/ 205931 w 1351111"/>
              <a:gd name="connsiteY1" fmla="*/ 297146 h 598861"/>
              <a:gd name="connsiteX2" fmla="*/ 673287 w 1351111"/>
              <a:gd name="connsiteY2" fmla="*/ 1370 h 598861"/>
              <a:gd name="connsiteX3" fmla="*/ 771763 w 1351111"/>
              <a:gd name="connsiteY3" fmla="*/ 431905 h 598861"/>
              <a:gd name="connsiteX4" fmla="*/ 1351111 w 1351111"/>
              <a:gd name="connsiteY4" fmla="*/ 175939 h 598861"/>
              <a:gd name="connsiteX0" fmla="*/ 0 w 1291966"/>
              <a:gd name="connsiteY0" fmla="*/ 732572 h 732572"/>
              <a:gd name="connsiteX1" fmla="*/ 146786 w 1291966"/>
              <a:gd name="connsiteY1" fmla="*/ 297146 h 732572"/>
              <a:gd name="connsiteX2" fmla="*/ 614142 w 1291966"/>
              <a:gd name="connsiteY2" fmla="*/ 1370 h 732572"/>
              <a:gd name="connsiteX3" fmla="*/ 712618 w 1291966"/>
              <a:gd name="connsiteY3" fmla="*/ 431905 h 732572"/>
              <a:gd name="connsiteX4" fmla="*/ 1291966 w 1291966"/>
              <a:gd name="connsiteY4" fmla="*/ 175939 h 732572"/>
              <a:gd name="connsiteX0" fmla="*/ 0 w 1291966"/>
              <a:gd name="connsiteY0" fmla="*/ 734254 h 734254"/>
              <a:gd name="connsiteX1" fmla="*/ 145418 w 1291966"/>
              <a:gd name="connsiteY1" fmla="*/ 246493 h 734254"/>
              <a:gd name="connsiteX2" fmla="*/ 614142 w 1291966"/>
              <a:gd name="connsiteY2" fmla="*/ 3052 h 734254"/>
              <a:gd name="connsiteX3" fmla="*/ 712618 w 1291966"/>
              <a:gd name="connsiteY3" fmla="*/ 433587 h 734254"/>
              <a:gd name="connsiteX4" fmla="*/ 1291966 w 1291966"/>
              <a:gd name="connsiteY4" fmla="*/ 177621 h 734254"/>
              <a:gd name="connsiteX0" fmla="*/ 0 w 1291966"/>
              <a:gd name="connsiteY0" fmla="*/ 734254 h 734254"/>
              <a:gd name="connsiteX1" fmla="*/ 145418 w 1291966"/>
              <a:gd name="connsiteY1" fmla="*/ 246493 h 734254"/>
              <a:gd name="connsiteX2" fmla="*/ 614142 w 1291966"/>
              <a:gd name="connsiteY2" fmla="*/ 3052 h 734254"/>
              <a:gd name="connsiteX3" fmla="*/ 712618 w 1291966"/>
              <a:gd name="connsiteY3" fmla="*/ 433587 h 734254"/>
              <a:gd name="connsiteX4" fmla="*/ 1291966 w 1291966"/>
              <a:gd name="connsiteY4" fmla="*/ 177621 h 734254"/>
              <a:gd name="connsiteX0" fmla="*/ 0 w 1270871"/>
              <a:gd name="connsiteY0" fmla="*/ 689729 h 689729"/>
              <a:gd name="connsiteX1" fmla="*/ 124323 w 1270871"/>
              <a:gd name="connsiteY1" fmla="*/ 246493 h 689729"/>
              <a:gd name="connsiteX2" fmla="*/ 593047 w 1270871"/>
              <a:gd name="connsiteY2" fmla="*/ 3052 h 689729"/>
              <a:gd name="connsiteX3" fmla="*/ 691523 w 1270871"/>
              <a:gd name="connsiteY3" fmla="*/ 433587 h 689729"/>
              <a:gd name="connsiteX4" fmla="*/ 1270871 w 1270871"/>
              <a:gd name="connsiteY4" fmla="*/ 177621 h 689729"/>
              <a:gd name="connsiteX0" fmla="*/ 0 w 1270871"/>
              <a:gd name="connsiteY0" fmla="*/ 689729 h 689729"/>
              <a:gd name="connsiteX1" fmla="*/ 124323 w 1270871"/>
              <a:gd name="connsiteY1" fmla="*/ 246493 h 689729"/>
              <a:gd name="connsiteX2" fmla="*/ 593047 w 1270871"/>
              <a:gd name="connsiteY2" fmla="*/ 3052 h 689729"/>
              <a:gd name="connsiteX3" fmla="*/ 691523 w 1270871"/>
              <a:gd name="connsiteY3" fmla="*/ 433587 h 689729"/>
              <a:gd name="connsiteX4" fmla="*/ 1270871 w 1270871"/>
              <a:gd name="connsiteY4" fmla="*/ 177621 h 689729"/>
              <a:gd name="connsiteX0" fmla="*/ 0 w 1270871"/>
              <a:gd name="connsiteY0" fmla="*/ 690724 h 690724"/>
              <a:gd name="connsiteX1" fmla="*/ 124323 w 1270871"/>
              <a:gd name="connsiteY1" fmla="*/ 247488 h 690724"/>
              <a:gd name="connsiteX2" fmla="*/ 593047 w 1270871"/>
              <a:gd name="connsiteY2" fmla="*/ 4047 h 690724"/>
              <a:gd name="connsiteX3" fmla="*/ 691523 w 1270871"/>
              <a:gd name="connsiteY3" fmla="*/ 434582 h 690724"/>
              <a:gd name="connsiteX4" fmla="*/ 1270871 w 1270871"/>
              <a:gd name="connsiteY4" fmla="*/ 178616 h 690724"/>
              <a:gd name="connsiteX0" fmla="*/ 0 w 1270871"/>
              <a:gd name="connsiteY0" fmla="*/ 690724 h 690724"/>
              <a:gd name="connsiteX1" fmla="*/ 124323 w 1270871"/>
              <a:gd name="connsiteY1" fmla="*/ 247488 h 690724"/>
              <a:gd name="connsiteX2" fmla="*/ 593047 w 1270871"/>
              <a:gd name="connsiteY2" fmla="*/ 4047 h 690724"/>
              <a:gd name="connsiteX3" fmla="*/ 691523 w 1270871"/>
              <a:gd name="connsiteY3" fmla="*/ 434582 h 690724"/>
              <a:gd name="connsiteX4" fmla="*/ 1270871 w 1270871"/>
              <a:gd name="connsiteY4" fmla="*/ 178616 h 690724"/>
              <a:gd name="connsiteX0" fmla="*/ 0 w 1320387"/>
              <a:gd name="connsiteY0" fmla="*/ 690724 h 690724"/>
              <a:gd name="connsiteX1" fmla="*/ 124323 w 1320387"/>
              <a:gd name="connsiteY1" fmla="*/ 247488 h 690724"/>
              <a:gd name="connsiteX2" fmla="*/ 593047 w 1320387"/>
              <a:gd name="connsiteY2" fmla="*/ 4047 h 690724"/>
              <a:gd name="connsiteX3" fmla="*/ 691523 w 1320387"/>
              <a:gd name="connsiteY3" fmla="*/ 434582 h 690724"/>
              <a:gd name="connsiteX4" fmla="*/ 1320387 w 1320387"/>
              <a:gd name="connsiteY4" fmla="*/ 136932 h 690724"/>
              <a:gd name="connsiteX0" fmla="*/ 0 w 1320387"/>
              <a:gd name="connsiteY0" fmla="*/ 690724 h 690724"/>
              <a:gd name="connsiteX1" fmla="*/ 124323 w 1320387"/>
              <a:gd name="connsiteY1" fmla="*/ 247488 h 690724"/>
              <a:gd name="connsiteX2" fmla="*/ 593047 w 1320387"/>
              <a:gd name="connsiteY2" fmla="*/ 4047 h 690724"/>
              <a:gd name="connsiteX3" fmla="*/ 691523 w 1320387"/>
              <a:gd name="connsiteY3" fmla="*/ 434582 h 690724"/>
              <a:gd name="connsiteX4" fmla="*/ 1320387 w 1320387"/>
              <a:gd name="connsiteY4" fmla="*/ 136932 h 690724"/>
              <a:gd name="connsiteX0" fmla="*/ 0 w 1320387"/>
              <a:gd name="connsiteY0" fmla="*/ 690724 h 690724"/>
              <a:gd name="connsiteX1" fmla="*/ 124323 w 1320387"/>
              <a:gd name="connsiteY1" fmla="*/ 247488 h 690724"/>
              <a:gd name="connsiteX2" fmla="*/ 593047 w 1320387"/>
              <a:gd name="connsiteY2" fmla="*/ 4047 h 690724"/>
              <a:gd name="connsiteX3" fmla="*/ 691523 w 1320387"/>
              <a:gd name="connsiteY3" fmla="*/ 434582 h 690724"/>
              <a:gd name="connsiteX4" fmla="*/ 1320387 w 1320387"/>
              <a:gd name="connsiteY4" fmla="*/ 136932 h 690724"/>
              <a:gd name="connsiteX0" fmla="*/ 0 w 1305909"/>
              <a:gd name="connsiteY0" fmla="*/ 690724 h 690724"/>
              <a:gd name="connsiteX1" fmla="*/ 124323 w 1305909"/>
              <a:gd name="connsiteY1" fmla="*/ 247488 h 690724"/>
              <a:gd name="connsiteX2" fmla="*/ 593047 w 1305909"/>
              <a:gd name="connsiteY2" fmla="*/ 4047 h 690724"/>
              <a:gd name="connsiteX3" fmla="*/ 691523 w 1305909"/>
              <a:gd name="connsiteY3" fmla="*/ 434582 h 690724"/>
              <a:gd name="connsiteX4" fmla="*/ 1305909 w 1305909"/>
              <a:gd name="connsiteY4" fmla="*/ 152272 h 690724"/>
              <a:gd name="connsiteX0" fmla="*/ 0 w 1319587"/>
              <a:gd name="connsiteY0" fmla="*/ 734609 h 734609"/>
              <a:gd name="connsiteX1" fmla="*/ 138001 w 1319587"/>
              <a:gd name="connsiteY1" fmla="*/ 247488 h 734609"/>
              <a:gd name="connsiteX2" fmla="*/ 606725 w 1319587"/>
              <a:gd name="connsiteY2" fmla="*/ 4047 h 734609"/>
              <a:gd name="connsiteX3" fmla="*/ 705201 w 1319587"/>
              <a:gd name="connsiteY3" fmla="*/ 434582 h 734609"/>
              <a:gd name="connsiteX4" fmla="*/ 1319587 w 1319587"/>
              <a:gd name="connsiteY4" fmla="*/ 152272 h 734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19587" h="734609">
                <a:moveTo>
                  <a:pt x="0" y="734609"/>
                </a:moveTo>
                <a:cubicBezTo>
                  <a:pt x="65227" y="731214"/>
                  <a:pt x="29447" y="345199"/>
                  <a:pt x="138001" y="247488"/>
                </a:cubicBezTo>
                <a:cubicBezTo>
                  <a:pt x="215386" y="128331"/>
                  <a:pt x="512192" y="-27135"/>
                  <a:pt x="606725" y="4047"/>
                </a:cubicBezTo>
                <a:cubicBezTo>
                  <a:pt x="701258" y="35229"/>
                  <a:pt x="586391" y="409878"/>
                  <a:pt x="705201" y="434582"/>
                </a:cubicBezTo>
                <a:cubicBezTo>
                  <a:pt x="824011" y="459286"/>
                  <a:pt x="1224037" y="151328"/>
                  <a:pt x="1319587" y="152272"/>
                </a:cubicBezTo>
              </a:path>
            </a:pathLst>
          </a:custGeom>
          <a:noFill/>
          <a:ln w="25400">
            <a:solidFill>
              <a:schemeClr val="bg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7800" name="Group 7799"/>
          <p:cNvGrpSpPr/>
          <p:nvPr/>
        </p:nvGrpSpPr>
        <p:grpSpPr>
          <a:xfrm>
            <a:off x="4968543" y="2246764"/>
            <a:ext cx="199658" cy="517374"/>
            <a:chOff x="4968543" y="2246764"/>
            <a:chExt cx="199658" cy="517374"/>
          </a:xfrm>
        </p:grpSpPr>
        <p:cxnSp>
          <p:nvCxnSpPr>
            <p:cNvPr id="7796" name="Straight Connector 7795"/>
            <p:cNvCxnSpPr/>
            <p:nvPr/>
          </p:nvCxnSpPr>
          <p:spPr>
            <a:xfrm flipH="1">
              <a:off x="5068372" y="2446422"/>
              <a:ext cx="0" cy="290757"/>
            </a:xfrm>
            <a:prstGeom prst="line">
              <a:avLst/>
            </a:prstGeom>
            <a:ln w="41275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797" name="Isosceles Triangle 7796"/>
            <p:cNvSpPr/>
            <p:nvPr/>
          </p:nvSpPr>
          <p:spPr>
            <a:xfrm>
              <a:off x="4968543" y="2246764"/>
              <a:ext cx="199658" cy="199658"/>
            </a:xfrm>
            <a:prstGeom prst="triangle">
              <a:avLst/>
            </a:prstGeom>
            <a:solidFill>
              <a:srgbClr val="E65A6D"/>
            </a:solidFill>
            <a:ln w="41275" cmpd="dbl">
              <a:solidFill>
                <a:srgbClr val="E65A6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200" b="1" dirty="0" smtClean="0">
                <a:solidFill>
                  <a:schemeClr val="bg2"/>
                </a:solidFill>
              </a:endParaRPr>
            </a:p>
          </p:txBody>
        </p:sp>
        <p:sp>
          <p:nvSpPr>
            <p:cNvPr id="7798" name="Isosceles Triangle 7797"/>
            <p:cNvSpPr/>
            <p:nvPr/>
          </p:nvSpPr>
          <p:spPr>
            <a:xfrm>
              <a:off x="5028199" y="2714513"/>
              <a:ext cx="84837" cy="49625"/>
            </a:xfrm>
            <a:prstGeom prst="triangle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2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7799" name="Freeform 7798"/>
            <p:cNvSpPr/>
            <p:nvPr/>
          </p:nvSpPr>
          <p:spPr>
            <a:xfrm rot="20047679">
              <a:off x="5023886" y="2345436"/>
              <a:ext cx="101883" cy="82121"/>
            </a:xfrm>
            <a:custGeom>
              <a:avLst/>
              <a:gdLst>
                <a:gd name="connsiteX0" fmla="*/ 0 w 1181100"/>
                <a:gd name="connsiteY0" fmla="*/ 354471 h 500998"/>
                <a:gd name="connsiteX1" fmla="*/ 523875 w 1181100"/>
                <a:gd name="connsiteY1" fmla="*/ 2046 h 500998"/>
                <a:gd name="connsiteX2" fmla="*/ 523875 w 1181100"/>
                <a:gd name="connsiteY2" fmla="*/ 497346 h 500998"/>
                <a:gd name="connsiteX3" fmla="*/ 1181100 w 1181100"/>
                <a:gd name="connsiteY3" fmla="*/ 240171 h 500998"/>
                <a:gd name="connsiteX4" fmla="*/ 1181100 w 1181100"/>
                <a:gd name="connsiteY4" fmla="*/ 240171 h 500998"/>
                <a:gd name="connsiteX0" fmla="*/ 0 w 1168873"/>
                <a:gd name="connsiteY0" fmla="*/ 395288 h 499849"/>
                <a:gd name="connsiteX1" fmla="*/ 511648 w 1168873"/>
                <a:gd name="connsiteY1" fmla="*/ 897 h 499849"/>
                <a:gd name="connsiteX2" fmla="*/ 511648 w 1168873"/>
                <a:gd name="connsiteY2" fmla="*/ 496197 h 499849"/>
                <a:gd name="connsiteX3" fmla="*/ 1168873 w 1168873"/>
                <a:gd name="connsiteY3" fmla="*/ 239022 h 499849"/>
                <a:gd name="connsiteX4" fmla="*/ 1168873 w 1168873"/>
                <a:gd name="connsiteY4" fmla="*/ 239022 h 499849"/>
                <a:gd name="connsiteX0" fmla="*/ 0 w 1168873"/>
                <a:gd name="connsiteY0" fmla="*/ 332479 h 435473"/>
                <a:gd name="connsiteX1" fmla="*/ 496603 w 1168873"/>
                <a:gd name="connsiteY1" fmla="*/ 1217 h 435473"/>
                <a:gd name="connsiteX2" fmla="*/ 511648 w 1168873"/>
                <a:gd name="connsiteY2" fmla="*/ 433388 h 435473"/>
                <a:gd name="connsiteX3" fmla="*/ 1168873 w 1168873"/>
                <a:gd name="connsiteY3" fmla="*/ 176213 h 435473"/>
                <a:gd name="connsiteX4" fmla="*/ 1168873 w 1168873"/>
                <a:gd name="connsiteY4" fmla="*/ 176213 h 435473"/>
                <a:gd name="connsiteX0" fmla="*/ 0 w 1168873"/>
                <a:gd name="connsiteY0" fmla="*/ 332443 h 434146"/>
                <a:gd name="connsiteX1" fmla="*/ 496603 w 1168873"/>
                <a:gd name="connsiteY1" fmla="*/ 1181 h 434146"/>
                <a:gd name="connsiteX2" fmla="*/ 595079 w 1168873"/>
                <a:gd name="connsiteY2" fmla="*/ 431716 h 434146"/>
                <a:gd name="connsiteX3" fmla="*/ 1168873 w 1168873"/>
                <a:gd name="connsiteY3" fmla="*/ 176177 h 434146"/>
                <a:gd name="connsiteX4" fmla="*/ 1168873 w 1168873"/>
                <a:gd name="connsiteY4" fmla="*/ 176177 h 434146"/>
                <a:gd name="connsiteX0" fmla="*/ 0 w 1206016"/>
                <a:gd name="connsiteY0" fmla="*/ 332443 h 434143"/>
                <a:gd name="connsiteX1" fmla="*/ 496603 w 1206016"/>
                <a:gd name="connsiteY1" fmla="*/ 1181 h 434143"/>
                <a:gd name="connsiteX2" fmla="*/ 595079 w 1206016"/>
                <a:gd name="connsiteY2" fmla="*/ 431716 h 434143"/>
                <a:gd name="connsiteX3" fmla="*/ 1168873 w 1206016"/>
                <a:gd name="connsiteY3" fmla="*/ 176177 h 434143"/>
                <a:gd name="connsiteX4" fmla="*/ 1146658 w 1206016"/>
                <a:gd name="connsiteY4" fmla="*/ 177881 h 434143"/>
                <a:gd name="connsiteX0" fmla="*/ 0 w 1146658"/>
                <a:gd name="connsiteY0" fmla="*/ 332443 h 434305"/>
                <a:gd name="connsiteX1" fmla="*/ 496603 w 1146658"/>
                <a:gd name="connsiteY1" fmla="*/ 1181 h 434305"/>
                <a:gd name="connsiteX2" fmla="*/ 595079 w 1146658"/>
                <a:gd name="connsiteY2" fmla="*/ 431716 h 434305"/>
                <a:gd name="connsiteX3" fmla="*/ 1146658 w 1146658"/>
                <a:gd name="connsiteY3" fmla="*/ 177881 h 434305"/>
                <a:gd name="connsiteX0" fmla="*/ 0 w 1174427"/>
                <a:gd name="connsiteY0" fmla="*/ 332443 h 434227"/>
                <a:gd name="connsiteX1" fmla="*/ 496603 w 1174427"/>
                <a:gd name="connsiteY1" fmla="*/ 1181 h 434227"/>
                <a:gd name="connsiteX2" fmla="*/ 595079 w 1174427"/>
                <a:gd name="connsiteY2" fmla="*/ 431716 h 434227"/>
                <a:gd name="connsiteX3" fmla="*/ 1174427 w 1174427"/>
                <a:gd name="connsiteY3" fmla="*/ 175750 h 434227"/>
                <a:gd name="connsiteX0" fmla="*/ 0 w 1144628"/>
                <a:gd name="connsiteY0" fmla="*/ 302675 h 435349"/>
                <a:gd name="connsiteX1" fmla="*/ 466804 w 1144628"/>
                <a:gd name="connsiteY1" fmla="*/ 2303 h 435349"/>
                <a:gd name="connsiteX2" fmla="*/ 565280 w 1144628"/>
                <a:gd name="connsiteY2" fmla="*/ 432838 h 435349"/>
                <a:gd name="connsiteX3" fmla="*/ 1144628 w 1144628"/>
                <a:gd name="connsiteY3" fmla="*/ 176872 h 435349"/>
                <a:gd name="connsiteX0" fmla="*/ 0 w 1072802"/>
                <a:gd name="connsiteY0" fmla="*/ 283899 h 436386"/>
                <a:gd name="connsiteX1" fmla="*/ 394978 w 1072802"/>
                <a:gd name="connsiteY1" fmla="*/ 3340 h 436386"/>
                <a:gd name="connsiteX2" fmla="*/ 493454 w 1072802"/>
                <a:gd name="connsiteY2" fmla="*/ 433875 h 436386"/>
                <a:gd name="connsiteX3" fmla="*/ 1072802 w 1072802"/>
                <a:gd name="connsiteY3" fmla="*/ 177909 h 436386"/>
                <a:gd name="connsiteX0" fmla="*/ 0 w 1073300"/>
                <a:gd name="connsiteY0" fmla="*/ 266171 h 437689"/>
                <a:gd name="connsiteX1" fmla="*/ 395476 w 1073300"/>
                <a:gd name="connsiteY1" fmla="*/ 4643 h 437689"/>
                <a:gd name="connsiteX2" fmla="*/ 493952 w 1073300"/>
                <a:gd name="connsiteY2" fmla="*/ 435178 h 437689"/>
                <a:gd name="connsiteX3" fmla="*/ 1073300 w 1073300"/>
                <a:gd name="connsiteY3" fmla="*/ 179212 h 437689"/>
                <a:gd name="connsiteX0" fmla="*/ 0 w 1128340"/>
                <a:gd name="connsiteY0" fmla="*/ 287914 h 436139"/>
                <a:gd name="connsiteX1" fmla="*/ 450516 w 1128340"/>
                <a:gd name="connsiteY1" fmla="*/ 3093 h 436139"/>
                <a:gd name="connsiteX2" fmla="*/ 548992 w 1128340"/>
                <a:gd name="connsiteY2" fmla="*/ 433628 h 436139"/>
                <a:gd name="connsiteX3" fmla="*/ 1128340 w 1128340"/>
                <a:gd name="connsiteY3" fmla="*/ 177662 h 436139"/>
                <a:gd name="connsiteX0" fmla="*/ 0 w 1201824"/>
                <a:gd name="connsiteY0" fmla="*/ 348442 h 433820"/>
                <a:gd name="connsiteX1" fmla="*/ 524000 w 1201824"/>
                <a:gd name="connsiteY1" fmla="*/ 774 h 433820"/>
                <a:gd name="connsiteX2" fmla="*/ 622476 w 1201824"/>
                <a:gd name="connsiteY2" fmla="*/ 431309 h 433820"/>
                <a:gd name="connsiteX3" fmla="*/ 1201824 w 1201824"/>
                <a:gd name="connsiteY3" fmla="*/ 175343 h 433820"/>
                <a:gd name="connsiteX0" fmla="*/ 1248 w 1203072"/>
                <a:gd name="connsiteY0" fmla="*/ 349038 h 434416"/>
                <a:gd name="connsiteX1" fmla="*/ 57892 w 1203072"/>
                <a:gd name="connsiteY1" fmla="*/ 297146 h 434416"/>
                <a:gd name="connsiteX2" fmla="*/ 525248 w 1203072"/>
                <a:gd name="connsiteY2" fmla="*/ 1370 h 434416"/>
                <a:gd name="connsiteX3" fmla="*/ 623724 w 1203072"/>
                <a:gd name="connsiteY3" fmla="*/ 431905 h 434416"/>
                <a:gd name="connsiteX4" fmla="*/ 1203072 w 1203072"/>
                <a:gd name="connsiteY4" fmla="*/ 175939 h 434416"/>
                <a:gd name="connsiteX0" fmla="*/ 0 w 1255164"/>
                <a:gd name="connsiteY0" fmla="*/ 543823 h 543823"/>
                <a:gd name="connsiteX1" fmla="*/ 109984 w 1255164"/>
                <a:gd name="connsiteY1" fmla="*/ 297146 h 543823"/>
                <a:gd name="connsiteX2" fmla="*/ 577340 w 1255164"/>
                <a:gd name="connsiteY2" fmla="*/ 1370 h 543823"/>
                <a:gd name="connsiteX3" fmla="*/ 675816 w 1255164"/>
                <a:gd name="connsiteY3" fmla="*/ 431905 h 543823"/>
                <a:gd name="connsiteX4" fmla="*/ 1255164 w 1255164"/>
                <a:gd name="connsiteY4" fmla="*/ 175939 h 543823"/>
                <a:gd name="connsiteX0" fmla="*/ 0 w 1290144"/>
                <a:gd name="connsiteY0" fmla="*/ 589414 h 589414"/>
                <a:gd name="connsiteX1" fmla="*/ 144964 w 1290144"/>
                <a:gd name="connsiteY1" fmla="*/ 297146 h 589414"/>
                <a:gd name="connsiteX2" fmla="*/ 612320 w 1290144"/>
                <a:gd name="connsiteY2" fmla="*/ 1370 h 589414"/>
                <a:gd name="connsiteX3" fmla="*/ 710796 w 1290144"/>
                <a:gd name="connsiteY3" fmla="*/ 431905 h 589414"/>
                <a:gd name="connsiteX4" fmla="*/ 1290144 w 1290144"/>
                <a:gd name="connsiteY4" fmla="*/ 175939 h 589414"/>
                <a:gd name="connsiteX0" fmla="*/ 0 w 1290144"/>
                <a:gd name="connsiteY0" fmla="*/ 589414 h 589414"/>
                <a:gd name="connsiteX1" fmla="*/ 144964 w 1290144"/>
                <a:gd name="connsiteY1" fmla="*/ 297146 h 589414"/>
                <a:gd name="connsiteX2" fmla="*/ 612320 w 1290144"/>
                <a:gd name="connsiteY2" fmla="*/ 1370 h 589414"/>
                <a:gd name="connsiteX3" fmla="*/ 710796 w 1290144"/>
                <a:gd name="connsiteY3" fmla="*/ 431905 h 589414"/>
                <a:gd name="connsiteX4" fmla="*/ 1290144 w 1290144"/>
                <a:gd name="connsiteY4" fmla="*/ 175939 h 589414"/>
                <a:gd name="connsiteX0" fmla="*/ 0 w 1351111"/>
                <a:gd name="connsiteY0" fmla="*/ 598861 h 598861"/>
                <a:gd name="connsiteX1" fmla="*/ 205931 w 1351111"/>
                <a:gd name="connsiteY1" fmla="*/ 297146 h 598861"/>
                <a:gd name="connsiteX2" fmla="*/ 673287 w 1351111"/>
                <a:gd name="connsiteY2" fmla="*/ 1370 h 598861"/>
                <a:gd name="connsiteX3" fmla="*/ 771763 w 1351111"/>
                <a:gd name="connsiteY3" fmla="*/ 431905 h 598861"/>
                <a:gd name="connsiteX4" fmla="*/ 1351111 w 1351111"/>
                <a:gd name="connsiteY4" fmla="*/ 175939 h 598861"/>
                <a:gd name="connsiteX0" fmla="*/ 0 w 1291966"/>
                <a:gd name="connsiteY0" fmla="*/ 732572 h 732572"/>
                <a:gd name="connsiteX1" fmla="*/ 146786 w 1291966"/>
                <a:gd name="connsiteY1" fmla="*/ 297146 h 732572"/>
                <a:gd name="connsiteX2" fmla="*/ 614142 w 1291966"/>
                <a:gd name="connsiteY2" fmla="*/ 1370 h 732572"/>
                <a:gd name="connsiteX3" fmla="*/ 712618 w 1291966"/>
                <a:gd name="connsiteY3" fmla="*/ 431905 h 732572"/>
                <a:gd name="connsiteX4" fmla="*/ 1291966 w 1291966"/>
                <a:gd name="connsiteY4" fmla="*/ 175939 h 732572"/>
                <a:gd name="connsiteX0" fmla="*/ 0 w 1291966"/>
                <a:gd name="connsiteY0" fmla="*/ 734254 h 734254"/>
                <a:gd name="connsiteX1" fmla="*/ 145418 w 1291966"/>
                <a:gd name="connsiteY1" fmla="*/ 246493 h 734254"/>
                <a:gd name="connsiteX2" fmla="*/ 614142 w 1291966"/>
                <a:gd name="connsiteY2" fmla="*/ 3052 h 734254"/>
                <a:gd name="connsiteX3" fmla="*/ 712618 w 1291966"/>
                <a:gd name="connsiteY3" fmla="*/ 433587 h 734254"/>
                <a:gd name="connsiteX4" fmla="*/ 1291966 w 1291966"/>
                <a:gd name="connsiteY4" fmla="*/ 177621 h 734254"/>
                <a:gd name="connsiteX0" fmla="*/ 0 w 1291966"/>
                <a:gd name="connsiteY0" fmla="*/ 734254 h 734254"/>
                <a:gd name="connsiteX1" fmla="*/ 145418 w 1291966"/>
                <a:gd name="connsiteY1" fmla="*/ 246493 h 734254"/>
                <a:gd name="connsiteX2" fmla="*/ 614142 w 1291966"/>
                <a:gd name="connsiteY2" fmla="*/ 3052 h 734254"/>
                <a:gd name="connsiteX3" fmla="*/ 712618 w 1291966"/>
                <a:gd name="connsiteY3" fmla="*/ 433587 h 734254"/>
                <a:gd name="connsiteX4" fmla="*/ 1291966 w 1291966"/>
                <a:gd name="connsiteY4" fmla="*/ 177621 h 734254"/>
                <a:gd name="connsiteX0" fmla="*/ 0 w 1270871"/>
                <a:gd name="connsiteY0" fmla="*/ 689729 h 689729"/>
                <a:gd name="connsiteX1" fmla="*/ 124323 w 1270871"/>
                <a:gd name="connsiteY1" fmla="*/ 246493 h 689729"/>
                <a:gd name="connsiteX2" fmla="*/ 593047 w 1270871"/>
                <a:gd name="connsiteY2" fmla="*/ 3052 h 689729"/>
                <a:gd name="connsiteX3" fmla="*/ 691523 w 1270871"/>
                <a:gd name="connsiteY3" fmla="*/ 433587 h 689729"/>
                <a:gd name="connsiteX4" fmla="*/ 1270871 w 1270871"/>
                <a:gd name="connsiteY4" fmla="*/ 177621 h 689729"/>
                <a:gd name="connsiteX0" fmla="*/ 0 w 1270871"/>
                <a:gd name="connsiteY0" fmla="*/ 689729 h 689729"/>
                <a:gd name="connsiteX1" fmla="*/ 124323 w 1270871"/>
                <a:gd name="connsiteY1" fmla="*/ 246493 h 689729"/>
                <a:gd name="connsiteX2" fmla="*/ 593047 w 1270871"/>
                <a:gd name="connsiteY2" fmla="*/ 3052 h 689729"/>
                <a:gd name="connsiteX3" fmla="*/ 691523 w 1270871"/>
                <a:gd name="connsiteY3" fmla="*/ 433587 h 689729"/>
                <a:gd name="connsiteX4" fmla="*/ 1270871 w 1270871"/>
                <a:gd name="connsiteY4" fmla="*/ 177621 h 689729"/>
                <a:gd name="connsiteX0" fmla="*/ 0 w 1270871"/>
                <a:gd name="connsiteY0" fmla="*/ 690724 h 690724"/>
                <a:gd name="connsiteX1" fmla="*/ 124323 w 1270871"/>
                <a:gd name="connsiteY1" fmla="*/ 247488 h 690724"/>
                <a:gd name="connsiteX2" fmla="*/ 593047 w 1270871"/>
                <a:gd name="connsiteY2" fmla="*/ 4047 h 690724"/>
                <a:gd name="connsiteX3" fmla="*/ 691523 w 1270871"/>
                <a:gd name="connsiteY3" fmla="*/ 434582 h 690724"/>
                <a:gd name="connsiteX4" fmla="*/ 1270871 w 1270871"/>
                <a:gd name="connsiteY4" fmla="*/ 178616 h 690724"/>
                <a:gd name="connsiteX0" fmla="*/ 0 w 1270871"/>
                <a:gd name="connsiteY0" fmla="*/ 690724 h 690724"/>
                <a:gd name="connsiteX1" fmla="*/ 124323 w 1270871"/>
                <a:gd name="connsiteY1" fmla="*/ 247488 h 690724"/>
                <a:gd name="connsiteX2" fmla="*/ 593047 w 1270871"/>
                <a:gd name="connsiteY2" fmla="*/ 4047 h 690724"/>
                <a:gd name="connsiteX3" fmla="*/ 691523 w 1270871"/>
                <a:gd name="connsiteY3" fmla="*/ 434582 h 690724"/>
                <a:gd name="connsiteX4" fmla="*/ 1270871 w 1270871"/>
                <a:gd name="connsiteY4" fmla="*/ 178616 h 690724"/>
                <a:gd name="connsiteX0" fmla="*/ 0 w 1320387"/>
                <a:gd name="connsiteY0" fmla="*/ 690724 h 690724"/>
                <a:gd name="connsiteX1" fmla="*/ 124323 w 1320387"/>
                <a:gd name="connsiteY1" fmla="*/ 247488 h 690724"/>
                <a:gd name="connsiteX2" fmla="*/ 593047 w 1320387"/>
                <a:gd name="connsiteY2" fmla="*/ 4047 h 690724"/>
                <a:gd name="connsiteX3" fmla="*/ 691523 w 1320387"/>
                <a:gd name="connsiteY3" fmla="*/ 434582 h 690724"/>
                <a:gd name="connsiteX4" fmla="*/ 1320387 w 1320387"/>
                <a:gd name="connsiteY4" fmla="*/ 136932 h 690724"/>
                <a:gd name="connsiteX0" fmla="*/ 0 w 1320387"/>
                <a:gd name="connsiteY0" fmla="*/ 690724 h 690724"/>
                <a:gd name="connsiteX1" fmla="*/ 124323 w 1320387"/>
                <a:gd name="connsiteY1" fmla="*/ 247488 h 690724"/>
                <a:gd name="connsiteX2" fmla="*/ 593047 w 1320387"/>
                <a:gd name="connsiteY2" fmla="*/ 4047 h 690724"/>
                <a:gd name="connsiteX3" fmla="*/ 691523 w 1320387"/>
                <a:gd name="connsiteY3" fmla="*/ 434582 h 690724"/>
                <a:gd name="connsiteX4" fmla="*/ 1320387 w 1320387"/>
                <a:gd name="connsiteY4" fmla="*/ 136932 h 690724"/>
                <a:gd name="connsiteX0" fmla="*/ 0 w 1320387"/>
                <a:gd name="connsiteY0" fmla="*/ 690724 h 690724"/>
                <a:gd name="connsiteX1" fmla="*/ 124323 w 1320387"/>
                <a:gd name="connsiteY1" fmla="*/ 247488 h 690724"/>
                <a:gd name="connsiteX2" fmla="*/ 593047 w 1320387"/>
                <a:gd name="connsiteY2" fmla="*/ 4047 h 690724"/>
                <a:gd name="connsiteX3" fmla="*/ 691523 w 1320387"/>
                <a:gd name="connsiteY3" fmla="*/ 434582 h 690724"/>
                <a:gd name="connsiteX4" fmla="*/ 1320387 w 1320387"/>
                <a:gd name="connsiteY4" fmla="*/ 136932 h 690724"/>
                <a:gd name="connsiteX0" fmla="*/ 0 w 1305909"/>
                <a:gd name="connsiteY0" fmla="*/ 690724 h 690724"/>
                <a:gd name="connsiteX1" fmla="*/ 124323 w 1305909"/>
                <a:gd name="connsiteY1" fmla="*/ 247488 h 690724"/>
                <a:gd name="connsiteX2" fmla="*/ 593047 w 1305909"/>
                <a:gd name="connsiteY2" fmla="*/ 4047 h 690724"/>
                <a:gd name="connsiteX3" fmla="*/ 691523 w 1305909"/>
                <a:gd name="connsiteY3" fmla="*/ 434582 h 690724"/>
                <a:gd name="connsiteX4" fmla="*/ 1305909 w 1305909"/>
                <a:gd name="connsiteY4" fmla="*/ 152272 h 690724"/>
                <a:gd name="connsiteX0" fmla="*/ 0 w 1319587"/>
                <a:gd name="connsiteY0" fmla="*/ 734609 h 734609"/>
                <a:gd name="connsiteX1" fmla="*/ 138001 w 1319587"/>
                <a:gd name="connsiteY1" fmla="*/ 247488 h 734609"/>
                <a:gd name="connsiteX2" fmla="*/ 606725 w 1319587"/>
                <a:gd name="connsiteY2" fmla="*/ 4047 h 734609"/>
                <a:gd name="connsiteX3" fmla="*/ 705201 w 1319587"/>
                <a:gd name="connsiteY3" fmla="*/ 434582 h 734609"/>
                <a:gd name="connsiteX4" fmla="*/ 1319587 w 1319587"/>
                <a:gd name="connsiteY4" fmla="*/ 152272 h 734609"/>
                <a:gd name="connsiteX0" fmla="*/ -1 w 1181585"/>
                <a:gd name="connsiteY0" fmla="*/ 247488 h 435992"/>
                <a:gd name="connsiteX1" fmla="*/ 468723 w 1181585"/>
                <a:gd name="connsiteY1" fmla="*/ 4047 h 435992"/>
                <a:gd name="connsiteX2" fmla="*/ 567199 w 1181585"/>
                <a:gd name="connsiteY2" fmla="*/ 434582 h 435992"/>
                <a:gd name="connsiteX3" fmla="*/ 1181585 w 1181585"/>
                <a:gd name="connsiteY3" fmla="*/ 152272 h 435992"/>
                <a:gd name="connsiteX0" fmla="*/ -1 w 1272418"/>
                <a:gd name="connsiteY0" fmla="*/ 247488 h 434838"/>
                <a:gd name="connsiteX1" fmla="*/ 468723 w 1272418"/>
                <a:gd name="connsiteY1" fmla="*/ 4047 h 434838"/>
                <a:gd name="connsiteX2" fmla="*/ 567199 w 1272418"/>
                <a:gd name="connsiteY2" fmla="*/ 434582 h 434838"/>
                <a:gd name="connsiteX3" fmla="*/ 1272417 w 1272418"/>
                <a:gd name="connsiteY3" fmla="*/ 72858 h 434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2418" h="434838">
                  <a:moveTo>
                    <a:pt x="-1" y="247488"/>
                  </a:moveTo>
                  <a:cubicBezTo>
                    <a:pt x="77384" y="128331"/>
                    <a:pt x="374190" y="-27135"/>
                    <a:pt x="468723" y="4047"/>
                  </a:cubicBezTo>
                  <a:cubicBezTo>
                    <a:pt x="563256" y="35229"/>
                    <a:pt x="433250" y="423114"/>
                    <a:pt x="567199" y="434582"/>
                  </a:cubicBezTo>
                  <a:cubicBezTo>
                    <a:pt x="701148" y="446051"/>
                    <a:pt x="1176867" y="71914"/>
                    <a:pt x="1272417" y="7285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prstDash val="solid"/>
              <a:headEnd type="none"/>
              <a:tailEnd type="triangle" w="sm" len="sm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cxnSp>
        <p:nvCxnSpPr>
          <p:cNvPr id="7802" name="Straight Connector 7801"/>
          <p:cNvCxnSpPr/>
          <p:nvPr/>
        </p:nvCxnSpPr>
        <p:spPr>
          <a:xfrm flipH="1">
            <a:off x="7924754" y="3187411"/>
            <a:ext cx="0" cy="290757"/>
          </a:xfrm>
          <a:prstGeom prst="line">
            <a:avLst/>
          </a:prstGeom>
          <a:ln w="41275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04" name="Isosceles Triangle 7803"/>
          <p:cNvSpPr/>
          <p:nvPr/>
        </p:nvSpPr>
        <p:spPr>
          <a:xfrm>
            <a:off x="7884581" y="3455502"/>
            <a:ext cx="84837" cy="49625"/>
          </a:xfrm>
          <a:prstGeom prst="triangl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200" dirty="0" err="1" smtClean="0">
              <a:solidFill>
                <a:schemeClr val="tx1"/>
              </a:solidFill>
            </a:endParaRPr>
          </a:p>
        </p:txBody>
      </p:sp>
      <p:grpSp>
        <p:nvGrpSpPr>
          <p:cNvPr id="7813" name="Group 7812"/>
          <p:cNvGrpSpPr/>
          <p:nvPr/>
        </p:nvGrpSpPr>
        <p:grpSpPr>
          <a:xfrm>
            <a:off x="7768436" y="2938010"/>
            <a:ext cx="318031" cy="318031"/>
            <a:chOff x="8502650" y="2419350"/>
            <a:chExt cx="947738" cy="947738"/>
          </a:xfrm>
        </p:grpSpPr>
        <p:sp>
          <p:nvSpPr>
            <p:cNvPr id="7814" name="AutoShape 5989"/>
            <p:cNvSpPr>
              <a:spLocks noChangeAspect="1" noChangeArrowheads="1" noTextEdit="1"/>
            </p:cNvSpPr>
            <p:nvPr/>
          </p:nvSpPr>
          <p:spPr bwMode="auto">
            <a:xfrm>
              <a:off x="8505825" y="2422525"/>
              <a:ext cx="944563" cy="9445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815" name="Freeform 5991"/>
            <p:cNvSpPr>
              <a:spLocks/>
            </p:cNvSpPr>
            <p:nvPr/>
          </p:nvSpPr>
          <p:spPr bwMode="auto">
            <a:xfrm>
              <a:off x="8502650" y="2419350"/>
              <a:ext cx="947738" cy="947738"/>
            </a:xfrm>
            <a:custGeom>
              <a:avLst/>
              <a:gdLst>
                <a:gd name="T0" fmla="*/ 133 w 250"/>
                <a:gd name="T1" fmla="*/ 247 h 250"/>
                <a:gd name="T2" fmla="*/ 121 w 250"/>
                <a:gd name="T3" fmla="*/ 247 h 250"/>
                <a:gd name="T4" fmla="*/ 4 w 250"/>
                <a:gd name="T5" fmla="*/ 130 h 250"/>
                <a:gd name="T6" fmla="*/ 4 w 250"/>
                <a:gd name="T7" fmla="*/ 118 h 250"/>
                <a:gd name="T8" fmla="*/ 118 w 250"/>
                <a:gd name="T9" fmla="*/ 4 h 250"/>
                <a:gd name="T10" fmla="*/ 130 w 250"/>
                <a:gd name="T11" fmla="*/ 4 h 250"/>
                <a:gd name="T12" fmla="*/ 247 w 250"/>
                <a:gd name="T13" fmla="*/ 121 h 250"/>
                <a:gd name="T14" fmla="*/ 247 w 250"/>
                <a:gd name="T15" fmla="*/ 133 h 250"/>
                <a:gd name="T16" fmla="*/ 133 w 250"/>
                <a:gd name="T17" fmla="*/ 247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250">
                  <a:moveTo>
                    <a:pt x="133" y="247"/>
                  </a:moveTo>
                  <a:cubicBezTo>
                    <a:pt x="130" y="250"/>
                    <a:pt x="124" y="250"/>
                    <a:pt x="121" y="247"/>
                  </a:cubicBezTo>
                  <a:cubicBezTo>
                    <a:pt x="4" y="130"/>
                    <a:pt x="4" y="130"/>
                    <a:pt x="4" y="130"/>
                  </a:cubicBezTo>
                  <a:cubicBezTo>
                    <a:pt x="0" y="126"/>
                    <a:pt x="0" y="121"/>
                    <a:pt x="4" y="118"/>
                  </a:cubicBezTo>
                  <a:cubicBezTo>
                    <a:pt x="118" y="4"/>
                    <a:pt x="118" y="4"/>
                    <a:pt x="118" y="4"/>
                  </a:cubicBezTo>
                  <a:cubicBezTo>
                    <a:pt x="121" y="0"/>
                    <a:pt x="126" y="0"/>
                    <a:pt x="130" y="4"/>
                  </a:cubicBezTo>
                  <a:cubicBezTo>
                    <a:pt x="247" y="121"/>
                    <a:pt x="247" y="121"/>
                    <a:pt x="247" y="121"/>
                  </a:cubicBezTo>
                  <a:cubicBezTo>
                    <a:pt x="250" y="124"/>
                    <a:pt x="250" y="130"/>
                    <a:pt x="247" y="133"/>
                  </a:cubicBezTo>
                  <a:lnTo>
                    <a:pt x="133" y="24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816" name="Freeform 5992"/>
            <p:cNvSpPr>
              <a:spLocks/>
            </p:cNvSpPr>
            <p:nvPr/>
          </p:nvSpPr>
          <p:spPr bwMode="auto">
            <a:xfrm>
              <a:off x="8551863" y="2468563"/>
              <a:ext cx="852488" cy="852488"/>
            </a:xfrm>
            <a:custGeom>
              <a:avLst/>
              <a:gdLst>
                <a:gd name="T0" fmla="*/ 119 w 225"/>
                <a:gd name="T1" fmla="*/ 222 h 225"/>
                <a:gd name="T2" fmla="*/ 108 w 225"/>
                <a:gd name="T3" fmla="*/ 222 h 225"/>
                <a:gd name="T4" fmla="*/ 3 w 225"/>
                <a:gd name="T5" fmla="*/ 116 h 225"/>
                <a:gd name="T6" fmla="*/ 3 w 225"/>
                <a:gd name="T7" fmla="*/ 105 h 225"/>
                <a:gd name="T8" fmla="*/ 105 w 225"/>
                <a:gd name="T9" fmla="*/ 3 h 225"/>
                <a:gd name="T10" fmla="*/ 116 w 225"/>
                <a:gd name="T11" fmla="*/ 3 h 225"/>
                <a:gd name="T12" fmla="*/ 222 w 225"/>
                <a:gd name="T13" fmla="*/ 108 h 225"/>
                <a:gd name="T14" fmla="*/ 222 w 225"/>
                <a:gd name="T15" fmla="*/ 119 h 225"/>
                <a:gd name="T16" fmla="*/ 119 w 225"/>
                <a:gd name="T17" fmla="*/ 222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5" h="225">
                  <a:moveTo>
                    <a:pt x="119" y="222"/>
                  </a:moveTo>
                  <a:cubicBezTo>
                    <a:pt x="116" y="225"/>
                    <a:pt x="111" y="225"/>
                    <a:pt x="108" y="222"/>
                  </a:cubicBezTo>
                  <a:cubicBezTo>
                    <a:pt x="3" y="116"/>
                    <a:pt x="3" y="116"/>
                    <a:pt x="3" y="116"/>
                  </a:cubicBezTo>
                  <a:cubicBezTo>
                    <a:pt x="0" y="113"/>
                    <a:pt x="0" y="108"/>
                    <a:pt x="3" y="105"/>
                  </a:cubicBezTo>
                  <a:cubicBezTo>
                    <a:pt x="105" y="3"/>
                    <a:pt x="105" y="3"/>
                    <a:pt x="105" y="3"/>
                  </a:cubicBezTo>
                  <a:cubicBezTo>
                    <a:pt x="108" y="0"/>
                    <a:pt x="113" y="0"/>
                    <a:pt x="116" y="3"/>
                  </a:cubicBezTo>
                  <a:cubicBezTo>
                    <a:pt x="222" y="108"/>
                    <a:pt x="222" y="108"/>
                    <a:pt x="222" y="108"/>
                  </a:cubicBezTo>
                  <a:cubicBezTo>
                    <a:pt x="225" y="111"/>
                    <a:pt x="225" y="116"/>
                    <a:pt x="222" y="119"/>
                  </a:cubicBezTo>
                  <a:lnTo>
                    <a:pt x="119" y="222"/>
                  </a:ln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817" name="Freeform 5993"/>
            <p:cNvSpPr>
              <a:spLocks/>
            </p:cNvSpPr>
            <p:nvPr/>
          </p:nvSpPr>
          <p:spPr bwMode="auto">
            <a:xfrm>
              <a:off x="8702675" y="2619375"/>
              <a:ext cx="550863" cy="550863"/>
            </a:xfrm>
            <a:custGeom>
              <a:avLst/>
              <a:gdLst>
                <a:gd name="T0" fmla="*/ 77 w 145"/>
                <a:gd name="T1" fmla="*/ 143 h 145"/>
                <a:gd name="T2" fmla="*/ 70 w 145"/>
                <a:gd name="T3" fmla="*/ 143 h 145"/>
                <a:gd name="T4" fmla="*/ 2 w 145"/>
                <a:gd name="T5" fmla="*/ 75 h 145"/>
                <a:gd name="T6" fmla="*/ 2 w 145"/>
                <a:gd name="T7" fmla="*/ 68 h 145"/>
                <a:gd name="T8" fmla="*/ 68 w 145"/>
                <a:gd name="T9" fmla="*/ 2 h 145"/>
                <a:gd name="T10" fmla="*/ 75 w 145"/>
                <a:gd name="T11" fmla="*/ 2 h 145"/>
                <a:gd name="T12" fmla="*/ 143 w 145"/>
                <a:gd name="T13" fmla="*/ 70 h 145"/>
                <a:gd name="T14" fmla="*/ 143 w 145"/>
                <a:gd name="T15" fmla="*/ 77 h 145"/>
                <a:gd name="T16" fmla="*/ 77 w 145"/>
                <a:gd name="T17" fmla="*/ 14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5" h="145">
                  <a:moveTo>
                    <a:pt x="77" y="143"/>
                  </a:moveTo>
                  <a:cubicBezTo>
                    <a:pt x="75" y="145"/>
                    <a:pt x="72" y="145"/>
                    <a:pt x="70" y="143"/>
                  </a:cubicBezTo>
                  <a:cubicBezTo>
                    <a:pt x="2" y="75"/>
                    <a:pt x="2" y="75"/>
                    <a:pt x="2" y="75"/>
                  </a:cubicBezTo>
                  <a:cubicBezTo>
                    <a:pt x="0" y="73"/>
                    <a:pt x="0" y="70"/>
                    <a:pt x="2" y="68"/>
                  </a:cubicBezTo>
                  <a:cubicBezTo>
                    <a:pt x="68" y="2"/>
                    <a:pt x="68" y="2"/>
                    <a:pt x="68" y="2"/>
                  </a:cubicBezTo>
                  <a:cubicBezTo>
                    <a:pt x="70" y="0"/>
                    <a:pt x="73" y="0"/>
                    <a:pt x="75" y="2"/>
                  </a:cubicBezTo>
                  <a:cubicBezTo>
                    <a:pt x="143" y="70"/>
                    <a:pt x="143" y="70"/>
                    <a:pt x="143" y="70"/>
                  </a:cubicBezTo>
                  <a:cubicBezTo>
                    <a:pt x="145" y="72"/>
                    <a:pt x="145" y="75"/>
                    <a:pt x="143" y="77"/>
                  </a:cubicBezTo>
                  <a:lnTo>
                    <a:pt x="77" y="143"/>
                  </a:lnTo>
                  <a:close/>
                </a:path>
              </a:pathLst>
            </a:custGeom>
            <a:solidFill>
              <a:srgbClr val="FFE17F"/>
            </a:solidFill>
            <a:ln w="15875" cap="flat">
              <a:solidFill>
                <a:srgbClr val="000000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818" name="Arc 7817"/>
          <p:cNvSpPr/>
          <p:nvPr/>
        </p:nvSpPr>
        <p:spPr>
          <a:xfrm>
            <a:off x="1565870" y="3202318"/>
            <a:ext cx="673569" cy="614298"/>
          </a:xfrm>
          <a:prstGeom prst="arc">
            <a:avLst>
              <a:gd name="adj1" fmla="val 11360469"/>
              <a:gd name="adj2" fmla="val 15733053"/>
            </a:avLst>
          </a:prstGeom>
          <a:ln w="15875" cap="sq">
            <a:solidFill>
              <a:srgbClr val="09B89D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819" name="Arc 7818"/>
          <p:cNvSpPr/>
          <p:nvPr/>
        </p:nvSpPr>
        <p:spPr>
          <a:xfrm flipH="1">
            <a:off x="1425150" y="4744974"/>
            <a:ext cx="673569" cy="614298"/>
          </a:xfrm>
          <a:prstGeom prst="arc">
            <a:avLst>
              <a:gd name="adj1" fmla="val 11218309"/>
              <a:gd name="adj2" fmla="val 15733053"/>
            </a:avLst>
          </a:prstGeom>
          <a:ln w="15875" cap="sq">
            <a:solidFill>
              <a:srgbClr val="09B89D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820" name="Arc 7819"/>
          <p:cNvSpPr/>
          <p:nvPr/>
        </p:nvSpPr>
        <p:spPr>
          <a:xfrm>
            <a:off x="4044942" y="2794250"/>
            <a:ext cx="673569" cy="614298"/>
          </a:xfrm>
          <a:prstGeom prst="arc">
            <a:avLst>
              <a:gd name="adj1" fmla="val 14470099"/>
              <a:gd name="adj2" fmla="val 18268838"/>
            </a:avLst>
          </a:prstGeom>
          <a:ln w="15875" cap="sq">
            <a:solidFill>
              <a:srgbClr val="09B89D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7821" name="Straight Arrow Connector 7820"/>
          <p:cNvCxnSpPr/>
          <p:nvPr/>
        </p:nvCxnSpPr>
        <p:spPr>
          <a:xfrm flipV="1">
            <a:off x="6379369" y="2411777"/>
            <a:ext cx="600869" cy="181704"/>
          </a:xfrm>
          <a:prstGeom prst="straightConnector1">
            <a:avLst/>
          </a:prstGeom>
          <a:ln w="15875" cap="sq">
            <a:solidFill>
              <a:srgbClr val="09B89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25" name="Straight Arrow Connector 7824"/>
          <p:cNvCxnSpPr/>
          <p:nvPr/>
        </p:nvCxnSpPr>
        <p:spPr>
          <a:xfrm>
            <a:off x="7837928" y="3291647"/>
            <a:ext cx="0" cy="626388"/>
          </a:xfrm>
          <a:prstGeom prst="straightConnector1">
            <a:avLst/>
          </a:prstGeom>
          <a:ln w="15875" cap="sq">
            <a:solidFill>
              <a:srgbClr val="09B89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828" name="Picture 782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06459" y="250748"/>
            <a:ext cx="1313691" cy="198120"/>
          </a:xfrm>
          <a:prstGeom prst="rect">
            <a:avLst/>
          </a:prstGeom>
        </p:spPr>
      </p:pic>
      <p:sp>
        <p:nvSpPr>
          <p:cNvPr id="8052" name="AutoShape 6216"/>
          <p:cNvSpPr>
            <a:spLocks noChangeAspect="1" noChangeArrowheads="1" noTextEdit="1"/>
          </p:cNvSpPr>
          <p:nvPr/>
        </p:nvSpPr>
        <p:spPr bwMode="auto">
          <a:xfrm>
            <a:off x="4514850" y="4064000"/>
            <a:ext cx="339725" cy="1497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053" name="Freeform 6218"/>
          <p:cNvSpPr>
            <a:spLocks/>
          </p:cNvSpPr>
          <p:nvPr/>
        </p:nvSpPr>
        <p:spPr bwMode="auto">
          <a:xfrm>
            <a:off x="4616450" y="5291138"/>
            <a:ext cx="80963" cy="285750"/>
          </a:xfrm>
          <a:custGeom>
            <a:avLst/>
            <a:gdLst>
              <a:gd name="T0" fmla="*/ 42 w 49"/>
              <a:gd name="T1" fmla="*/ 13 h 175"/>
              <a:gd name="T2" fmla="*/ 12 w 49"/>
              <a:gd name="T3" fmla="*/ 1 h 175"/>
              <a:gd name="T4" fmla="*/ 0 w 49"/>
              <a:gd name="T5" fmla="*/ 159 h 175"/>
              <a:gd name="T6" fmla="*/ 49 w 49"/>
              <a:gd name="T7" fmla="*/ 159 h 175"/>
              <a:gd name="T8" fmla="*/ 42 w 49"/>
              <a:gd name="T9" fmla="*/ 13 h 1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9" h="175">
                <a:moveTo>
                  <a:pt x="42" y="13"/>
                </a:moveTo>
                <a:cubicBezTo>
                  <a:pt x="42" y="13"/>
                  <a:pt x="40" y="0"/>
                  <a:pt x="12" y="1"/>
                </a:cubicBezTo>
                <a:cubicBezTo>
                  <a:pt x="12" y="1"/>
                  <a:pt x="9" y="113"/>
                  <a:pt x="0" y="159"/>
                </a:cubicBezTo>
                <a:cubicBezTo>
                  <a:pt x="0" y="159"/>
                  <a:pt x="27" y="175"/>
                  <a:pt x="49" y="159"/>
                </a:cubicBezTo>
                <a:cubicBezTo>
                  <a:pt x="49" y="159"/>
                  <a:pt x="39" y="94"/>
                  <a:pt x="42" y="13"/>
                </a:cubicBezTo>
                <a:close/>
              </a:path>
            </a:pathLst>
          </a:custGeom>
          <a:solidFill>
            <a:srgbClr val="54350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054" name="Freeform 6219"/>
          <p:cNvSpPr>
            <a:spLocks/>
          </p:cNvSpPr>
          <p:nvPr/>
        </p:nvSpPr>
        <p:spPr bwMode="auto">
          <a:xfrm>
            <a:off x="4551363" y="4851400"/>
            <a:ext cx="196850" cy="212725"/>
          </a:xfrm>
          <a:custGeom>
            <a:avLst/>
            <a:gdLst>
              <a:gd name="T0" fmla="*/ 88 w 120"/>
              <a:gd name="T1" fmla="*/ 38 h 130"/>
              <a:gd name="T2" fmla="*/ 67 w 120"/>
              <a:gd name="T3" fmla="*/ 0 h 130"/>
              <a:gd name="T4" fmla="*/ 46 w 120"/>
              <a:gd name="T5" fmla="*/ 28 h 130"/>
              <a:gd name="T6" fmla="*/ 36 w 120"/>
              <a:gd name="T7" fmla="*/ 73 h 130"/>
              <a:gd name="T8" fmla="*/ 116 w 120"/>
              <a:gd name="T9" fmla="*/ 52 h 130"/>
              <a:gd name="T10" fmla="*/ 88 w 120"/>
              <a:gd name="T11" fmla="*/ 38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20" h="130">
                <a:moveTo>
                  <a:pt x="88" y="38"/>
                </a:moveTo>
                <a:cubicBezTo>
                  <a:pt x="93" y="0"/>
                  <a:pt x="67" y="0"/>
                  <a:pt x="67" y="0"/>
                </a:cubicBezTo>
                <a:cubicBezTo>
                  <a:pt x="44" y="2"/>
                  <a:pt x="46" y="28"/>
                  <a:pt x="46" y="28"/>
                </a:cubicBezTo>
                <a:cubicBezTo>
                  <a:pt x="0" y="52"/>
                  <a:pt x="36" y="73"/>
                  <a:pt x="36" y="73"/>
                </a:cubicBezTo>
                <a:cubicBezTo>
                  <a:pt x="120" y="130"/>
                  <a:pt x="116" y="52"/>
                  <a:pt x="116" y="52"/>
                </a:cubicBezTo>
                <a:cubicBezTo>
                  <a:pt x="111" y="26"/>
                  <a:pt x="88" y="38"/>
                  <a:pt x="88" y="38"/>
                </a:cubicBezTo>
                <a:close/>
              </a:path>
            </a:pathLst>
          </a:custGeom>
          <a:solidFill>
            <a:srgbClr val="5EC3AE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055" name="Freeform 6220"/>
          <p:cNvSpPr>
            <a:spLocks/>
          </p:cNvSpPr>
          <p:nvPr/>
        </p:nvSpPr>
        <p:spPr bwMode="auto">
          <a:xfrm>
            <a:off x="4606925" y="4983163"/>
            <a:ext cx="3175" cy="12700"/>
          </a:xfrm>
          <a:custGeom>
            <a:avLst/>
            <a:gdLst>
              <a:gd name="T0" fmla="*/ 0 w 2"/>
              <a:gd name="T1" fmla="*/ 0 h 7"/>
              <a:gd name="T2" fmla="*/ 2 w 2"/>
              <a:gd name="T3" fmla="*/ 7 h 7"/>
              <a:gd name="T4" fmla="*/ 0 w 2"/>
              <a:gd name="T5" fmla="*/ 0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" h="7">
                <a:moveTo>
                  <a:pt x="0" y="0"/>
                </a:moveTo>
                <a:cubicBezTo>
                  <a:pt x="1" y="2"/>
                  <a:pt x="2" y="4"/>
                  <a:pt x="2" y="7"/>
                </a:cubicBezTo>
                <a:cubicBezTo>
                  <a:pt x="2" y="7"/>
                  <a:pt x="2" y="4"/>
                  <a:pt x="0" y="0"/>
                </a:cubicBezTo>
                <a:close/>
              </a:path>
            </a:pathLst>
          </a:custGeom>
          <a:solidFill>
            <a:srgbClr val="4DA01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056" name="Freeform 6221"/>
          <p:cNvSpPr>
            <a:spLocks/>
          </p:cNvSpPr>
          <p:nvPr/>
        </p:nvSpPr>
        <p:spPr bwMode="auto">
          <a:xfrm>
            <a:off x="4505325" y="4937125"/>
            <a:ext cx="314325" cy="395288"/>
          </a:xfrm>
          <a:custGeom>
            <a:avLst/>
            <a:gdLst>
              <a:gd name="T0" fmla="*/ 156 w 192"/>
              <a:gd name="T1" fmla="*/ 109 h 243"/>
              <a:gd name="T2" fmla="*/ 154 w 192"/>
              <a:gd name="T3" fmla="*/ 89 h 243"/>
              <a:gd name="T4" fmla="*/ 138 w 192"/>
              <a:gd name="T5" fmla="*/ 46 h 243"/>
              <a:gd name="T6" fmla="*/ 131 w 192"/>
              <a:gd name="T7" fmla="*/ 19 h 243"/>
              <a:gd name="T8" fmla="*/ 104 w 192"/>
              <a:gd name="T9" fmla="*/ 33 h 243"/>
              <a:gd name="T10" fmla="*/ 80 w 192"/>
              <a:gd name="T11" fmla="*/ 0 h 243"/>
              <a:gd name="T12" fmla="*/ 62 w 192"/>
              <a:gd name="T13" fmla="*/ 29 h 243"/>
              <a:gd name="T14" fmla="*/ 64 w 192"/>
              <a:gd name="T15" fmla="*/ 36 h 243"/>
              <a:gd name="T16" fmla="*/ 62 w 192"/>
              <a:gd name="T17" fmla="*/ 29 h 243"/>
              <a:gd name="T18" fmla="*/ 49 w 192"/>
              <a:gd name="T19" fmla="*/ 21 h 243"/>
              <a:gd name="T20" fmla="*/ 42 w 192"/>
              <a:gd name="T21" fmla="*/ 54 h 243"/>
              <a:gd name="T22" fmla="*/ 29 w 192"/>
              <a:gd name="T23" fmla="*/ 88 h 243"/>
              <a:gd name="T24" fmla="*/ 22 w 192"/>
              <a:gd name="T25" fmla="*/ 132 h 243"/>
              <a:gd name="T26" fmla="*/ 33 w 192"/>
              <a:gd name="T27" fmla="*/ 167 h 243"/>
              <a:gd name="T28" fmla="*/ 26 w 192"/>
              <a:gd name="T29" fmla="*/ 207 h 243"/>
              <a:gd name="T30" fmla="*/ 87 w 192"/>
              <a:gd name="T31" fmla="*/ 205 h 243"/>
              <a:gd name="T32" fmla="*/ 134 w 192"/>
              <a:gd name="T33" fmla="*/ 207 h 243"/>
              <a:gd name="T34" fmla="*/ 167 w 192"/>
              <a:gd name="T35" fmla="*/ 187 h 243"/>
              <a:gd name="T36" fmla="*/ 161 w 192"/>
              <a:gd name="T37" fmla="*/ 155 h 243"/>
              <a:gd name="T38" fmla="*/ 156 w 192"/>
              <a:gd name="T39" fmla="*/ 109 h 2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92" h="243">
                <a:moveTo>
                  <a:pt x="156" y="109"/>
                </a:moveTo>
                <a:cubicBezTo>
                  <a:pt x="156" y="109"/>
                  <a:pt x="181" y="104"/>
                  <a:pt x="154" y="89"/>
                </a:cubicBezTo>
                <a:cubicBezTo>
                  <a:pt x="154" y="89"/>
                  <a:pt x="188" y="48"/>
                  <a:pt x="138" y="46"/>
                </a:cubicBezTo>
                <a:cubicBezTo>
                  <a:pt x="138" y="46"/>
                  <a:pt x="152" y="29"/>
                  <a:pt x="131" y="19"/>
                </a:cubicBezTo>
                <a:cubicBezTo>
                  <a:pt x="131" y="19"/>
                  <a:pt x="109" y="8"/>
                  <a:pt x="104" y="33"/>
                </a:cubicBezTo>
                <a:cubicBezTo>
                  <a:pt x="104" y="33"/>
                  <a:pt x="106" y="8"/>
                  <a:pt x="80" y="0"/>
                </a:cubicBezTo>
                <a:cubicBezTo>
                  <a:pt x="80" y="0"/>
                  <a:pt x="56" y="2"/>
                  <a:pt x="62" y="29"/>
                </a:cubicBezTo>
                <a:cubicBezTo>
                  <a:pt x="64" y="33"/>
                  <a:pt x="64" y="36"/>
                  <a:pt x="64" y="36"/>
                </a:cubicBezTo>
                <a:cubicBezTo>
                  <a:pt x="64" y="33"/>
                  <a:pt x="63" y="31"/>
                  <a:pt x="62" y="29"/>
                </a:cubicBezTo>
                <a:cubicBezTo>
                  <a:pt x="60" y="24"/>
                  <a:pt x="56" y="18"/>
                  <a:pt x="49" y="21"/>
                </a:cubicBezTo>
                <a:cubicBezTo>
                  <a:pt x="49" y="21"/>
                  <a:pt x="31" y="32"/>
                  <a:pt x="42" y="54"/>
                </a:cubicBezTo>
                <a:cubicBezTo>
                  <a:pt x="42" y="54"/>
                  <a:pt x="17" y="56"/>
                  <a:pt x="29" y="88"/>
                </a:cubicBezTo>
                <a:cubicBezTo>
                  <a:pt x="29" y="88"/>
                  <a:pt x="0" y="103"/>
                  <a:pt x="22" y="132"/>
                </a:cubicBezTo>
                <a:cubicBezTo>
                  <a:pt x="22" y="132"/>
                  <a:pt x="7" y="147"/>
                  <a:pt x="33" y="167"/>
                </a:cubicBezTo>
                <a:cubicBezTo>
                  <a:pt x="33" y="167"/>
                  <a:pt x="8" y="182"/>
                  <a:pt x="26" y="207"/>
                </a:cubicBezTo>
                <a:cubicBezTo>
                  <a:pt x="26" y="207"/>
                  <a:pt x="52" y="243"/>
                  <a:pt x="87" y="205"/>
                </a:cubicBezTo>
                <a:cubicBezTo>
                  <a:pt x="87" y="205"/>
                  <a:pt x="96" y="185"/>
                  <a:pt x="134" y="207"/>
                </a:cubicBezTo>
                <a:cubicBezTo>
                  <a:pt x="134" y="207"/>
                  <a:pt x="154" y="215"/>
                  <a:pt x="167" y="187"/>
                </a:cubicBezTo>
                <a:cubicBezTo>
                  <a:pt x="167" y="187"/>
                  <a:pt x="175" y="167"/>
                  <a:pt x="161" y="155"/>
                </a:cubicBezTo>
                <a:cubicBezTo>
                  <a:pt x="161" y="155"/>
                  <a:pt x="192" y="128"/>
                  <a:pt x="156" y="109"/>
                </a:cubicBezTo>
                <a:close/>
              </a:path>
            </a:pathLst>
          </a:custGeom>
          <a:solidFill>
            <a:srgbClr val="09B89D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057" name="Freeform 6222"/>
          <p:cNvSpPr>
            <a:spLocks/>
          </p:cNvSpPr>
          <p:nvPr/>
        </p:nvSpPr>
        <p:spPr bwMode="auto">
          <a:xfrm>
            <a:off x="4564063" y="5048250"/>
            <a:ext cx="207963" cy="342900"/>
          </a:xfrm>
          <a:custGeom>
            <a:avLst/>
            <a:gdLst>
              <a:gd name="T0" fmla="*/ 95 w 127"/>
              <a:gd name="T1" fmla="*/ 91 h 210"/>
              <a:gd name="T2" fmla="*/ 95 w 127"/>
              <a:gd name="T3" fmla="*/ 48 h 210"/>
              <a:gd name="T4" fmla="*/ 82 w 127"/>
              <a:gd name="T5" fmla="*/ 7 h 210"/>
              <a:gd name="T6" fmla="*/ 51 w 127"/>
              <a:gd name="T7" fmla="*/ 29 h 210"/>
              <a:gd name="T8" fmla="*/ 18 w 127"/>
              <a:gd name="T9" fmla="*/ 38 h 210"/>
              <a:gd name="T10" fmla="*/ 24 w 127"/>
              <a:gd name="T11" fmla="*/ 59 h 210"/>
              <a:gd name="T12" fmla="*/ 19 w 127"/>
              <a:gd name="T13" fmla="*/ 97 h 210"/>
              <a:gd name="T14" fmla="*/ 0 w 127"/>
              <a:gd name="T15" fmla="*/ 124 h 210"/>
              <a:gd name="T16" fmla="*/ 17 w 127"/>
              <a:gd name="T17" fmla="*/ 139 h 210"/>
              <a:gd name="T18" fmla="*/ 41 w 127"/>
              <a:gd name="T19" fmla="*/ 163 h 210"/>
              <a:gd name="T20" fmla="*/ 89 w 127"/>
              <a:gd name="T21" fmla="*/ 162 h 210"/>
              <a:gd name="T22" fmla="*/ 98 w 127"/>
              <a:gd name="T23" fmla="*/ 129 h 210"/>
              <a:gd name="T24" fmla="*/ 95 w 127"/>
              <a:gd name="T25" fmla="*/ 91 h 2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27" h="210">
                <a:moveTo>
                  <a:pt x="95" y="91"/>
                </a:moveTo>
                <a:cubicBezTo>
                  <a:pt x="95" y="91"/>
                  <a:pt x="126" y="74"/>
                  <a:pt x="95" y="48"/>
                </a:cubicBezTo>
                <a:cubicBezTo>
                  <a:pt x="95" y="48"/>
                  <a:pt x="109" y="25"/>
                  <a:pt x="82" y="7"/>
                </a:cubicBezTo>
                <a:cubicBezTo>
                  <a:pt x="82" y="7"/>
                  <a:pt x="57" y="0"/>
                  <a:pt x="51" y="29"/>
                </a:cubicBezTo>
                <a:cubicBezTo>
                  <a:pt x="51" y="29"/>
                  <a:pt x="35" y="10"/>
                  <a:pt x="18" y="38"/>
                </a:cubicBezTo>
                <a:cubicBezTo>
                  <a:pt x="18" y="38"/>
                  <a:pt x="14" y="51"/>
                  <a:pt x="24" y="59"/>
                </a:cubicBezTo>
                <a:cubicBezTo>
                  <a:pt x="24" y="59"/>
                  <a:pt x="3" y="71"/>
                  <a:pt x="19" y="97"/>
                </a:cubicBezTo>
                <a:cubicBezTo>
                  <a:pt x="19" y="97"/>
                  <a:pt x="3" y="94"/>
                  <a:pt x="0" y="124"/>
                </a:cubicBezTo>
                <a:cubicBezTo>
                  <a:pt x="0" y="124"/>
                  <a:pt x="1" y="139"/>
                  <a:pt x="17" y="139"/>
                </a:cubicBezTo>
                <a:cubicBezTo>
                  <a:pt x="17" y="139"/>
                  <a:pt x="4" y="174"/>
                  <a:pt x="41" y="163"/>
                </a:cubicBezTo>
                <a:cubicBezTo>
                  <a:pt x="41" y="163"/>
                  <a:pt x="59" y="210"/>
                  <a:pt x="89" y="162"/>
                </a:cubicBezTo>
                <a:cubicBezTo>
                  <a:pt x="89" y="162"/>
                  <a:pt x="123" y="153"/>
                  <a:pt x="98" y="129"/>
                </a:cubicBezTo>
                <a:cubicBezTo>
                  <a:pt x="98" y="129"/>
                  <a:pt x="127" y="112"/>
                  <a:pt x="95" y="91"/>
                </a:cubicBezTo>
                <a:close/>
              </a:path>
            </a:pathLst>
          </a:custGeom>
          <a:solidFill>
            <a:srgbClr val="5EC3AE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058" name="Freeform 6223"/>
          <p:cNvSpPr>
            <a:spLocks/>
          </p:cNvSpPr>
          <p:nvPr/>
        </p:nvSpPr>
        <p:spPr bwMode="auto">
          <a:xfrm>
            <a:off x="4649788" y="4591050"/>
            <a:ext cx="69850" cy="176213"/>
          </a:xfrm>
          <a:custGeom>
            <a:avLst/>
            <a:gdLst>
              <a:gd name="T0" fmla="*/ 33 w 43"/>
              <a:gd name="T1" fmla="*/ 0 h 108"/>
              <a:gd name="T2" fmla="*/ 30 w 43"/>
              <a:gd name="T3" fmla="*/ 0 h 108"/>
              <a:gd name="T4" fmla="*/ 14 w 43"/>
              <a:gd name="T5" fmla="*/ 0 h 108"/>
              <a:gd name="T6" fmla="*/ 10 w 43"/>
              <a:gd name="T7" fmla="*/ 0 h 108"/>
              <a:gd name="T8" fmla="*/ 0 w 43"/>
              <a:gd name="T9" fmla="*/ 108 h 108"/>
              <a:gd name="T10" fmla="*/ 14 w 43"/>
              <a:gd name="T11" fmla="*/ 108 h 108"/>
              <a:gd name="T12" fmla="*/ 30 w 43"/>
              <a:gd name="T13" fmla="*/ 108 h 108"/>
              <a:gd name="T14" fmla="*/ 43 w 43"/>
              <a:gd name="T15" fmla="*/ 108 h 108"/>
              <a:gd name="T16" fmla="*/ 33 w 43"/>
              <a:gd name="T17" fmla="*/ 0 h 1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3" h="108">
                <a:moveTo>
                  <a:pt x="33" y="0"/>
                </a:moveTo>
                <a:cubicBezTo>
                  <a:pt x="30" y="0"/>
                  <a:pt x="30" y="0"/>
                  <a:pt x="30" y="0"/>
                </a:cubicBezTo>
                <a:cubicBezTo>
                  <a:pt x="14" y="0"/>
                  <a:pt x="14" y="0"/>
                  <a:pt x="14" y="0"/>
                </a:cubicBezTo>
                <a:cubicBezTo>
                  <a:pt x="10" y="0"/>
                  <a:pt x="10" y="0"/>
                  <a:pt x="10" y="0"/>
                </a:cubicBezTo>
                <a:cubicBezTo>
                  <a:pt x="10" y="0"/>
                  <a:pt x="3" y="69"/>
                  <a:pt x="0" y="108"/>
                </a:cubicBezTo>
                <a:cubicBezTo>
                  <a:pt x="14" y="108"/>
                  <a:pt x="14" y="108"/>
                  <a:pt x="14" y="108"/>
                </a:cubicBezTo>
                <a:cubicBezTo>
                  <a:pt x="30" y="108"/>
                  <a:pt x="30" y="108"/>
                  <a:pt x="30" y="108"/>
                </a:cubicBezTo>
                <a:cubicBezTo>
                  <a:pt x="43" y="108"/>
                  <a:pt x="43" y="108"/>
                  <a:pt x="43" y="108"/>
                </a:cubicBezTo>
                <a:cubicBezTo>
                  <a:pt x="40" y="69"/>
                  <a:pt x="33" y="0"/>
                  <a:pt x="33" y="0"/>
                </a:cubicBezTo>
                <a:close/>
              </a:path>
            </a:pathLst>
          </a:custGeom>
          <a:solidFill>
            <a:srgbClr val="54350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059" name="Freeform 6224"/>
          <p:cNvSpPr>
            <a:spLocks/>
          </p:cNvSpPr>
          <p:nvPr/>
        </p:nvSpPr>
        <p:spPr bwMode="auto">
          <a:xfrm>
            <a:off x="4514850" y="4064000"/>
            <a:ext cx="339725" cy="538163"/>
          </a:xfrm>
          <a:custGeom>
            <a:avLst/>
            <a:gdLst>
              <a:gd name="T0" fmla="*/ 170 w 207"/>
              <a:gd name="T1" fmla="*/ 236 h 330"/>
              <a:gd name="T2" fmla="*/ 193 w 207"/>
              <a:gd name="T3" fmla="*/ 229 h 330"/>
              <a:gd name="T4" fmla="*/ 160 w 207"/>
              <a:gd name="T5" fmla="*/ 184 h 330"/>
              <a:gd name="T6" fmla="*/ 179 w 207"/>
              <a:gd name="T7" fmla="*/ 172 h 330"/>
              <a:gd name="T8" fmla="*/ 149 w 207"/>
              <a:gd name="T9" fmla="*/ 146 h 330"/>
              <a:gd name="T10" fmla="*/ 165 w 207"/>
              <a:gd name="T11" fmla="*/ 135 h 330"/>
              <a:gd name="T12" fmla="*/ 130 w 207"/>
              <a:gd name="T13" fmla="*/ 93 h 330"/>
              <a:gd name="T14" fmla="*/ 150 w 207"/>
              <a:gd name="T15" fmla="*/ 93 h 330"/>
              <a:gd name="T16" fmla="*/ 104 w 207"/>
              <a:gd name="T17" fmla="*/ 0 h 330"/>
              <a:gd name="T18" fmla="*/ 57 w 207"/>
              <a:gd name="T19" fmla="*/ 93 h 330"/>
              <a:gd name="T20" fmla="*/ 78 w 207"/>
              <a:gd name="T21" fmla="*/ 93 h 330"/>
              <a:gd name="T22" fmla="*/ 42 w 207"/>
              <a:gd name="T23" fmla="*/ 135 h 330"/>
              <a:gd name="T24" fmla="*/ 58 w 207"/>
              <a:gd name="T25" fmla="*/ 146 h 330"/>
              <a:gd name="T26" fmla="*/ 29 w 207"/>
              <a:gd name="T27" fmla="*/ 172 h 330"/>
              <a:gd name="T28" fmla="*/ 48 w 207"/>
              <a:gd name="T29" fmla="*/ 184 h 330"/>
              <a:gd name="T30" fmla="*/ 14 w 207"/>
              <a:gd name="T31" fmla="*/ 229 h 330"/>
              <a:gd name="T32" fmla="*/ 38 w 207"/>
              <a:gd name="T33" fmla="*/ 236 h 330"/>
              <a:gd name="T34" fmla="*/ 0 w 207"/>
              <a:gd name="T35" fmla="*/ 312 h 330"/>
              <a:gd name="T36" fmla="*/ 104 w 207"/>
              <a:gd name="T37" fmla="*/ 330 h 330"/>
              <a:gd name="T38" fmla="*/ 207 w 207"/>
              <a:gd name="T39" fmla="*/ 312 h 330"/>
              <a:gd name="T40" fmla="*/ 170 w 207"/>
              <a:gd name="T41" fmla="*/ 236 h 3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07" h="330">
                <a:moveTo>
                  <a:pt x="170" y="236"/>
                </a:moveTo>
                <a:cubicBezTo>
                  <a:pt x="181" y="239"/>
                  <a:pt x="193" y="229"/>
                  <a:pt x="193" y="229"/>
                </a:cubicBezTo>
                <a:cubicBezTo>
                  <a:pt x="189" y="228"/>
                  <a:pt x="160" y="184"/>
                  <a:pt x="160" y="184"/>
                </a:cubicBezTo>
                <a:cubicBezTo>
                  <a:pt x="172" y="186"/>
                  <a:pt x="179" y="172"/>
                  <a:pt x="179" y="172"/>
                </a:cubicBezTo>
                <a:cubicBezTo>
                  <a:pt x="168" y="171"/>
                  <a:pt x="149" y="146"/>
                  <a:pt x="149" y="146"/>
                </a:cubicBezTo>
                <a:cubicBezTo>
                  <a:pt x="159" y="146"/>
                  <a:pt x="165" y="135"/>
                  <a:pt x="165" y="135"/>
                </a:cubicBezTo>
                <a:cubicBezTo>
                  <a:pt x="152" y="128"/>
                  <a:pt x="130" y="93"/>
                  <a:pt x="130" y="93"/>
                </a:cubicBezTo>
                <a:cubicBezTo>
                  <a:pt x="139" y="94"/>
                  <a:pt x="150" y="93"/>
                  <a:pt x="150" y="93"/>
                </a:cubicBezTo>
                <a:cubicBezTo>
                  <a:pt x="128" y="69"/>
                  <a:pt x="104" y="0"/>
                  <a:pt x="104" y="0"/>
                </a:cubicBezTo>
                <a:cubicBezTo>
                  <a:pt x="104" y="0"/>
                  <a:pt x="79" y="69"/>
                  <a:pt x="57" y="93"/>
                </a:cubicBezTo>
                <a:cubicBezTo>
                  <a:pt x="57" y="93"/>
                  <a:pt x="68" y="94"/>
                  <a:pt x="78" y="93"/>
                </a:cubicBezTo>
                <a:cubicBezTo>
                  <a:pt x="78" y="93"/>
                  <a:pt x="55" y="128"/>
                  <a:pt x="42" y="135"/>
                </a:cubicBezTo>
                <a:cubicBezTo>
                  <a:pt x="42" y="135"/>
                  <a:pt x="48" y="146"/>
                  <a:pt x="58" y="146"/>
                </a:cubicBezTo>
                <a:cubicBezTo>
                  <a:pt x="58" y="146"/>
                  <a:pt x="39" y="171"/>
                  <a:pt x="29" y="172"/>
                </a:cubicBezTo>
                <a:cubicBezTo>
                  <a:pt x="29" y="172"/>
                  <a:pt x="35" y="186"/>
                  <a:pt x="48" y="184"/>
                </a:cubicBezTo>
                <a:cubicBezTo>
                  <a:pt x="48" y="184"/>
                  <a:pt x="18" y="228"/>
                  <a:pt x="14" y="229"/>
                </a:cubicBezTo>
                <a:cubicBezTo>
                  <a:pt x="14" y="229"/>
                  <a:pt x="26" y="239"/>
                  <a:pt x="38" y="236"/>
                </a:cubicBezTo>
                <a:cubicBezTo>
                  <a:pt x="38" y="236"/>
                  <a:pt x="18" y="300"/>
                  <a:pt x="0" y="312"/>
                </a:cubicBezTo>
                <a:cubicBezTo>
                  <a:pt x="0" y="312"/>
                  <a:pt x="36" y="330"/>
                  <a:pt x="104" y="330"/>
                </a:cubicBezTo>
                <a:cubicBezTo>
                  <a:pt x="172" y="330"/>
                  <a:pt x="207" y="312"/>
                  <a:pt x="207" y="312"/>
                </a:cubicBezTo>
                <a:cubicBezTo>
                  <a:pt x="190" y="300"/>
                  <a:pt x="170" y="236"/>
                  <a:pt x="170" y="236"/>
                </a:cubicBezTo>
                <a:close/>
              </a:path>
            </a:pathLst>
          </a:custGeom>
          <a:solidFill>
            <a:srgbClr val="09B89D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8076" name="Group 8075"/>
          <p:cNvGrpSpPr/>
          <p:nvPr/>
        </p:nvGrpSpPr>
        <p:grpSpPr>
          <a:xfrm>
            <a:off x="1764604" y="6048054"/>
            <a:ext cx="376237" cy="479152"/>
            <a:chOff x="3591719" y="5970382"/>
            <a:chExt cx="376237" cy="479152"/>
          </a:xfrm>
        </p:grpSpPr>
        <p:sp>
          <p:nvSpPr>
            <p:cNvPr id="8077" name="AutoShape 3"/>
            <p:cNvSpPr>
              <a:spLocks noChangeAspect="1" noChangeArrowheads="1" noTextEdit="1"/>
            </p:cNvSpPr>
            <p:nvPr/>
          </p:nvSpPr>
          <p:spPr bwMode="auto">
            <a:xfrm>
              <a:off x="3611099" y="5975060"/>
              <a:ext cx="336141" cy="4731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078" name="Freeform 5"/>
            <p:cNvSpPr>
              <a:spLocks/>
            </p:cNvSpPr>
            <p:nvPr/>
          </p:nvSpPr>
          <p:spPr bwMode="auto">
            <a:xfrm>
              <a:off x="3591719" y="5984416"/>
              <a:ext cx="174419" cy="263300"/>
            </a:xfrm>
            <a:custGeom>
              <a:avLst/>
              <a:gdLst>
                <a:gd name="T0" fmla="*/ 23 w 109"/>
                <a:gd name="T1" fmla="*/ 78 h 165"/>
                <a:gd name="T2" fmla="*/ 42 w 109"/>
                <a:gd name="T3" fmla="*/ 51 h 165"/>
                <a:gd name="T4" fmla="*/ 59 w 109"/>
                <a:gd name="T5" fmla="*/ 31 h 165"/>
                <a:gd name="T6" fmla="*/ 88 w 109"/>
                <a:gd name="T7" fmla="*/ 15 h 165"/>
                <a:gd name="T8" fmla="*/ 88 w 109"/>
                <a:gd name="T9" fmla="*/ 66 h 165"/>
                <a:gd name="T10" fmla="*/ 72 w 109"/>
                <a:gd name="T11" fmla="*/ 109 h 165"/>
                <a:gd name="T12" fmla="*/ 61 w 109"/>
                <a:gd name="T13" fmla="*/ 137 h 165"/>
                <a:gd name="T14" fmla="*/ 43 w 109"/>
                <a:gd name="T15" fmla="*/ 165 h 165"/>
                <a:gd name="T16" fmla="*/ 30 w 109"/>
                <a:gd name="T17" fmla="*/ 143 h 165"/>
                <a:gd name="T18" fmla="*/ 23 w 109"/>
                <a:gd name="T19" fmla="*/ 109 h 165"/>
                <a:gd name="T20" fmla="*/ 23 w 109"/>
                <a:gd name="T21" fmla="*/ 78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9" h="165">
                  <a:moveTo>
                    <a:pt x="23" y="78"/>
                  </a:moveTo>
                  <a:cubicBezTo>
                    <a:pt x="11" y="41"/>
                    <a:pt x="42" y="51"/>
                    <a:pt x="42" y="51"/>
                  </a:cubicBezTo>
                  <a:cubicBezTo>
                    <a:pt x="40" y="29"/>
                    <a:pt x="59" y="31"/>
                    <a:pt x="59" y="31"/>
                  </a:cubicBezTo>
                  <a:cubicBezTo>
                    <a:pt x="62" y="0"/>
                    <a:pt x="88" y="15"/>
                    <a:pt x="88" y="15"/>
                  </a:cubicBezTo>
                  <a:cubicBezTo>
                    <a:pt x="102" y="24"/>
                    <a:pt x="88" y="66"/>
                    <a:pt x="88" y="66"/>
                  </a:cubicBezTo>
                  <a:cubicBezTo>
                    <a:pt x="109" y="82"/>
                    <a:pt x="72" y="109"/>
                    <a:pt x="72" y="109"/>
                  </a:cubicBezTo>
                  <a:cubicBezTo>
                    <a:pt x="88" y="127"/>
                    <a:pt x="61" y="137"/>
                    <a:pt x="61" y="137"/>
                  </a:cubicBezTo>
                  <a:cubicBezTo>
                    <a:pt x="65" y="164"/>
                    <a:pt x="43" y="165"/>
                    <a:pt x="43" y="165"/>
                  </a:cubicBezTo>
                  <a:cubicBezTo>
                    <a:pt x="25" y="163"/>
                    <a:pt x="30" y="143"/>
                    <a:pt x="30" y="143"/>
                  </a:cubicBezTo>
                  <a:cubicBezTo>
                    <a:pt x="3" y="132"/>
                    <a:pt x="23" y="109"/>
                    <a:pt x="23" y="109"/>
                  </a:cubicBezTo>
                  <a:cubicBezTo>
                    <a:pt x="0" y="92"/>
                    <a:pt x="23" y="78"/>
                    <a:pt x="23" y="78"/>
                  </a:cubicBezTo>
                  <a:close/>
                </a:path>
              </a:pathLst>
            </a:custGeom>
            <a:solidFill>
              <a:srgbClr val="09B89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079" name="Freeform 6"/>
            <p:cNvSpPr>
              <a:spLocks/>
            </p:cNvSpPr>
            <p:nvPr/>
          </p:nvSpPr>
          <p:spPr bwMode="auto">
            <a:xfrm>
              <a:off x="3726042" y="6226999"/>
              <a:ext cx="82197" cy="222535"/>
            </a:xfrm>
            <a:custGeom>
              <a:avLst/>
              <a:gdLst>
                <a:gd name="T0" fmla="*/ 4 w 51"/>
                <a:gd name="T1" fmla="*/ 12 h 140"/>
                <a:gd name="T2" fmla="*/ 18 w 51"/>
                <a:gd name="T3" fmla="*/ 38 h 140"/>
                <a:gd name="T4" fmla="*/ 19 w 51"/>
                <a:gd name="T5" fmla="*/ 39 h 140"/>
                <a:gd name="T6" fmla="*/ 18 w 51"/>
                <a:gd name="T7" fmla="*/ 38 h 140"/>
                <a:gd name="T8" fmla="*/ 23 w 51"/>
                <a:gd name="T9" fmla="*/ 0 h 140"/>
                <a:gd name="T10" fmla="*/ 32 w 51"/>
                <a:gd name="T11" fmla="*/ 5 h 140"/>
                <a:gd name="T12" fmla="*/ 26 w 51"/>
                <a:gd name="T13" fmla="*/ 46 h 140"/>
                <a:gd name="T14" fmla="*/ 26 w 51"/>
                <a:gd name="T15" fmla="*/ 48 h 140"/>
                <a:gd name="T16" fmla="*/ 26 w 51"/>
                <a:gd name="T17" fmla="*/ 46 h 140"/>
                <a:gd name="T18" fmla="*/ 50 w 51"/>
                <a:gd name="T19" fmla="*/ 6 h 140"/>
                <a:gd name="T20" fmla="*/ 51 w 51"/>
                <a:gd name="T21" fmla="*/ 19 h 140"/>
                <a:gd name="T22" fmla="*/ 32 w 51"/>
                <a:gd name="T23" fmla="*/ 63 h 140"/>
                <a:gd name="T24" fmla="*/ 35 w 51"/>
                <a:gd name="T25" fmla="*/ 137 h 140"/>
                <a:gd name="T26" fmla="*/ 19 w 51"/>
                <a:gd name="T27" fmla="*/ 140 h 140"/>
                <a:gd name="T28" fmla="*/ 7 w 51"/>
                <a:gd name="T29" fmla="*/ 138 h 140"/>
                <a:gd name="T30" fmla="*/ 4 w 51"/>
                <a:gd name="T31" fmla="*/ 137 h 140"/>
                <a:gd name="T32" fmla="*/ 10 w 51"/>
                <a:gd name="T33" fmla="*/ 81 h 140"/>
                <a:gd name="T34" fmla="*/ 0 w 51"/>
                <a:gd name="T35" fmla="*/ 25 h 140"/>
                <a:gd name="T36" fmla="*/ 4 w 51"/>
                <a:gd name="T37" fmla="*/ 12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1" h="140">
                  <a:moveTo>
                    <a:pt x="4" y="12"/>
                  </a:moveTo>
                  <a:cubicBezTo>
                    <a:pt x="14" y="21"/>
                    <a:pt x="18" y="34"/>
                    <a:pt x="18" y="38"/>
                  </a:cubicBezTo>
                  <a:cubicBezTo>
                    <a:pt x="18" y="39"/>
                    <a:pt x="19" y="39"/>
                    <a:pt x="19" y="39"/>
                  </a:cubicBezTo>
                  <a:cubicBezTo>
                    <a:pt x="19" y="39"/>
                    <a:pt x="19" y="39"/>
                    <a:pt x="18" y="38"/>
                  </a:cubicBezTo>
                  <a:cubicBezTo>
                    <a:pt x="18" y="32"/>
                    <a:pt x="23" y="0"/>
                    <a:pt x="23" y="0"/>
                  </a:cubicBezTo>
                  <a:cubicBezTo>
                    <a:pt x="32" y="5"/>
                    <a:pt x="32" y="5"/>
                    <a:pt x="32" y="5"/>
                  </a:cubicBezTo>
                  <a:cubicBezTo>
                    <a:pt x="28" y="11"/>
                    <a:pt x="26" y="38"/>
                    <a:pt x="26" y="46"/>
                  </a:cubicBezTo>
                  <a:cubicBezTo>
                    <a:pt x="26" y="47"/>
                    <a:pt x="26" y="47"/>
                    <a:pt x="26" y="48"/>
                  </a:cubicBezTo>
                  <a:cubicBezTo>
                    <a:pt x="26" y="48"/>
                    <a:pt x="26" y="47"/>
                    <a:pt x="26" y="46"/>
                  </a:cubicBezTo>
                  <a:cubicBezTo>
                    <a:pt x="28" y="29"/>
                    <a:pt x="50" y="6"/>
                    <a:pt x="50" y="6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44" y="21"/>
                    <a:pt x="37" y="41"/>
                    <a:pt x="32" y="63"/>
                  </a:cubicBezTo>
                  <a:cubicBezTo>
                    <a:pt x="27" y="85"/>
                    <a:pt x="35" y="137"/>
                    <a:pt x="35" y="137"/>
                  </a:cubicBezTo>
                  <a:cubicBezTo>
                    <a:pt x="35" y="137"/>
                    <a:pt x="23" y="140"/>
                    <a:pt x="19" y="140"/>
                  </a:cubicBezTo>
                  <a:cubicBezTo>
                    <a:pt x="16" y="140"/>
                    <a:pt x="7" y="138"/>
                    <a:pt x="7" y="138"/>
                  </a:cubicBezTo>
                  <a:cubicBezTo>
                    <a:pt x="4" y="137"/>
                    <a:pt x="4" y="137"/>
                    <a:pt x="4" y="137"/>
                  </a:cubicBezTo>
                  <a:cubicBezTo>
                    <a:pt x="7" y="130"/>
                    <a:pt x="10" y="81"/>
                    <a:pt x="10" y="81"/>
                  </a:cubicBezTo>
                  <a:cubicBezTo>
                    <a:pt x="13" y="38"/>
                    <a:pt x="0" y="25"/>
                    <a:pt x="0" y="25"/>
                  </a:cubicBezTo>
                  <a:lnTo>
                    <a:pt x="4" y="12"/>
                  </a:lnTo>
                  <a:close/>
                </a:path>
              </a:pathLst>
            </a:custGeom>
            <a:solidFill>
              <a:srgbClr val="543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080" name="Freeform 7"/>
            <p:cNvSpPr>
              <a:spLocks/>
            </p:cNvSpPr>
            <p:nvPr/>
          </p:nvSpPr>
          <p:spPr bwMode="auto">
            <a:xfrm>
              <a:off x="3754777" y="6287143"/>
              <a:ext cx="2005" cy="2005"/>
            </a:xfrm>
            <a:custGeom>
              <a:avLst/>
              <a:gdLst>
                <a:gd name="T0" fmla="*/ 0 w 1"/>
                <a:gd name="T1" fmla="*/ 0 h 1"/>
                <a:gd name="T2" fmla="*/ 1 w 1"/>
                <a:gd name="T3" fmla="*/ 1 h 1"/>
                <a:gd name="T4" fmla="*/ 0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0" y="1"/>
                    <a:pt x="0" y="0"/>
                  </a:cubicBezTo>
                  <a:close/>
                </a:path>
              </a:pathLst>
            </a:custGeom>
            <a:solidFill>
              <a:srgbClr val="543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081" name="Freeform 8"/>
            <p:cNvSpPr>
              <a:spLocks/>
            </p:cNvSpPr>
            <p:nvPr/>
          </p:nvSpPr>
          <p:spPr bwMode="auto">
            <a:xfrm>
              <a:off x="3768143" y="6299840"/>
              <a:ext cx="0" cy="3342"/>
            </a:xfrm>
            <a:custGeom>
              <a:avLst/>
              <a:gdLst>
                <a:gd name="T0" fmla="*/ 0 h 2"/>
                <a:gd name="T1" fmla="*/ 2 h 2"/>
                <a:gd name="T2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1"/>
                    <a:pt x="0" y="1"/>
                    <a:pt x="0" y="0"/>
                  </a:cubicBezTo>
                  <a:close/>
                </a:path>
              </a:pathLst>
            </a:custGeom>
            <a:solidFill>
              <a:srgbClr val="543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082" name="Freeform 9"/>
            <p:cNvSpPr>
              <a:spLocks/>
            </p:cNvSpPr>
            <p:nvPr/>
          </p:nvSpPr>
          <p:spPr bwMode="auto">
            <a:xfrm>
              <a:off x="3638498" y="6092676"/>
              <a:ext cx="87544" cy="126304"/>
            </a:xfrm>
            <a:custGeom>
              <a:avLst/>
              <a:gdLst>
                <a:gd name="T0" fmla="*/ 18 w 55"/>
                <a:gd name="T1" fmla="*/ 26 h 79"/>
                <a:gd name="T2" fmla="*/ 36 w 55"/>
                <a:gd name="T3" fmla="*/ 6 h 79"/>
                <a:gd name="T4" fmla="*/ 32 w 55"/>
                <a:gd name="T5" fmla="*/ 73 h 79"/>
                <a:gd name="T6" fmla="*/ 16 w 55"/>
                <a:gd name="T7" fmla="*/ 51 h 79"/>
                <a:gd name="T8" fmla="*/ 18 w 55"/>
                <a:gd name="T9" fmla="*/ 2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79">
                  <a:moveTo>
                    <a:pt x="18" y="26"/>
                  </a:moveTo>
                  <a:cubicBezTo>
                    <a:pt x="7" y="0"/>
                    <a:pt x="36" y="6"/>
                    <a:pt x="36" y="6"/>
                  </a:cubicBezTo>
                  <a:cubicBezTo>
                    <a:pt x="55" y="10"/>
                    <a:pt x="32" y="73"/>
                    <a:pt x="32" y="73"/>
                  </a:cubicBezTo>
                  <a:cubicBezTo>
                    <a:pt x="5" y="79"/>
                    <a:pt x="16" y="51"/>
                    <a:pt x="16" y="51"/>
                  </a:cubicBezTo>
                  <a:cubicBezTo>
                    <a:pt x="0" y="35"/>
                    <a:pt x="18" y="26"/>
                    <a:pt x="18" y="26"/>
                  </a:cubicBezTo>
                  <a:close/>
                </a:path>
              </a:pathLst>
            </a:custGeom>
            <a:solidFill>
              <a:srgbClr val="5EC3A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083" name="Freeform 10"/>
            <p:cNvSpPr>
              <a:spLocks/>
            </p:cNvSpPr>
            <p:nvPr/>
          </p:nvSpPr>
          <p:spPr bwMode="auto">
            <a:xfrm>
              <a:off x="3729383" y="6051243"/>
              <a:ext cx="4678" cy="2005"/>
            </a:xfrm>
            <a:custGeom>
              <a:avLst/>
              <a:gdLst>
                <a:gd name="T0" fmla="*/ 0 w 3"/>
                <a:gd name="T1" fmla="*/ 0 h 1"/>
                <a:gd name="T2" fmla="*/ 3 w 3"/>
                <a:gd name="T3" fmla="*/ 1 h 1"/>
                <a:gd name="T4" fmla="*/ 0 w 3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1">
                  <a:moveTo>
                    <a:pt x="0" y="0"/>
                  </a:moveTo>
                  <a:cubicBezTo>
                    <a:pt x="2" y="0"/>
                    <a:pt x="3" y="1"/>
                    <a:pt x="3" y="1"/>
                  </a:cubicBezTo>
                  <a:cubicBezTo>
                    <a:pt x="2" y="1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084" name="Freeform 11"/>
            <p:cNvSpPr>
              <a:spLocks/>
            </p:cNvSpPr>
            <p:nvPr/>
          </p:nvSpPr>
          <p:spPr bwMode="auto">
            <a:xfrm>
              <a:off x="3691291" y="5970382"/>
              <a:ext cx="142342" cy="173751"/>
            </a:xfrm>
            <a:custGeom>
              <a:avLst/>
              <a:gdLst>
                <a:gd name="T0" fmla="*/ 12 w 89"/>
                <a:gd name="T1" fmla="*/ 77 h 109"/>
                <a:gd name="T2" fmla="*/ 9 w 89"/>
                <a:gd name="T3" fmla="*/ 60 h 109"/>
                <a:gd name="T4" fmla="*/ 24 w 89"/>
                <a:gd name="T5" fmla="*/ 51 h 109"/>
                <a:gd name="T6" fmla="*/ 27 w 89"/>
                <a:gd name="T7" fmla="*/ 52 h 109"/>
                <a:gd name="T8" fmla="*/ 24 w 89"/>
                <a:gd name="T9" fmla="*/ 51 h 109"/>
                <a:gd name="T10" fmla="*/ 20 w 89"/>
                <a:gd name="T11" fmla="*/ 33 h 109"/>
                <a:gd name="T12" fmla="*/ 46 w 89"/>
                <a:gd name="T13" fmla="*/ 19 h 109"/>
                <a:gd name="T14" fmla="*/ 67 w 89"/>
                <a:gd name="T15" fmla="*/ 3 h 109"/>
                <a:gd name="T16" fmla="*/ 79 w 89"/>
                <a:gd name="T17" fmla="*/ 19 h 109"/>
                <a:gd name="T18" fmla="*/ 71 w 89"/>
                <a:gd name="T19" fmla="*/ 40 h 109"/>
                <a:gd name="T20" fmla="*/ 59 w 89"/>
                <a:gd name="T21" fmla="*/ 59 h 109"/>
                <a:gd name="T22" fmla="*/ 45 w 89"/>
                <a:gd name="T23" fmla="*/ 83 h 109"/>
                <a:gd name="T24" fmla="*/ 23 w 89"/>
                <a:gd name="T25" fmla="*/ 107 h 109"/>
                <a:gd name="T26" fmla="*/ 3 w 89"/>
                <a:gd name="T27" fmla="*/ 94 h 109"/>
                <a:gd name="T28" fmla="*/ 12 w 89"/>
                <a:gd name="T29" fmla="*/ 7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9" h="109">
                  <a:moveTo>
                    <a:pt x="12" y="77"/>
                  </a:moveTo>
                  <a:cubicBezTo>
                    <a:pt x="6" y="64"/>
                    <a:pt x="9" y="60"/>
                    <a:pt x="9" y="60"/>
                  </a:cubicBezTo>
                  <a:cubicBezTo>
                    <a:pt x="11" y="50"/>
                    <a:pt x="20" y="50"/>
                    <a:pt x="24" y="51"/>
                  </a:cubicBezTo>
                  <a:cubicBezTo>
                    <a:pt x="25" y="51"/>
                    <a:pt x="26" y="52"/>
                    <a:pt x="27" y="52"/>
                  </a:cubicBezTo>
                  <a:cubicBezTo>
                    <a:pt x="27" y="52"/>
                    <a:pt x="26" y="51"/>
                    <a:pt x="24" y="51"/>
                  </a:cubicBezTo>
                  <a:cubicBezTo>
                    <a:pt x="18" y="48"/>
                    <a:pt x="20" y="33"/>
                    <a:pt x="20" y="33"/>
                  </a:cubicBezTo>
                  <a:cubicBezTo>
                    <a:pt x="23" y="9"/>
                    <a:pt x="46" y="19"/>
                    <a:pt x="46" y="19"/>
                  </a:cubicBezTo>
                  <a:cubicBezTo>
                    <a:pt x="47" y="0"/>
                    <a:pt x="67" y="3"/>
                    <a:pt x="67" y="3"/>
                  </a:cubicBezTo>
                  <a:cubicBezTo>
                    <a:pt x="80" y="4"/>
                    <a:pt x="79" y="19"/>
                    <a:pt x="79" y="19"/>
                  </a:cubicBezTo>
                  <a:cubicBezTo>
                    <a:pt x="81" y="27"/>
                    <a:pt x="71" y="40"/>
                    <a:pt x="71" y="40"/>
                  </a:cubicBezTo>
                  <a:cubicBezTo>
                    <a:pt x="89" y="68"/>
                    <a:pt x="59" y="59"/>
                    <a:pt x="59" y="59"/>
                  </a:cubicBezTo>
                  <a:cubicBezTo>
                    <a:pt x="80" y="75"/>
                    <a:pt x="45" y="83"/>
                    <a:pt x="45" y="83"/>
                  </a:cubicBezTo>
                  <a:cubicBezTo>
                    <a:pt x="51" y="109"/>
                    <a:pt x="23" y="107"/>
                    <a:pt x="23" y="107"/>
                  </a:cubicBezTo>
                  <a:cubicBezTo>
                    <a:pt x="5" y="109"/>
                    <a:pt x="3" y="94"/>
                    <a:pt x="3" y="94"/>
                  </a:cubicBezTo>
                  <a:cubicBezTo>
                    <a:pt x="0" y="84"/>
                    <a:pt x="12" y="77"/>
                    <a:pt x="12" y="77"/>
                  </a:cubicBezTo>
                  <a:close/>
                </a:path>
              </a:pathLst>
            </a:custGeom>
            <a:solidFill>
              <a:srgbClr val="5EC3A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085" name="Freeform 12"/>
            <p:cNvSpPr>
              <a:spLocks/>
            </p:cNvSpPr>
            <p:nvPr/>
          </p:nvSpPr>
          <p:spPr bwMode="auto">
            <a:xfrm>
              <a:off x="3742080" y="5987757"/>
              <a:ext cx="176424" cy="170410"/>
            </a:xfrm>
            <a:custGeom>
              <a:avLst/>
              <a:gdLst>
                <a:gd name="T0" fmla="*/ 24 w 110"/>
                <a:gd name="T1" fmla="*/ 35 h 107"/>
                <a:gd name="T2" fmla="*/ 39 w 110"/>
                <a:gd name="T3" fmla="*/ 21 h 107"/>
                <a:gd name="T4" fmla="*/ 55 w 110"/>
                <a:gd name="T5" fmla="*/ 2 h 107"/>
                <a:gd name="T6" fmla="*/ 69 w 110"/>
                <a:gd name="T7" fmla="*/ 20 h 107"/>
                <a:gd name="T8" fmla="*/ 88 w 110"/>
                <a:gd name="T9" fmla="*/ 38 h 107"/>
                <a:gd name="T10" fmla="*/ 78 w 110"/>
                <a:gd name="T11" fmla="*/ 72 h 107"/>
                <a:gd name="T12" fmla="*/ 58 w 110"/>
                <a:gd name="T13" fmla="*/ 88 h 107"/>
                <a:gd name="T14" fmla="*/ 33 w 110"/>
                <a:gd name="T15" fmla="*/ 83 h 107"/>
                <a:gd name="T16" fmla="*/ 24 w 110"/>
                <a:gd name="T17" fmla="*/ 56 h 107"/>
                <a:gd name="T18" fmla="*/ 24 w 110"/>
                <a:gd name="T19" fmla="*/ 35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0" h="107">
                  <a:moveTo>
                    <a:pt x="24" y="35"/>
                  </a:moveTo>
                  <a:cubicBezTo>
                    <a:pt x="22" y="17"/>
                    <a:pt x="39" y="21"/>
                    <a:pt x="39" y="21"/>
                  </a:cubicBezTo>
                  <a:cubicBezTo>
                    <a:pt x="42" y="0"/>
                    <a:pt x="55" y="2"/>
                    <a:pt x="55" y="2"/>
                  </a:cubicBezTo>
                  <a:cubicBezTo>
                    <a:pt x="68" y="3"/>
                    <a:pt x="69" y="20"/>
                    <a:pt x="69" y="20"/>
                  </a:cubicBezTo>
                  <a:cubicBezTo>
                    <a:pt x="93" y="19"/>
                    <a:pt x="88" y="38"/>
                    <a:pt x="88" y="38"/>
                  </a:cubicBezTo>
                  <a:cubicBezTo>
                    <a:pt x="110" y="59"/>
                    <a:pt x="78" y="72"/>
                    <a:pt x="78" y="72"/>
                  </a:cubicBezTo>
                  <a:cubicBezTo>
                    <a:pt x="84" y="98"/>
                    <a:pt x="58" y="88"/>
                    <a:pt x="58" y="88"/>
                  </a:cubicBezTo>
                  <a:cubicBezTo>
                    <a:pt x="42" y="107"/>
                    <a:pt x="33" y="83"/>
                    <a:pt x="33" y="83"/>
                  </a:cubicBezTo>
                  <a:cubicBezTo>
                    <a:pt x="18" y="85"/>
                    <a:pt x="24" y="56"/>
                    <a:pt x="24" y="56"/>
                  </a:cubicBezTo>
                  <a:cubicBezTo>
                    <a:pt x="0" y="43"/>
                    <a:pt x="24" y="35"/>
                    <a:pt x="24" y="35"/>
                  </a:cubicBezTo>
                  <a:close/>
                </a:path>
              </a:pathLst>
            </a:custGeom>
            <a:solidFill>
              <a:srgbClr val="09B89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086" name="Freeform 13"/>
            <p:cNvSpPr>
              <a:spLocks/>
            </p:cNvSpPr>
            <p:nvPr/>
          </p:nvSpPr>
          <p:spPr bwMode="auto">
            <a:xfrm>
              <a:off x="3802893" y="6048570"/>
              <a:ext cx="161722" cy="160386"/>
            </a:xfrm>
            <a:custGeom>
              <a:avLst/>
              <a:gdLst>
                <a:gd name="T0" fmla="*/ 23 w 101"/>
                <a:gd name="T1" fmla="*/ 43 h 101"/>
                <a:gd name="T2" fmla="*/ 20 w 101"/>
                <a:gd name="T3" fmla="*/ 25 h 101"/>
                <a:gd name="T4" fmla="*/ 42 w 101"/>
                <a:gd name="T5" fmla="*/ 22 h 101"/>
                <a:gd name="T6" fmla="*/ 55 w 101"/>
                <a:gd name="T7" fmla="*/ 0 h 101"/>
                <a:gd name="T8" fmla="*/ 69 w 101"/>
                <a:gd name="T9" fmla="*/ 20 h 101"/>
                <a:gd name="T10" fmla="*/ 79 w 101"/>
                <a:gd name="T11" fmla="*/ 39 h 101"/>
                <a:gd name="T12" fmla="*/ 83 w 101"/>
                <a:gd name="T13" fmla="*/ 69 h 101"/>
                <a:gd name="T14" fmla="*/ 80 w 101"/>
                <a:gd name="T15" fmla="*/ 69 h 101"/>
                <a:gd name="T16" fmla="*/ 61 w 101"/>
                <a:gd name="T17" fmla="*/ 79 h 101"/>
                <a:gd name="T18" fmla="*/ 43 w 101"/>
                <a:gd name="T19" fmla="*/ 78 h 101"/>
                <a:gd name="T20" fmla="*/ 8 w 101"/>
                <a:gd name="T21" fmla="*/ 66 h 101"/>
                <a:gd name="T22" fmla="*/ 23 w 101"/>
                <a:gd name="T23" fmla="*/ 43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1" h="101">
                  <a:moveTo>
                    <a:pt x="23" y="43"/>
                  </a:moveTo>
                  <a:cubicBezTo>
                    <a:pt x="14" y="40"/>
                    <a:pt x="20" y="25"/>
                    <a:pt x="20" y="25"/>
                  </a:cubicBezTo>
                  <a:cubicBezTo>
                    <a:pt x="25" y="11"/>
                    <a:pt x="42" y="22"/>
                    <a:pt x="42" y="22"/>
                  </a:cubicBezTo>
                  <a:cubicBezTo>
                    <a:pt x="35" y="0"/>
                    <a:pt x="55" y="0"/>
                    <a:pt x="55" y="0"/>
                  </a:cubicBezTo>
                  <a:cubicBezTo>
                    <a:pt x="68" y="0"/>
                    <a:pt x="69" y="20"/>
                    <a:pt x="69" y="20"/>
                  </a:cubicBezTo>
                  <a:cubicBezTo>
                    <a:pt x="91" y="21"/>
                    <a:pt x="79" y="39"/>
                    <a:pt x="79" y="39"/>
                  </a:cubicBezTo>
                  <a:cubicBezTo>
                    <a:pt x="101" y="49"/>
                    <a:pt x="83" y="69"/>
                    <a:pt x="83" y="69"/>
                  </a:cubicBezTo>
                  <a:cubicBezTo>
                    <a:pt x="82" y="70"/>
                    <a:pt x="80" y="69"/>
                    <a:pt x="80" y="69"/>
                  </a:cubicBezTo>
                  <a:cubicBezTo>
                    <a:pt x="82" y="94"/>
                    <a:pt x="61" y="79"/>
                    <a:pt x="61" y="79"/>
                  </a:cubicBezTo>
                  <a:cubicBezTo>
                    <a:pt x="59" y="92"/>
                    <a:pt x="43" y="78"/>
                    <a:pt x="43" y="78"/>
                  </a:cubicBezTo>
                  <a:cubicBezTo>
                    <a:pt x="21" y="101"/>
                    <a:pt x="8" y="66"/>
                    <a:pt x="8" y="66"/>
                  </a:cubicBezTo>
                  <a:cubicBezTo>
                    <a:pt x="0" y="46"/>
                    <a:pt x="23" y="43"/>
                    <a:pt x="23" y="43"/>
                  </a:cubicBezTo>
                  <a:close/>
                </a:path>
              </a:pathLst>
            </a:custGeom>
            <a:solidFill>
              <a:srgbClr val="5EC3A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087" name="Freeform 14"/>
            <p:cNvSpPr>
              <a:spLocks/>
            </p:cNvSpPr>
            <p:nvPr/>
          </p:nvSpPr>
          <p:spPr bwMode="auto">
            <a:xfrm>
              <a:off x="3881749" y="6250388"/>
              <a:ext cx="20716" cy="30741"/>
            </a:xfrm>
            <a:custGeom>
              <a:avLst/>
              <a:gdLst>
                <a:gd name="T0" fmla="*/ 0 w 13"/>
                <a:gd name="T1" fmla="*/ 19 h 19"/>
                <a:gd name="T2" fmla="*/ 0 w 13"/>
                <a:gd name="T3" fmla="*/ 19 h 19"/>
                <a:gd name="T4" fmla="*/ 0 w 13"/>
                <a:gd name="T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9">
                  <a:moveTo>
                    <a:pt x="0" y="19"/>
                  </a:moveTo>
                  <a:cubicBezTo>
                    <a:pt x="0" y="19"/>
                    <a:pt x="0" y="19"/>
                    <a:pt x="0" y="19"/>
                  </a:cubicBezTo>
                  <a:cubicBezTo>
                    <a:pt x="2" y="17"/>
                    <a:pt x="13" y="0"/>
                    <a:pt x="0" y="19"/>
                  </a:cubicBezTo>
                  <a:close/>
                </a:path>
              </a:pathLst>
            </a:custGeom>
            <a:solidFill>
              <a:srgbClr val="4DA0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088" name="Freeform 15"/>
            <p:cNvSpPr>
              <a:spLocks/>
            </p:cNvSpPr>
            <p:nvPr/>
          </p:nvSpPr>
          <p:spPr bwMode="auto">
            <a:xfrm>
              <a:off x="3792200" y="6132772"/>
              <a:ext cx="175756" cy="181770"/>
            </a:xfrm>
            <a:custGeom>
              <a:avLst/>
              <a:gdLst>
                <a:gd name="T0" fmla="*/ 20 w 110"/>
                <a:gd name="T1" fmla="*/ 36 h 114"/>
                <a:gd name="T2" fmla="*/ 38 w 110"/>
                <a:gd name="T3" fmla="*/ 23 h 114"/>
                <a:gd name="T4" fmla="*/ 58 w 110"/>
                <a:gd name="T5" fmla="*/ 10 h 114"/>
                <a:gd name="T6" fmla="*/ 67 w 110"/>
                <a:gd name="T7" fmla="*/ 1 h 114"/>
                <a:gd name="T8" fmla="*/ 67 w 110"/>
                <a:gd name="T9" fmla="*/ 1 h 114"/>
                <a:gd name="T10" fmla="*/ 85 w 110"/>
                <a:gd name="T11" fmla="*/ 16 h 114"/>
                <a:gd name="T12" fmla="*/ 87 w 110"/>
                <a:gd name="T13" fmla="*/ 40 h 114"/>
                <a:gd name="T14" fmla="*/ 85 w 110"/>
                <a:gd name="T15" fmla="*/ 60 h 114"/>
                <a:gd name="T16" fmla="*/ 73 w 110"/>
                <a:gd name="T17" fmla="*/ 75 h 114"/>
                <a:gd name="T18" fmla="*/ 56 w 110"/>
                <a:gd name="T19" fmla="*/ 94 h 114"/>
                <a:gd name="T20" fmla="*/ 56 w 110"/>
                <a:gd name="T21" fmla="*/ 93 h 114"/>
                <a:gd name="T22" fmla="*/ 56 w 110"/>
                <a:gd name="T23" fmla="*/ 93 h 114"/>
                <a:gd name="T24" fmla="*/ 56 w 110"/>
                <a:gd name="T25" fmla="*/ 93 h 114"/>
                <a:gd name="T26" fmla="*/ 55 w 110"/>
                <a:gd name="T27" fmla="*/ 95 h 114"/>
                <a:gd name="T28" fmla="*/ 34 w 110"/>
                <a:gd name="T29" fmla="*/ 96 h 114"/>
                <a:gd name="T30" fmla="*/ 33 w 110"/>
                <a:gd name="T31" fmla="*/ 97 h 114"/>
                <a:gd name="T32" fmla="*/ 16 w 110"/>
                <a:gd name="T33" fmla="*/ 86 h 114"/>
                <a:gd name="T34" fmla="*/ 14 w 110"/>
                <a:gd name="T35" fmla="*/ 72 h 114"/>
                <a:gd name="T36" fmla="*/ 12 w 110"/>
                <a:gd name="T37" fmla="*/ 53 h 114"/>
                <a:gd name="T38" fmla="*/ 20 w 110"/>
                <a:gd name="T39" fmla="*/ 36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10" h="114">
                  <a:moveTo>
                    <a:pt x="20" y="36"/>
                  </a:moveTo>
                  <a:cubicBezTo>
                    <a:pt x="19" y="15"/>
                    <a:pt x="38" y="23"/>
                    <a:pt x="38" y="23"/>
                  </a:cubicBezTo>
                  <a:cubicBezTo>
                    <a:pt x="45" y="0"/>
                    <a:pt x="58" y="10"/>
                    <a:pt x="58" y="10"/>
                  </a:cubicBezTo>
                  <a:cubicBezTo>
                    <a:pt x="58" y="5"/>
                    <a:pt x="67" y="1"/>
                    <a:pt x="67" y="1"/>
                  </a:cubicBezTo>
                  <a:cubicBezTo>
                    <a:pt x="67" y="1"/>
                    <a:pt x="67" y="1"/>
                    <a:pt x="67" y="1"/>
                  </a:cubicBezTo>
                  <a:cubicBezTo>
                    <a:pt x="86" y="0"/>
                    <a:pt x="85" y="16"/>
                    <a:pt x="85" y="16"/>
                  </a:cubicBezTo>
                  <a:cubicBezTo>
                    <a:pt x="110" y="27"/>
                    <a:pt x="87" y="40"/>
                    <a:pt x="87" y="40"/>
                  </a:cubicBezTo>
                  <a:cubicBezTo>
                    <a:pt x="106" y="51"/>
                    <a:pt x="85" y="60"/>
                    <a:pt x="85" y="60"/>
                  </a:cubicBezTo>
                  <a:cubicBezTo>
                    <a:pt x="89" y="83"/>
                    <a:pt x="73" y="75"/>
                    <a:pt x="73" y="75"/>
                  </a:cubicBezTo>
                  <a:cubicBezTo>
                    <a:pt x="77" y="105"/>
                    <a:pt x="56" y="94"/>
                    <a:pt x="56" y="94"/>
                  </a:cubicBezTo>
                  <a:cubicBezTo>
                    <a:pt x="56" y="94"/>
                    <a:pt x="56" y="94"/>
                    <a:pt x="56" y="93"/>
                  </a:cubicBezTo>
                  <a:cubicBezTo>
                    <a:pt x="56" y="93"/>
                    <a:pt x="56" y="93"/>
                    <a:pt x="56" y="93"/>
                  </a:cubicBezTo>
                  <a:cubicBezTo>
                    <a:pt x="69" y="74"/>
                    <a:pt x="58" y="91"/>
                    <a:pt x="56" y="93"/>
                  </a:cubicBezTo>
                  <a:cubicBezTo>
                    <a:pt x="56" y="94"/>
                    <a:pt x="55" y="94"/>
                    <a:pt x="55" y="95"/>
                  </a:cubicBezTo>
                  <a:cubicBezTo>
                    <a:pt x="42" y="114"/>
                    <a:pt x="34" y="96"/>
                    <a:pt x="34" y="96"/>
                  </a:cubicBezTo>
                  <a:cubicBezTo>
                    <a:pt x="34" y="97"/>
                    <a:pt x="33" y="97"/>
                    <a:pt x="33" y="97"/>
                  </a:cubicBezTo>
                  <a:cubicBezTo>
                    <a:pt x="10" y="111"/>
                    <a:pt x="16" y="86"/>
                    <a:pt x="16" y="86"/>
                  </a:cubicBezTo>
                  <a:cubicBezTo>
                    <a:pt x="5" y="78"/>
                    <a:pt x="14" y="72"/>
                    <a:pt x="14" y="72"/>
                  </a:cubicBezTo>
                  <a:cubicBezTo>
                    <a:pt x="0" y="69"/>
                    <a:pt x="12" y="53"/>
                    <a:pt x="12" y="53"/>
                  </a:cubicBezTo>
                  <a:cubicBezTo>
                    <a:pt x="3" y="43"/>
                    <a:pt x="20" y="36"/>
                    <a:pt x="20" y="36"/>
                  </a:cubicBezTo>
                  <a:close/>
                </a:path>
              </a:pathLst>
            </a:custGeom>
            <a:solidFill>
              <a:srgbClr val="09B89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089" name="Freeform 16"/>
            <p:cNvSpPr>
              <a:spLocks/>
            </p:cNvSpPr>
            <p:nvPr/>
          </p:nvSpPr>
          <p:spPr bwMode="auto">
            <a:xfrm>
              <a:off x="3663892" y="6075301"/>
              <a:ext cx="158380" cy="218526"/>
            </a:xfrm>
            <a:custGeom>
              <a:avLst/>
              <a:gdLst>
                <a:gd name="T0" fmla="*/ 14 w 99"/>
                <a:gd name="T1" fmla="*/ 87 h 137"/>
                <a:gd name="T2" fmla="*/ 10 w 99"/>
                <a:gd name="T3" fmla="*/ 71 h 137"/>
                <a:gd name="T4" fmla="*/ 21 w 99"/>
                <a:gd name="T5" fmla="*/ 57 h 137"/>
                <a:gd name="T6" fmla="*/ 21 w 99"/>
                <a:gd name="T7" fmla="*/ 42 h 137"/>
                <a:gd name="T8" fmla="*/ 33 w 99"/>
                <a:gd name="T9" fmla="*/ 37 h 137"/>
                <a:gd name="T10" fmla="*/ 54 w 99"/>
                <a:gd name="T11" fmla="*/ 15 h 137"/>
                <a:gd name="T12" fmla="*/ 70 w 99"/>
                <a:gd name="T13" fmla="*/ 0 h 137"/>
                <a:gd name="T14" fmla="*/ 83 w 99"/>
                <a:gd name="T15" fmla="*/ 23 h 137"/>
                <a:gd name="T16" fmla="*/ 97 w 99"/>
                <a:gd name="T17" fmla="*/ 48 h 137"/>
                <a:gd name="T18" fmla="*/ 74 w 99"/>
                <a:gd name="T19" fmla="*/ 78 h 137"/>
                <a:gd name="T20" fmla="*/ 57 w 99"/>
                <a:gd name="T21" fmla="*/ 77 h 137"/>
                <a:gd name="T22" fmla="*/ 57 w 99"/>
                <a:gd name="T23" fmla="*/ 78 h 137"/>
                <a:gd name="T24" fmla="*/ 42 w 99"/>
                <a:gd name="T25" fmla="*/ 93 h 137"/>
                <a:gd name="T26" fmla="*/ 5 w 99"/>
                <a:gd name="T27" fmla="*/ 104 h 137"/>
                <a:gd name="T28" fmla="*/ 14 w 99"/>
                <a:gd name="T29" fmla="*/ 87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7">
                  <a:moveTo>
                    <a:pt x="14" y="87"/>
                  </a:moveTo>
                  <a:cubicBezTo>
                    <a:pt x="9" y="86"/>
                    <a:pt x="10" y="71"/>
                    <a:pt x="10" y="71"/>
                  </a:cubicBezTo>
                  <a:cubicBezTo>
                    <a:pt x="9" y="61"/>
                    <a:pt x="21" y="57"/>
                    <a:pt x="21" y="57"/>
                  </a:cubicBezTo>
                  <a:cubicBezTo>
                    <a:pt x="16" y="52"/>
                    <a:pt x="21" y="42"/>
                    <a:pt x="21" y="42"/>
                  </a:cubicBezTo>
                  <a:cubicBezTo>
                    <a:pt x="25" y="34"/>
                    <a:pt x="33" y="37"/>
                    <a:pt x="33" y="37"/>
                  </a:cubicBezTo>
                  <a:cubicBezTo>
                    <a:pt x="31" y="14"/>
                    <a:pt x="54" y="15"/>
                    <a:pt x="54" y="15"/>
                  </a:cubicBezTo>
                  <a:cubicBezTo>
                    <a:pt x="54" y="2"/>
                    <a:pt x="70" y="0"/>
                    <a:pt x="70" y="0"/>
                  </a:cubicBezTo>
                  <a:cubicBezTo>
                    <a:pt x="86" y="3"/>
                    <a:pt x="83" y="23"/>
                    <a:pt x="83" y="23"/>
                  </a:cubicBezTo>
                  <a:cubicBezTo>
                    <a:pt x="99" y="24"/>
                    <a:pt x="97" y="48"/>
                    <a:pt x="97" y="48"/>
                  </a:cubicBezTo>
                  <a:cubicBezTo>
                    <a:pt x="98" y="111"/>
                    <a:pt x="74" y="78"/>
                    <a:pt x="74" y="78"/>
                  </a:cubicBezTo>
                  <a:cubicBezTo>
                    <a:pt x="68" y="90"/>
                    <a:pt x="57" y="77"/>
                    <a:pt x="57" y="77"/>
                  </a:cubicBezTo>
                  <a:cubicBezTo>
                    <a:pt x="57" y="77"/>
                    <a:pt x="57" y="77"/>
                    <a:pt x="57" y="78"/>
                  </a:cubicBezTo>
                  <a:cubicBezTo>
                    <a:pt x="65" y="98"/>
                    <a:pt x="42" y="93"/>
                    <a:pt x="42" y="93"/>
                  </a:cubicBezTo>
                  <a:cubicBezTo>
                    <a:pt x="17" y="137"/>
                    <a:pt x="5" y="104"/>
                    <a:pt x="5" y="104"/>
                  </a:cubicBezTo>
                  <a:cubicBezTo>
                    <a:pt x="0" y="95"/>
                    <a:pt x="14" y="87"/>
                    <a:pt x="14" y="87"/>
                  </a:cubicBezTo>
                  <a:close/>
                </a:path>
              </a:pathLst>
            </a:custGeom>
            <a:solidFill>
              <a:srgbClr val="09B89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090" name="Freeform 17"/>
            <p:cNvSpPr>
              <a:spLocks/>
            </p:cNvSpPr>
            <p:nvPr/>
          </p:nvSpPr>
          <p:spPr bwMode="auto">
            <a:xfrm>
              <a:off x="3633151" y="6104037"/>
              <a:ext cx="251939" cy="210506"/>
            </a:xfrm>
            <a:custGeom>
              <a:avLst/>
              <a:gdLst>
                <a:gd name="T0" fmla="*/ 14 w 157"/>
                <a:gd name="T1" fmla="*/ 96 h 132"/>
                <a:gd name="T2" fmla="*/ 37 w 157"/>
                <a:gd name="T3" fmla="*/ 89 h 132"/>
                <a:gd name="T4" fmla="*/ 48 w 157"/>
                <a:gd name="T5" fmla="*/ 74 h 132"/>
                <a:gd name="T6" fmla="*/ 70 w 157"/>
                <a:gd name="T7" fmla="*/ 49 h 132"/>
                <a:gd name="T8" fmla="*/ 80 w 157"/>
                <a:gd name="T9" fmla="*/ 31 h 132"/>
                <a:gd name="T10" fmla="*/ 109 w 157"/>
                <a:gd name="T11" fmla="*/ 33 h 132"/>
                <a:gd name="T12" fmla="*/ 126 w 157"/>
                <a:gd name="T13" fmla="*/ 47 h 132"/>
                <a:gd name="T14" fmla="*/ 137 w 157"/>
                <a:gd name="T15" fmla="*/ 74 h 132"/>
                <a:gd name="T16" fmla="*/ 126 w 157"/>
                <a:gd name="T17" fmla="*/ 96 h 132"/>
                <a:gd name="T18" fmla="*/ 103 w 157"/>
                <a:gd name="T19" fmla="*/ 80 h 132"/>
                <a:gd name="T20" fmla="*/ 78 w 157"/>
                <a:gd name="T21" fmla="*/ 80 h 132"/>
                <a:gd name="T22" fmla="*/ 61 w 157"/>
                <a:gd name="T23" fmla="*/ 89 h 132"/>
                <a:gd name="T24" fmla="*/ 60 w 157"/>
                <a:gd name="T25" fmla="*/ 88 h 132"/>
                <a:gd name="T26" fmla="*/ 60 w 157"/>
                <a:gd name="T27" fmla="*/ 88 h 132"/>
                <a:gd name="T28" fmla="*/ 37 w 157"/>
                <a:gd name="T29" fmla="*/ 109 h 132"/>
                <a:gd name="T30" fmla="*/ 8 w 157"/>
                <a:gd name="T31" fmla="*/ 114 h 132"/>
                <a:gd name="T32" fmla="*/ 14 w 157"/>
                <a:gd name="T33" fmla="*/ 96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7" h="132">
                  <a:moveTo>
                    <a:pt x="14" y="96"/>
                  </a:moveTo>
                  <a:cubicBezTo>
                    <a:pt x="14" y="96"/>
                    <a:pt x="17" y="69"/>
                    <a:pt x="37" y="89"/>
                  </a:cubicBezTo>
                  <a:cubicBezTo>
                    <a:pt x="37" y="89"/>
                    <a:pt x="30" y="74"/>
                    <a:pt x="48" y="74"/>
                  </a:cubicBezTo>
                  <a:cubicBezTo>
                    <a:pt x="48" y="74"/>
                    <a:pt x="35" y="40"/>
                    <a:pt x="70" y="49"/>
                  </a:cubicBezTo>
                  <a:cubicBezTo>
                    <a:pt x="70" y="49"/>
                    <a:pt x="59" y="28"/>
                    <a:pt x="80" y="31"/>
                  </a:cubicBezTo>
                  <a:cubicBezTo>
                    <a:pt x="80" y="31"/>
                    <a:pt x="95" y="0"/>
                    <a:pt x="109" y="33"/>
                  </a:cubicBezTo>
                  <a:cubicBezTo>
                    <a:pt x="109" y="33"/>
                    <a:pt x="131" y="23"/>
                    <a:pt x="126" y="47"/>
                  </a:cubicBezTo>
                  <a:cubicBezTo>
                    <a:pt x="126" y="47"/>
                    <a:pt x="152" y="52"/>
                    <a:pt x="137" y="74"/>
                  </a:cubicBezTo>
                  <a:cubicBezTo>
                    <a:pt x="137" y="74"/>
                    <a:pt x="157" y="103"/>
                    <a:pt x="126" y="96"/>
                  </a:cubicBezTo>
                  <a:cubicBezTo>
                    <a:pt x="126" y="96"/>
                    <a:pt x="104" y="118"/>
                    <a:pt x="103" y="80"/>
                  </a:cubicBezTo>
                  <a:cubicBezTo>
                    <a:pt x="103" y="80"/>
                    <a:pt x="90" y="108"/>
                    <a:pt x="78" y="80"/>
                  </a:cubicBezTo>
                  <a:cubicBezTo>
                    <a:pt x="78" y="80"/>
                    <a:pt x="78" y="99"/>
                    <a:pt x="61" y="89"/>
                  </a:cubicBezTo>
                  <a:cubicBezTo>
                    <a:pt x="61" y="89"/>
                    <a:pt x="60" y="88"/>
                    <a:pt x="60" y="88"/>
                  </a:cubicBezTo>
                  <a:cubicBezTo>
                    <a:pt x="42" y="77"/>
                    <a:pt x="60" y="88"/>
                    <a:pt x="60" y="88"/>
                  </a:cubicBezTo>
                  <a:cubicBezTo>
                    <a:pt x="60" y="88"/>
                    <a:pt x="64" y="128"/>
                    <a:pt x="37" y="109"/>
                  </a:cubicBezTo>
                  <a:cubicBezTo>
                    <a:pt x="37" y="109"/>
                    <a:pt x="26" y="132"/>
                    <a:pt x="8" y="114"/>
                  </a:cubicBezTo>
                  <a:cubicBezTo>
                    <a:pt x="8" y="114"/>
                    <a:pt x="0" y="98"/>
                    <a:pt x="14" y="96"/>
                  </a:cubicBezTo>
                  <a:close/>
                </a:path>
              </a:pathLst>
            </a:custGeom>
            <a:solidFill>
              <a:srgbClr val="5EC3A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8106" name="Group 8105"/>
          <p:cNvGrpSpPr/>
          <p:nvPr/>
        </p:nvGrpSpPr>
        <p:grpSpPr>
          <a:xfrm>
            <a:off x="2175669" y="3977227"/>
            <a:ext cx="376237" cy="479152"/>
            <a:chOff x="3591719" y="5970382"/>
            <a:chExt cx="376237" cy="479152"/>
          </a:xfrm>
        </p:grpSpPr>
        <p:sp>
          <p:nvSpPr>
            <p:cNvPr id="8107" name="AutoShape 3"/>
            <p:cNvSpPr>
              <a:spLocks noChangeAspect="1" noChangeArrowheads="1" noTextEdit="1"/>
            </p:cNvSpPr>
            <p:nvPr/>
          </p:nvSpPr>
          <p:spPr bwMode="auto">
            <a:xfrm>
              <a:off x="3611099" y="5975060"/>
              <a:ext cx="336141" cy="4731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08" name="Freeform 5"/>
            <p:cNvSpPr>
              <a:spLocks/>
            </p:cNvSpPr>
            <p:nvPr/>
          </p:nvSpPr>
          <p:spPr bwMode="auto">
            <a:xfrm>
              <a:off x="3591719" y="5984416"/>
              <a:ext cx="174419" cy="263300"/>
            </a:xfrm>
            <a:custGeom>
              <a:avLst/>
              <a:gdLst>
                <a:gd name="T0" fmla="*/ 23 w 109"/>
                <a:gd name="T1" fmla="*/ 78 h 165"/>
                <a:gd name="T2" fmla="*/ 42 w 109"/>
                <a:gd name="T3" fmla="*/ 51 h 165"/>
                <a:gd name="T4" fmla="*/ 59 w 109"/>
                <a:gd name="T5" fmla="*/ 31 h 165"/>
                <a:gd name="T6" fmla="*/ 88 w 109"/>
                <a:gd name="T7" fmla="*/ 15 h 165"/>
                <a:gd name="T8" fmla="*/ 88 w 109"/>
                <a:gd name="T9" fmla="*/ 66 h 165"/>
                <a:gd name="T10" fmla="*/ 72 w 109"/>
                <a:gd name="T11" fmla="*/ 109 h 165"/>
                <a:gd name="T12" fmla="*/ 61 w 109"/>
                <a:gd name="T13" fmla="*/ 137 h 165"/>
                <a:gd name="T14" fmla="*/ 43 w 109"/>
                <a:gd name="T15" fmla="*/ 165 h 165"/>
                <a:gd name="T16" fmla="*/ 30 w 109"/>
                <a:gd name="T17" fmla="*/ 143 h 165"/>
                <a:gd name="T18" fmla="*/ 23 w 109"/>
                <a:gd name="T19" fmla="*/ 109 h 165"/>
                <a:gd name="T20" fmla="*/ 23 w 109"/>
                <a:gd name="T21" fmla="*/ 78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9" h="165">
                  <a:moveTo>
                    <a:pt x="23" y="78"/>
                  </a:moveTo>
                  <a:cubicBezTo>
                    <a:pt x="11" y="41"/>
                    <a:pt x="42" y="51"/>
                    <a:pt x="42" y="51"/>
                  </a:cubicBezTo>
                  <a:cubicBezTo>
                    <a:pt x="40" y="29"/>
                    <a:pt x="59" y="31"/>
                    <a:pt x="59" y="31"/>
                  </a:cubicBezTo>
                  <a:cubicBezTo>
                    <a:pt x="62" y="0"/>
                    <a:pt x="88" y="15"/>
                    <a:pt x="88" y="15"/>
                  </a:cubicBezTo>
                  <a:cubicBezTo>
                    <a:pt x="102" y="24"/>
                    <a:pt x="88" y="66"/>
                    <a:pt x="88" y="66"/>
                  </a:cubicBezTo>
                  <a:cubicBezTo>
                    <a:pt x="109" y="82"/>
                    <a:pt x="72" y="109"/>
                    <a:pt x="72" y="109"/>
                  </a:cubicBezTo>
                  <a:cubicBezTo>
                    <a:pt x="88" y="127"/>
                    <a:pt x="61" y="137"/>
                    <a:pt x="61" y="137"/>
                  </a:cubicBezTo>
                  <a:cubicBezTo>
                    <a:pt x="65" y="164"/>
                    <a:pt x="43" y="165"/>
                    <a:pt x="43" y="165"/>
                  </a:cubicBezTo>
                  <a:cubicBezTo>
                    <a:pt x="25" y="163"/>
                    <a:pt x="30" y="143"/>
                    <a:pt x="30" y="143"/>
                  </a:cubicBezTo>
                  <a:cubicBezTo>
                    <a:pt x="3" y="132"/>
                    <a:pt x="23" y="109"/>
                    <a:pt x="23" y="109"/>
                  </a:cubicBezTo>
                  <a:cubicBezTo>
                    <a:pt x="0" y="92"/>
                    <a:pt x="23" y="78"/>
                    <a:pt x="23" y="78"/>
                  </a:cubicBezTo>
                  <a:close/>
                </a:path>
              </a:pathLst>
            </a:custGeom>
            <a:solidFill>
              <a:srgbClr val="09B89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09" name="Freeform 6"/>
            <p:cNvSpPr>
              <a:spLocks/>
            </p:cNvSpPr>
            <p:nvPr/>
          </p:nvSpPr>
          <p:spPr bwMode="auto">
            <a:xfrm>
              <a:off x="3726042" y="6226999"/>
              <a:ext cx="82197" cy="222535"/>
            </a:xfrm>
            <a:custGeom>
              <a:avLst/>
              <a:gdLst>
                <a:gd name="T0" fmla="*/ 4 w 51"/>
                <a:gd name="T1" fmla="*/ 12 h 140"/>
                <a:gd name="T2" fmla="*/ 18 w 51"/>
                <a:gd name="T3" fmla="*/ 38 h 140"/>
                <a:gd name="T4" fmla="*/ 19 w 51"/>
                <a:gd name="T5" fmla="*/ 39 h 140"/>
                <a:gd name="T6" fmla="*/ 18 w 51"/>
                <a:gd name="T7" fmla="*/ 38 h 140"/>
                <a:gd name="T8" fmla="*/ 23 w 51"/>
                <a:gd name="T9" fmla="*/ 0 h 140"/>
                <a:gd name="T10" fmla="*/ 32 w 51"/>
                <a:gd name="T11" fmla="*/ 5 h 140"/>
                <a:gd name="T12" fmla="*/ 26 w 51"/>
                <a:gd name="T13" fmla="*/ 46 h 140"/>
                <a:gd name="T14" fmla="*/ 26 w 51"/>
                <a:gd name="T15" fmla="*/ 48 h 140"/>
                <a:gd name="T16" fmla="*/ 26 w 51"/>
                <a:gd name="T17" fmla="*/ 46 h 140"/>
                <a:gd name="T18" fmla="*/ 50 w 51"/>
                <a:gd name="T19" fmla="*/ 6 h 140"/>
                <a:gd name="T20" fmla="*/ 51 w 51"/>
                <a:gd name="T21" fmla="*/ 19 h 140"/>
                <a:gd name="T22" fmla="*/ 32 w 51"/>
                <a:gd name="T23" fmla="*/ 63 h 140"/>
                <a:gd name="T24" fmla="*/ 35 w 51"/>
                <a:gd name="T25" fmla="*/ 137 h 140"/>
                <a:gd name="T26" fmla="*/ 19 w 51"/>
                <a:gd name="T27" fmla="*/ 140 h 140"/>
                <a:gd name="T28" fmla="*/ 7 w 51"/>
                <a:gd name="T29" fmla="*/ 138 h 140"/>
                <a:gd name="T30" fmla="*/ 4 w 51"/>
                <a:gd name="T31" fmla="*/ 137 h 140"/>
                <a:gd name="T32" fmla="*/ 10 w 51"/>
                <a:gd name="T33" fmla="*/ 81 h 140"/>
                <a:gd name="T34" fmla="*/ 0 w 51"/>
                <a:gd name="T35" fmla="*/ 25 h 140"/>
                <a:gd name="T36" fmla="*/ 4 w 51"/>
                <a:gd name="T37" fmla="*/ 12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1" h="140">
                  <a:moveTo>
                    <a:pt x="4" y="12"/>
                  </a:moveTo>
                  <a:cubicBezTo>
                    <a:pt x="14" y="21"/>
                    <a:pt x="18" y="34"/>
                    <a:pt x="18" y="38"/>
                  </a:cubicBezTo>
                  <a:cubicBezTo>
                    <a:pt x="18" y="39"/>
                    <a:pt x="19" y="39"/>
                    <a:pt x="19" y="39"/>
                  </a:cubicBezTo>
                  <a:cubicBezTo>
                    <a:pt x="19" y="39"/>
                    <a:pt x="19" y="39"/>
                    <a:pt x="18" y="38"/>
                  </a:cubicBezTo>
                  <a:cubicBezTo>
                    <a:pt x="18" y="32"/>
                    <a:pt x="23" y="0"/>
                    <a:pt x="23" y="0"/>
                  </a:cubicBezTo>
                  <a:cubicBezTo>
                    <a:pt x="32" y="5"/>
                    <a:pt x="32" y="5"/>
                    <a:pt x="32" y="5"/>
                  </a:cubicBezTo>
                  <a:cubicBezTo>
                    <a:pt x="28" y="11"/>
                    <a:pt x="26" y="38"/>
                    <a:pt x="26" y="46"/>
                  </a:cubicBezTo>
                  <a:cubicBezTo>
                    <a:pt x="26" y="47"/>
                    <a:pt x="26" y="47"/>
                    <a:pt x="26" y="48"/>
                  </a:cubicBezTo>
                  <a:cubicBezTo>
                    <a:pt x="26" y="48"/>
                    <a:pt x="26" y="47"/>
                    <a:pt x="26" y="46"/>
                  </a:cubicBezTo>
                  <a:cubicBezTo>
                    <a:pt x="28" y="29"/>
                    <a:pt x="50" y="6"/>
                    <a:pt x="50" y="6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44" y="21"/>
                    <a:pt x="37" y="41"/>
                    <a:pt x="32" y="63"/>
                  </a:cubicBezTo>
                  <a:cubicBezTo>
                    <a:pt x="27" y="85"/>
                    <a:pt x="35" y="137"/>
                    <a:pt x="35" y="137"/>
                  </a:cubicBezTo>
                  <a:cubicBezTo>
                    <a:pt x="35" y="137"/>
                    <a:pt x="23" y="140"/>
                    <a:pt x="19" y="140"/>
                  </a:cubicBezTo>
                  <a:cubicBezTo>
                    <a:pt x="16" y="140"/>
                    <a:pt x="7" y="138"/>
                    <a:pt x="7" y="138"/>
                  </a:cubicBezTo>
                  <a:cubicBezTo>
                    <a:pt x="4" y="137"/>
                    <a:pt x="4" y="137"/>
                    <a:pt x="4" y="137"/>
                  </a:cubicBezTo>
                  <a:cubicBezTo>
                    <a:pt x="7" y="130"/>
                    <a:pt x="10" y="81"/>
                    <a:pt x="10" y="81"/>
                  </a:cubicBezTo>
                  <a:cubicBezTo>
                    <a:pt x="13" y="38"/>
                    <a:pt x="0" y="25"/>
                    <a:pt x="0" y="25"/>
                  </a:cubicBezTo>
                  <a:lnTo>
                    <a:pt x="4" y="12"/>
                  </a:lnTo>
                  <a:close/>
                </a:path>
              </a:pathLst>
            </a:custGeom>
            <a:solidFill>
              <a:srgbClr val="543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10" name="Freeform 7"/>
            <p:cNvSpPr>
              <a:spLocks/>
            </p:cNvSpPr>
            <p:nvPr/>
          </p:nvSpPr>
          <p:spPr bwMode="auto">
            <a:xfrm>
              <a:off x="3754777" y="6287143"/>
              <a:ext cx="2005" cy="2005"/>
            </a:xfrm>
            <a:custGeom>
              <a:avLst/>
              <a:gdLst>
                <a:gd name="T0" fmla="*/ 0 w 1"/>
                <a:gd name="T1" fmla="*/ 0 h 1"/>
                <a:gd name="T2" fmla="*/ 1 w 1"/>
                <a:gd name="T3" fmla="*/ 1 h 1"/>
                <a:gd name="T4" fmla="*/ 0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0" y="1"/>
                    <a:pt x="0" y="0"/>
                  </a:cubicBezTo>
                  <a:close/>
                </a:path>
              </a:pathLst>
            </a:custGeom>
            <a:solidFill>
              <a:srgbClr val="543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11" name="Freeform 8"/>
            <p:cNvSpPr>
              <a:spLocks/>
            </p:cNvSpPr>
            <p:nvPr/>
          </p:nvSpPr>
          <p:spPr bwMode="auto">
            <a:xfrm>
              <a:off x="3768143" y="6299840"/>
              <a:ext cx="0" cy="3342"/>
            </a:xfrm>
            <a:custGeom>
              <a:avLst/>
              <a:gdLst>
                <a:gd name="T0" fmla="*/ 0 h 2"/>
                <a:gd name="T1" fmla="*/ 2 h 2"/>
                <a:gd name="T2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1"/>
                    <a:pt x="0" y="1"/>
                    <a:pt x="0" y="0"/>
                  </a:cubicBezTo>
                  <a:close/>
                </a:path>
              </a:pathLst>
            </a:custGeom>
            <a:solidFill>
              <a:srgbClr val="543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12" name="Freeform 9"/>
            <p:cNvSpPr>
              <a:spLocks/>
            </p:cNvSpPr>
            <p:nvPr/>
          </p:nvSpPr>
          <p:spPr bwMode="auto">
            <a:xfrm>
              <a:off x="3638498" y="6092676"/>
              <a:ext cx="87544" cy="126304"/>
            </a:xfrm>
            <a:custGeom>
              <a:avLst/>
              <a:gdLst>
                <a:gd name="T0" fmla="*/ 18 w 55"/>
                <a:gd name="T1" fmla="*/ 26 h 79"/>
                <a:gd name="T2" fmla="*/ 36 w 55"/>
                <a:gd name="T3" fmla="*/ 6 h 79"/>
                <a:gd name="T4" fmla="*/ 32 w 55"/>
                <a:gd name="T5" fmla="*/ 73 h 79"/>
                <a:gd name="T6" fmla="*/ 16 w 55"/>
                <a:gd name="T7" fmla="*/ 51 h 79"/>
                <a:gd name="T8" fmla="*/ 18 w 55"/>
                <a:gd name="T9" fmla="*/ 2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79">
                  <a:moveTo>
                    <a:pt x="18" y="26"/>
                  </a:moveTo>
                  <a:cubicBezTo>
                    <a:pt x="7" y="0"/>
                    <a:pt x="36" y="6"/>
                    <a:pt x="36" y="6"/>
                  </a:cubicBezTo>
                  <a:cubicBezTo>
                    <a:pt x="55" y="10"/>
                    <a:pt x="32" y="73"/>
                    <a:pt x="32" y="73"/>
                  </a:cubicBezTo>
                  <a:cubicBezTo>
                    <a:pt x="5" y="79"/>
                    <a:pt x="16" y="51"/>
                    <a:pt x="16" y="51"/>
                  </a:cubicBezTo>
                  <a:cubicBezTo>
                    <a:pt x="0" y="35"/>
                    <a:pt x="18" y="26"/>
                    <a:pt x="18" y="26"/>
                  </a:cubicBezTo>
                  <a:close/>
                </a:path>
              </a:pathLst>
            </a:custGeom>
            <a:solidFill>
              <a:srgbClr val="5EC3A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13" name="Freeform 10"/>
            <p:cNvSpPr>
              <a:spLocks/>
            </p:cNvSpPr>
            <p:nvPr/>
          </p:nvSpPr>
          <p:spPr bwMode="auto">
            <a:xfrm>
              <a:off x="3729383" y="6051243"/>
              <a:ext cx="4678" cy="2005"/>
            </a:xfrm>
            <a:custGeom>
              <a:avLst/>
              <a:gdLst>
                <a:gd name="T0" fmla="*/ 0 w 3"/>
                <a:gd name="T1" fmla="*/ 0 h 1"/>
                <a:gd name="T2" fmla="*/ 3 w 3"/>
                <a:gd name="T3" fmla="*/ 1 h 1"/>
                <a:gd name="T4" fmla="*/ 0 w 3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1">
                  <a:moveTo>
                    <a:pt x="0" y="0"/>
                  </a:moveTo>
                  <a:cubicBezTo>
                    <a:pt x="2" y="0"/>
                    <a:pt x="3" y="1"/>
                    <a:pt x="3" y="1"/>
                  </a:cubicBezTo>
                  <a:cubicBezTo>
                    <a:pt x="2" y="1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14" name="Freeform 11"/>
            <p:cNvSpPr>
              <a:spLocks/>
            </p:cNvSpPr>
            <p:nvPr/>
          </p:nvSpPr>
          <p:spPr bwMode="auto">
            <a:xfrm>
              <a:off x="3691291" y="5970382"/>
              <a:ext cx="142342" cy="173751"/>
            </a:xfrm>
            <a:custGeom>
              <a:avLst/>
              <a:gdLst>
                <a:gd name="T0" fmla="*/ 12 w 89"/>
                <a:gd name="T1" fmla="*/ 77 h 109"/>
                <a:gd name="T2" fmla="*/ 9 w 89"/>
                <a:gd name="T3" fmla="*/ 60 h 109"/>
                <a:gd name="T4" fmla="*/ 24 w 89"/>
                <a:gd name="T5" fmla="*/ 51 h 109"/>
                <a:gd name="T6" fmla="*/ 27 w 89"/>
                <a:gd name="T7" fmla="*/ 52 h 109"/>
                <a:gd name="T8" fmla="*/ 24 w 89"/>
                <a:gd name="T9" fmla="*/ 51 h 109"/>
                <a:gd name="T10" fmla="*/ 20 w 89"/>
                <a:gd name="T11" fmla="*/ 33 h 109"/>
                <a:gd name="T12" fmla="*/ 46 w 89"/>
                <a:gd name="T13" fmla="*/ 19 h 109"/>
                <a:gd name="T14" fmla="*/ 67 w 89"/>
                <a:gd name="T15" fmla="*/ 3 h 109"/>
                <a:gd name="T16" fmla="*/ 79 w 89"/>
                <a:gd name="T17" fmla="*/ 19 h 109"/>
                <a:gd name="T18" fmla="*/ 71 w 89"/>
                <a:gd name="T19" fmla="*/ 40 h 109"/>
                <a:gd name="T20" fmla="*/ 59 w 89"/>
                <a:gd name="T21" fmla="*/ 59 h 109"/>
                <a:gd name="T22" fmla="*/ 45 w 89"/>
                <a:gd name="T23" fmla="*/ 83 h 109"/>
                <a:gd name="T24" fmla="*/ 23 w 89"/>
                <a:gd name="T25" fmla="*/ 107 h 109"/>
                <a:gd name="T26" fmla="*/ 3 w 89"/>
                <a:gd name="T27" fmla="*/ 94 h 109"/>
                <a:gd name="T28" fmla="*/ 12 w 89"/>
                <a:gd name="T29" fmla="*/ 7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9" h="109">
                  <a:moveTo>
                    <a:pt x="12" y="77"/>
                  </a:moveTo>
                  <a:cubicBezTo>
                    <a:pt x="6" y="64"/>
                    <a:pt x="9" y="60"/>
                    <a:pt x="9" y="60"/>
                  </a:cubicBezTo>
                  <a:cubicBezTo>
                    <a:pt x="11" y="50"/>
                    <a:pt x="20" y="50"/>
                    <a:pt x="24" y="51"/>
                  </a:cubicBezTo>
                  <a:cubicBezTo>
                    <a:pt x="25" y="51"/>
                    <a:pt x="26" y="52"/>
                    <a:pt x="27" y="52"/>
                  </a:cubicBezTo>
                  <a:cubicBezTo>
                    <a:pt x="27" y="52"/>
                    <a:pt x="26" y="51"/>
                    <a:pt x="24" y="51"/>
                  </a:cubicBezTo>
                  <a:cubicBezTo>
                    <a:pt x="18" y="48"/>
                    <a:pt x="20" y="33"/>
                    <a:pt x="20" y="33"/>
                  </a:cubicBezTo>
                  <a:cubicBezTo>
                    <a:pt x="23" y="9"/>
                    <a:pt x="46" y="19"/>
                    <a:pt x="46" y="19"/>
                  </a:cubicBezTo>
                  <a:cubicBezTo>
                    <a:pt x="47" y="0"/>
                    <a:pt x="67" y="3"/>
                    <a:pt x="67" y="3"/>
                  </a:cubicBezTo>
                  <a:cubicBezTo>
                    <a:pt x="80" y="4"/>
                    <a:pt x="79" y="19"/>
                    <a:pt x="79" y="19"/>
                  </a:cubicBezTo>
                  <a:cubicBezTo>
                    <a:pt x="81" y="27"/>
                    <a:pt x="71" y="40"/>
                    <a:pt x="71" y="40"/>
                  </a:cubicBezTo>
                  <a:cubicBezTo>
                    <a:pt x="89" y="68"/>
                    <a:pt x="59" y="59"/>
                    <a:pt x="59" y="59"/>
                  </a:cubicBezTo>
                  <a:cubicBezTo>
                    <a:pt x="80" y="75"/>
                    <a:pt x="45" y="83"/>
                    <a:pt x="45" y="83"/>
                  </a:cubicBezTo>
                  <a:cubicBezTo>
                    <a:pt x="51" y="109"/>
                    <a:pt x="23" y="107"/>
                    <a:pt x="23" y="107"/>
                  </a:cubicBezTo>
                  <a:cubicBezTo>
                    <a:pt x="5" y="109"/>
                    <a:pt x="3" y="94"/>
                    <a:pt x="3" y="94"/>
                  </a:cubicBezTo>
                  <a:cubicBezTo>
                    <a:pt x="0" y="84"/>
                    <a:pt x="12" y="77"/>
                    <a:pt x="12" y="77"/>
                  </a:cubicBezTo>
                  <a:close/>
                </a:path>
              </a:pathLst>
            </a:custGeom>
            <a:solidFill>
              <a:srgbClr val="5EC3A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15" name="Freeform 12"/>
            <p:cNvSpPr>
              <a:spLocks/>
            </p:cNvSpPr>
            <p:nvPr/>
          </p:nvSpPr>
          <p:spPr bwMode="auto">
            <a:xfrm>
              <a:off x="3742080" y="5987757"/>
              <a:ext cx="176424" cy="170410"/>
            </a:xfrm>
            <a:custGeom>
              <a:avLst/>
              <a:gdLst>
                <a:gd name="T0" fmla="*/ 24 w 110"/>
                <a:gd name="T1" fmla="*/ 35 h 107"/>
                <a:gd name="T2" fmla="*/ 39 w 110"/>
                <a:gd name="T3" fmla="*/ 21 h 107"/>
                <a:gd name="T4" fmla="*/ 55 w 110"/>
                <a:gd name="T5" fmla="*/ 2 h 107"/>
                <a:gd name="T6" fmla="*/ 69 w 110"/>
                <a:gd name="T7" fmla="*/ 20 h 107"/>
                <a:gd name="T8" fmla="*/ 88 w 110"/>
                <a:gd name="T9" fmla="*/ 38 h 107"/>
                <a:gd name="T10" fmla="*/ 78 w 110"/>
                <a:gd name="T11" fmla="*/ 72 h 107"/>
                <a:gd name="T12" fmla="*/ 58 w 110"/>
                <a:gd name="T13" fmla="*/ 88 h 107"/>
                <a:gd name="T14" fmla="*/ 33 w 110"/>
                <a:gd name="T15" fmla="*/ 83 h 107"/>
                <a:gd name="T16" fmla="*/ 24 w 110"/>
                <a:gd name="T17" fmla="*/ 56 h 107"/>
                <a:gd name="T18" fmla="*/ 24 w 110"/>
                <a:gd name="T19" fmla="*/ 35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0" h="107">
                  <a:moveTo>
                    <a:pt x="24" y="35"/>
                  </a:moveTo>
                  <a:cubicBezTo>
                    <a:pt x="22" y="17"/>
                    <a:pt x="39" y="21"/>
                    <a:pt x="39" y="21"/>
                  </a:cubicBezTo>
                  <a:cubicBezTo>
                    <a:pt x="42" y="0"/>
                    <a:pt x="55" y="2"/>
                    <a:pt x="55" y="2"/>
                  </a:cubicBezTo>
                  <a:cubicBezTo>
                    <a:pt x="68" y="3"/>
                    <a:pt x="69" y="20"/>
                    <a:pt x="69" y="20"/>
                  </a:cubicBezTo>
                  <a:cubicBezTo>
                    <a:pt x="93" y="19"/>
                    <a:pt x="88" y="38"/>
                    <a:pt x="88" y="38"/>
                  </a:cubicBezTo>
                  <a:cubicBezTo>
                    <a:pt x="110" y="59"/>
                    <a:pt x="78" y="72"/>
                    <a:pt x="78" y="72"/>
                  </a:cubicBezTo>
                  <a:cubicBezTo>
                    <a:pt x="84" y="98"/>
                    <a:pt x="58" y="88"/>
                    <a:pt x="58" y="88"/>
                  </a:cubicBezTo>
                  <a:cubicBezTo>
                    <a:pt x="42" y="107"/>
                    <a:pt x="33" y="83"/>
                    <a:pt x="33" y="83"/>
                  </a:cubicBezTo>
                  <a:cubicBezTo>
                    <a:pt x="18" y="85"/>
                    <a:pt x="24" y="56"/>
                    <a:pt x="24" y="56"/>
                  </a:cubicBezTo>
                  <a:cubicBezTo>
                    <a:pt x="0" y="43"/>
                    <a:pt x="24" y="35"/>
                    <a:pt x="24" y="35"/>
                  </a:cubicBezTo>
                  <a:close/>
                </a:path>
              </a:pathLst>
            </a:custGeom>
            <a:solidFill>
              <a:srgbClr val="09B89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16" name="Freeform 13"/>
            <p:cNvSpPr>
              <a:spLocks/>
            </p:cNvSpPr>
            <p:nvPr/>
          </p:nvSpPr>
          <p:spPr bwMode="auto">
            <a:xfrm>
              <a:off x="3802893" y="6048570"/>
              <a:ext cx="161722" cy="160386"/>
            </a:xfrm>
            <a:custGeom>
              <a:avLst/>
              <a:gdLst>
                <a:gd name="T0" fmla="*/ 23 w 101"/>
                <a:gd name="T1" fmla="*/ 43 h 101"/>
                <a:gd name="T2" fmla="*/ 20 w 101"/>
                <a:gd name="T3" fmla="*/ 25 h 101"/>
                <a:gd name="T4" fmla="*/ 42 w 101"/>
                <a:gd name="T5" fmla="*/ 22 h 101"/>
                <a:gd name="T6" fmla="*/ 55 w 101"/>
                <a:gd name="T7" fmla="*/ 0 h 101"/>
                <a:gd name="T8" fmla="*/ 69 w 101"/>
                <a:gd name="T9" fmla="*/ 20 h 101"/>
                <a:gd name="T10" fmla="*/ 79 w 101"/>
                <a:gd name="T11" fmla="*/ 39 h 101"/>
                <a:gd name="T12" fmla="*/ 83 w 101"/>
                <a:gd name="T13" fmla="*/ 69 h 101"/>
                <a:gd name="T14" fmla="*/ 80 w 101"/>
                <a:gd name="T15" fmla="*/ 69 h 101"/>
                <a:gd name="T16" fmla="*/ 61 w 101"/>
                <a:gd name="T17" fmla="*/ 79 h 101"/>
                <a:gd name="T18" fmla="*/ 43 w 101"/>
                <a:gd name="T19" fmla="*/ 78 h 101"/>
                <a:gd name="T20" fmla="*/ 8 w 101"/>
                <a:gd name="T21" fmla="*/ 66 h 101"/>
                <a:gd name="T22" fmla="*/ 23 w 101"/>
                <a:gd name="T23" fmla="*/ 43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1" h="101">
                  <a:moveTo>
                    <a:pt x="23" y="43"/>
                  </a:moveTo>
                  <a:cubicBezTo>
                    <a:pt x="14" y="40"/>
                    <a:pt x="20" y="25"/>
                    <a:pt x="20" y="25"/>
                  </a:cubicBezTo>
                  <a:cubicBezTo>
                    <a:pt x="25" y="11"/>
                    <a:pt x="42" y="22"/>
                    <a:pt x="42" y="22"/>
                  </a:cubicBezTo>
                  <a:cubicBezTo>
                    <a:pt x="35" y="0"/>
                    <a:pt x="55" y="0"/>
                    <a:pt x="55" y="0"/>
                  </a:cubicBezTo>
                  <a:cubicBezTo>
                    <a:pt x="68" y="0"/>
                    <a:pt x="69" y="20"/>
                    <a:pt x="69" y="20"/>
                  </a:cubicBezTo>
                  <a:cubicBezTo>
                    <a:pt x="91" y="21"/>
                    <a:pt x="79" y="39"/>
                    <a:pt x="79" y="39"/>
                  </a:cubicBezTo>
                  <a:cubicBezTo>
                    <a:pt x="101" y="49"/>
                    <a:pt x="83" y="69"/>
                    <a:pt x="83" y="69"/>
                  </a:cubicBezTo>
                  <a:cubicBezTo>
                    <a:pt x="82" y="70"/>
                    <a:pt x="80" y="69"/>
                    <a:pt x="80" y="69"/>
                  </a:cubicBezTo>
                  <a:cubicBezTo>
                    <a:pt x="82" y="94"/>
                    <a:pt x="61" y="79"/>
                    <a:pt x="61" y="79"/>
                  </a:cubicBezTo>
                  <a:cubicBezTo>
                    <a:pt x="59" y="92"/>
                    <a:pt x="43" y="78"/>
                    <a:pt x="43" y="78"/>
                  </a:cubicBezTo>
                  <a:cubicBezTo>
                    <a:pt x="21" y="101"/>
                    <a:pt x="8" y="66"/>
                    <a:pt x="8" y="66"/>
                  </a:cubicBezTo>
                  <a:cubicBezTo>
                    <a:pt x="0" y="46"/>
                    <a:pt x="23" y="43"/>
                    <a:pt x="23" y="43"/>
                  </a:cubicBezTo>
                  <a:close/>
                </a:path>
              </a:pathLst>
            </a:custGeom>
            <a:solidFill>
              <a:srgbClr val="5EC3A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17" name="Freeform 14"/>
            <p:cNvSpPr>
              <a:spLocks/>
            </p:cNvSpPr>
            <p:nvPr/>
          </p:nvSpPr>
          <p:spPr bwMode="auto">
            <a:xfrm>
              <a:off x="3881749" y="6250388"/>
              <a:ext cx="20716" cy="30741"/>
            </a:xfrm>
            <a:custGeom>
              <a:avLst/>
              <a:gdLst>
                <a:gd name="T0" fmla="*/ 0 w 13"/>
                <a:gd name="T1" fmla="*/ 19 h 19"/>
                <a:gd name="T2" fmla="*/ 0 w 13"/>
                <a:gd name="T3" fmla="*/ 19 h 19"/>
                <a:gd name="T4" fmla="*/ 0 w 13"/>
                <a:gd name="T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9">
                  <a:moveTo>
                    <a:pt x="0" y="19"/>
                  </a:moveTo>
                  <a:cubicBezTo>
                    <a:pt x="0" y="19"/>
                    <a:pt x="0" y="19"/>
                    <a:pt x="0" y="19"/>
                  </a:cubicBezTo>
                  <a:cubicBezTo>
                    <a:pt x="2" y="17"/>
                    <a:pt x="13" y="0"/>
                    <a:pt x="0" y="19"/>
                  </a:cubicBezTo>
                  <a:close/>
                </a:path>
              </a:pathLst>
            </a:custGeom>
            <a:solidFill>
              <a:srgbClr val="4DA0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18" name="Freeform 15"/>
            <p:cNvSpPr>
              <a:spLocks/>
            </p:cNvSpPr>
            <p:nvPr/>
          </p:nvSpPr>
          <p:spPr bwMode="auto">
            <a:xfrm>
              <a:off x="3792200" y="6132772"/>
              <a:ext cx="175756" cy="181770"/>
            </a:xfrm>
            <a:custGeom>
              <a:avLst/>
              <a:gdLst>
                <a:gd name="T0" fmla="*/ 20 w 110"/>
                <a:gd name="T1" fmla="*/ 36 h 114"/>
                <a:gd name="T2" fmla="*/ 38 w 110"/>
                <a:gd name="T3" fmla="*/ 23 h 114"/>
                <a:gd name="T4" fmla="*/ 58 w 110"/>
                <a:gd name="T5" fmla="*/ 10 h 114"/>
                <a:gd name="T6" fmla="*/ 67 w 110"/>
                <a:gd name="T7" fmla="*/ 1 h 114"/>
                <a:gd name="T8" fmla="*/ 67 w 110"/>
                <a:gd name="T9" fmla="*/ 1 h 114"/>
                <a:gd name="T10" fmla="*/ 85 w 110"/>
                <a:gd name="T11" fmla="*/ 16 h 114"/>
                <a:gd name="T12" fmla="*/ 87 w 110"/>
                <a:gd name="T13" fmla="*/ 40 h 114"/>
                <a:gd name="T14" fmla="*/ 85 w 110"/>
                <a:gd name="T15" fmla="*/ 60 h 114"/>
                <a:gd name="T16" fmla="*/ 73 w 110"/>
                <a:gd name="T17" fmla="*/ 75 h 114"/>
                <a:gd name="T18" fmla="*/ 56 w 110"/>
                <a:gd name="T19" fmla="*/ 94 h 114"/>
                <a:gd name="T20" fmla="*/ 56 w 110"/>
                <a:gd name="T21" fmla="*/ 93 h 114"/>
                <a:gd name="T22" fmla="*/ 56 w 110"/>
                <a:gd name="T23" fmla="*/ 93 h 114"/>
                <a:gd name="T24" fmla="*/ 56 w 110"/>
                <a:gd name="T25" fmla="*/ 93 h 114"/>
                <a:gd name="T26" fmla="*/ 55 w 110"/>
                <a:gd name="T27" fmla="*/ 95 h 114"/>
                <a:gd name="T28" fmla="*/ 34 w 110"/>
                <a:gd name="T29" fmla="*/ 96 h 114"/>
                <a:gd name="T30" fmla="*/ 33 w 110"/>
                <a:gd name="T31" fmla="*/ 97 h 114"/>
                <a:gd name="T32" fmla="*/ 16 w 110"/>
                <a:gd name="T33" fmla="*/ 86 h 114"/>
                <a:gd name="T34" fmla="*/ 14 w 110"/>
                <a:gd name="T35" fmla="*/ 72 h 114"/>
                <a:gd name="T36" fmla="*/ 12 w 110"/>
                <a:gd name="T37" fmla="*/ 53 h 114"/>
                <a:gd name="T38" fmla="*/ 20 w 110"/>
                <a:gd name="T39" fmla="*/ 36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10" h="114">
                  <a:moveTo>
                    <a:pt x="20" y="36"/>
                  </a:moveTo>
                  <a:cubicBezTo>
                    <a:pt x="19" y="15"/>
                    <a:pt x="38" y="23"/>
                    <a:pt x="38" y="23"/>
                  </a:cubicBezTo>
                  <a:cubicBezTo>
                    <a:pt x="45" y="0"/>
                    <a:pt x="58" y="10"/>
                    <a:pt x="58" y="10"/>
                  </a:cubicBezTo>
                  <a:cubicBezTo>
                    <a:pt x="58" y="5"/>
                    <a:pt x="67" y="1"/>
                    <a:pt x="67" y="1"/>
                  </a:cubicBezTo>
                  <a:cubicBezTo>
                    <a:pt x="67" y="1"/>
                    <a:pt x="67" y="1"/>
                    <a:pt x="67" y="1"/>
                  </a:cubicBezTo>
                  <a:cubicBezTo>
                    <a:pt x="86" y="0"/>
                    <a:pt x="85" y="16"/>
                    <a:pt x="85" y="16"/>
                  </a:cubicBezTo>
                  <a:cubicBezTo>
                    <a:pt x="110" y="27"/>
                    <a:pt x="87" y="40"/>
                    <a:pt x="87" y="40"/>
                  </a:cubicBezTo>
                  <a:cubicBezTo>
                    <a:pt x="106" y="51"/>
                    <a:pt x="85" y="60"/>
                    <a:pt x="85" y="60"/>
                  </a:cubicBezTo>
                  <a:cubicBezTo>
                    <a:pt x="89" y="83"/>
                    <a:pt x="73" y="75"/>
                    <a:pt x="73" y="75"/>
                  </a:cubicBezTo>
                  <a:cubicBezTo>
                    <a:pt x="77" y="105"/>
                    <a:pt x="56" y="94"/>
                    <a:pt x="56" y="94"/>
                  </a:cubicBezTo>
                  <a:cubicBezTo>
                    <a:pt x="56" y="94"/>
                    <a:pt x="56" y="94"/>
                    <a:pt x="56" y="93"/>
                  </a:cubicBezTo>
                  <a:cubicBezTo>
                    <a:pt x="56" y="93"/>
                    <a:pt x="56" y="93"/>
                    <a:pt x="56" y="93"/>
                  </a:cubicBezTo>
                  <a:cubicBezTo>
                    <a:pt x="69" y="74"/>
                    <a:pt x="58" y="91"/>
                    <a:pt x="56" y="93"/>
                  </a:cubicBezTo>
                  <a:cubicBezTo>
                    <a:pt x="56" y="94"/>
                    <a:pt x="55" y="94"/>
                    <a:pt x="55" y="95"/>
                  </a:cubicBezTo>
                  <a:cubicBezTo>
                    <a:pt x="42" y="114"/>
                    <a:pt x="34" y="96"/>
                    <a:pt x="34" y="96"/>
                  </a:cubicBezTo>
                  <a:cubicBezTo>
                    <a:pt x="34" y="97"/>
                    <a:pt x="33" y="97"/>
                    <a:pt x="33" y="97"/>
                  </a:cubicBezTo>
                  <a:cubicBezTo>
                    <a:pt x="10" y="111"/>
                    <a:pt x="16" y="86"/>
                    <a:pt x="16" y="86"/>
                  </a:cubicBezTo>
                  <a:cubicBezTo>
                    <a:pt x="5" y="78"/>
                    <a:pt x="14" y="72"/>
                    <a:pt x="14" y="72"/>
                  </a:cubicBezTo>
                  <a:cubicBezTo>
                    <a:pt x="0" y="69"/>
                    <a:pt x="12" y="53"/>
                    <a:pt x="12" y="53"/>
                  </a:cubicBezTo>
                  <a:cubicBezTo>
                    <a:pt x="3" y="43"/>
                    <a:pt x="20" y="36"/>
                    <a:pt x="20" y="36"/>
                  </a:cubicBezTo>
                  <a:close/>
                </a:path>
              </a:pathLst>
            </a:custGeom>
            <a:solidFill>
              <a:srgbClr val="09B89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19" name="Freeform 16"/>
            <p:cNvSpPr>
              <a:spLocks/>
            </p:cNvSpPr>
            <p:nvPr/>
          </p:nvSpPr>
          <p:spPr bwMode="auto">
            <a:xfrm>
              <a:off x="3663892" y="6075301"/>
              <a:ext cx="158380" cy="218526"/>
            </a:xfrm>
            <a:custGeom>
              <a:avLst/>
              <a:gdLst>
                <a:gd name="T0" fmla="*/ 14 w 99"/>
                <a:gd name="T1" fmla="*/ 87 h 137"/>
                <a:gd name="T2" fmla="*/ 10 w 99"/>
                <a:gd name="T3" fmla="*/ 71 h 137"/>
                <a:gd name="T4" fmla="*/ 21 w 99"/>
                <a:gd name="T5" fmla="*/ 57 h 137"/>
                <a:gd name="T6" fmla="*/ 21 w 99"/>
                <a:gd name="T7" fmla="*/ 42 h 137"/>
                <a:gd name="T8" fmla="*/ 33 w 99"/>
                <a:gd name="T9" fmla="*/ 37 h 137"/>
                <a:gd name="T10" fmla="*/ 54 w 99"/>
                <a:gd name="T11" fmla="*/ 15 h 137"/>
                <a:gd name="T12" fmla="*/ 70 w 99"/>
                <a:gd name="T13" fmla="*/ 0 h 137"/>
                <a:gd name="T14" fmla="*/ 83 w 99"/>
                <a:gd name="T15" fmla="*/ 23 h 137"/>
                <a:gd name="T16" fmla="*/ 97 w 99"/>
                <a:gd name="T17" fmla="*/ 48 h 137"/>
                <a:gd name="T18" fmla="*/ 74 w 99"/>
                <a:gd name="T19" fmla="*/ 78 h 137"/>
                <a:gd name="T20" fmla="*/ 57 w 99"/>
                <a:gd name="T21" fmla="*/ 77 h 137"/>
                <a:gd name="T22" fmla="*/ 57 w 99"/>
                <a:gd name="T23" fmla="*/ 78 h 137"/>
                <a:gd name="T24" fmla="*/ 42 w 99"/>
                <a:gd name="T25" fmla="*/ 93 h 137"/>
                <a:gd name="T26" fmla="*/ 5 w 99"/>
                <a:gd name="T27" fmla="*/ 104 h 137"/>
                <a:gd name="T28" fmla="*/ 14 w 99"/>
                <a:gd name="T29" fmla="*/ 87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7">
                  <a:moveTo>
                    <a:pt x="14" y="87"/>
                  </a:moveTo>
                  <a:cubicBezTo>
                    <a:pt x="9" y="86"/>
                    <a:pt x="10" y="71"/>
                    <a:pt x="10" y="71"/>
                  </a:cubicBezTo>
                  <a:cubicBezTo>
                    <a:pt x="9" y="61"/>
                    <a:pt x="21" y="57"/>
                    <a:pt x="21" y="57"/>
                  </a:cubicBezTo>
                  <a:cubicBezTo>
                    <a:pt x="16" y="52"/>
                    <a:pt x="21" y="42"/>
                    <a:pt x="21" y="42"/>
                  </a:cubicBezTo>
                  <a:cubicBezTo>
                    <a:pt x="25" y="34"/>
                    <a:pt x="33" y="37"/>
                    <a:pt x="33" y="37"/>
                  </a:cubicBezTo>
                  <a:cubicBezTo>
                    <a:pt x="31" y="14"/>
                    <a:pt x="54" y="15"/>
                    <a:pt x="54" y="15"/>
                  </a:cubicBezTo>
                  <a:cubicBezTo>
                    <a:pt x="54" y="2"/>
                    <a:pt x="70" y="0"/>
                    <a:pt x="70" y="0"/>
                  </a:cubicBezTo>
                  <a:cubicBezTo>
                    <a:pt x="86" y="3"/>
                    <a:pt x="83" y="23"/>
                    <a:pt x="83" y="23"/>
                  </a:cubicBezTo>
                  <a:cubicBezTo>
                    <a:pt x="99" y="24"/>
                    <a:pt x="97" y="48"/>
                    <a:pt x="97" y="48"/>
                  </a:cubicBezTo>
                  <a:cubicBezTo>
                    <a:pt x="98" y="111"/>
                    <a:pt x="74" y="78"/>
                    <a:pt x="74" y="78"/>
                  </a:cubicBezTo>
                  <a:cubicBezTo>
                    <a:pt x="68" y="90"/>
                    <a:pt x="57" y="77"/>
                    <a:pt x="57" y="77"/>
                  </a:cubicBezTo>
                  <a:cubicBezTo>
                    <a:pt x="57" y="77"/>
                    <a:pt x="57" y="77"/>
                    <a:pt x="57" y="78"/>
                  </a:cubicBezTo>
                  <a:cubicBezTo>
                    <a:pt x="65" y="98"/>
                    <a:pt x="42" y="93"/>
                    <a:pt x="42" y="93"/>
                  </a:cubicBezTo>
                  <a:cubicBezTo>
                    <a:pt x="17" y="137"/>
                    <a:pt x="5" y="104"/>
                    <a:pt x="5" y="104"/>
                  </a:cubicBezTo>
                  <a:cubicBezTo>
                    <a:pt x="0" y="95"/>
                    <a:pt x="14" y="87"/>
                    <a:pt x="14" y="87"/>
                  </a:cubicBezTo>
                  <a:close/>
                </a:path>
              </a:pathLst>
            </a:custGeom>
            <a:solidFill>
              <a:srgbClr val="09B89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20" name="Freeform 17"/>
            <p:cNvSpPr>
              <a:spLocks/>
            </p:cNvSpPr>
            <p:nvPr/>
          </p:nvSpPr>
          <p:spPr bwMode="auto">
            <a:xfrm>
              <a:off x="3633151" y="6104037"/>
              <a:ext cx="251939" cy="210506"/>
            </a:xfrm>
            <a:custGeom>
              <a:avLst/>
              <a:gdLst>
                <a:gd name="T0" fmla="*/ 14 w 157"/>
                <a:gd name="T1" fmla="*/ 96 h 132"/>
                <a:gd name="T2" fmla="*/ 37 w 157"/>
                <a:gd name="T3" fmla="*/ 89 h 132"/>
                <a:gd name="T4" fmla="*/ 48 w 157"/>
                <a:gd name="T5" fmla="*/ 74 h 132"/>
                <a:gd name="T6" fmla="*/ 70 w 157"/>
                <a:gd name="T7" fmla="*/ 49 h 132"/>
                <a:gd name="T8" fmla="*/ 80 w 157"/>
                <a:gd name="T9" fmla="*/ 31 h 132"/>
                <a:gd name="T10" fmla="*/ 109 w 157"/>
                <a:gd name="T11" fmla="*/ 33 h 132"/>
                <a:gd name="T12" fmla="*/ 126 w 157"/>
                <a:gd name="T13" fmla="*/ 47 h 132"/>
                <a:gd name="T14" fmla="*/ 137 w 157"/>
                <a:gd name="T15" fmla="*/ 74 h 132"/>
                <a:gd name="T16" fmla="*/ 126 w 157"/>
                <a:gd name="T17" fmla="*/ 96 h 132"/>
                <a:gd name="T18" fmla="*/ 103 w 157"/>
                <a:gd name="T19" fmla="*/ 80 h 132"/>
                <a:gd name="T20" fmla="*/ 78 w 157"/>
                <a:gd name="T21" fmla="*/ 80 h 132"/>
                <a:gd name="T22" fmla="*/ 61 w 157"/>
                <a:gd name="T23" fmla="*/ 89 h 132"/>
                <a:gd name="T24" fmla="*/ 60 w 157"/>
                <a:gd name="T25" fmla="*/ 88 h 132"/>
                <a:gd name="T26" fmla="*/ 60 w 157"/>
                <a:gd name="T27" fmla="*/ 88 h 132"/>
                <a:gd name="T28" fmla="*/ 37 w 157"/>
                <a:gd name="T29" fmla="*/ 109 h 132"/>
                <a:gd name="T30" fmla="*/ 8 w 157"/>
                <a:gd name="T31" fmla="*/ 114 h 132"/>
                <a:gd name="T32" fmla="*/ 14 w 157"/>
                <a:gd name="T33" fmla="*/ 96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7" h="132">
                  <a:moveTo>
                    <a:pt x="14" y="96"/>
                  </a:moveTo>
                  <a:cubicBezTo>
                    <a:pt x="14" y="96"/>
                    <a:pt x="17" y="69"/>
                    <a:pt x="37" y="89"/>
                  </a:cubicBezTo>
                  <a:cubicBezTo>
                    <a:pt x="37" y="89"/>
                    <a:pt x="30" y="74"/>
                    <a:pt x="48" y="74"/>
                  </a:cubicBezTo>
                  <a:cubicBezTo>
                    <a:pt x="48" y="74"/>
                    <a:pt x="35" y="40"/>
                    <a:pt x="70" y="49"/>
                  </a:cubicBezTo>
                  <a:cubicBezTo>
                    <a:pt x="70" y="49"/>
                    <a:pt x="59" y="28"/>
                    <a:pt x="80" y="31"/>
                  </a:cubicBezTo>
                  <a:cubicBezTo>
                    <a:pt x="80" y="31"/>
                    <a:pt x="95" y="0"/>
                    <a:pt x="109" y="33"/>
                  </a:cubicBezTo>
                  <a:cubicBezTo>
                    <a:pt x="109" y="33"/>
                    <a:pt x="131" y="23"/>
                    <a:pt x="126" y="47"/>
                  </a:cubicBezTo>
                  <a:cubicBezTo>
                    <a:pt x="126" y="47"/>
                    <a:pt x="152" y="52"/>
                    <a:pt x="137" y="74"/>
                  </a:cubicBezTo>
                  <a:cubicBezTo>
                    <a:pt x="137" y="74"/>
                    <a:pt x="157" y="103"/>
                    <a:pt x="126" y="96"/>
                  </a:cubicBezTo>
                  <a:cubicBezTo>
                    <a:pt x="126" y="96"/>
                    <a:pt x="104" y="118"/>
                    <a:pt x="103" y="80"/>
                  </a:cubicBezTo>
                  <a:cubicBezTo>
                    <a:pt x="103" y="80"/>
                    <a:pt x="90" y="108"/>
                    <a:pt x="78" y="80"/>
                  </a:cubicBezTo>
                  <a:cubicBezTo>
                    <a:pt x="78" y="80"/>
                    <a:pt x="78" y="99"/>
                    <a:pt x="61" y="89"/>
                  </a:cubicBezTo>
                  <a:cubicBezTo>
                    <a:pt x="61" y="89"/>
                    <a:pt x="60" y="88"/>
                    <a:pt x="60" y="88"/>
                  </a:cubicBezTo>
                  <a:cubicBezTo>
                    <a:pt x="42" y="77"/>
                    <a:pt x="60" y="88"/>
                    <a:pt x="60" y="88"/>
                  </a:cubicBezTo>
                  <a:cubicBezTo>
                    <a:pt x="60" y="88"/>
                    <a:pt x="64" y="128"/>
                    <a:pt x="37" y="109"/>
                  </a:cubicBezTo>
                  <a:cubicBezTo>
                    <a:pt x="37" y="109"/>
                    <a:pt x="26" y="132"/>
                    <a:pt x="8" y="114"/>
                  </a:cubicBezTo>
                  <a:cubicBezTo>
                    <a:pt x="8" y="114"/>
                    <a:pt x="0" y="98"/>
                    <a:pt x="14" y="96"/>
                  </a:cubicBezTo>
                  <a:close/>
                </a:path>
              </a:pathLst>
            </a:custGeom>
            <a:solidFill>
              <a:srgbClr val="5EC3A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8121" name="Group 8120"/>
          <p:cNvGrpSpPr/>
          <p:nvPr/>
        </p:nvGrpSpPr>
        <p:grpSpPr>
          <a:xfrm>
            <a:off x="2772197" y="2746229"/>
            <a:ext cx="376237" cy="479152"/>
            <a:chOff x="3591719" y="5970382"/>
            <a:chExt cx="376237" cy="479152"/>
          </a:xfrm>
        </p:grpSpPr>
        <p:sp>
          <p:nvSpPr>
            <p:cNvPr id="8122" name="AutoShape 3"/>
            <p:cNvSpPr>
              <a:spLocks noChangeAspect="1" noChangeArrowheads="1" noTextEdit="1"/>
            </p:cNvSpPr>
            <p:nvPr/>
          </p:nvSpPr>
          <p:spPr bwMode="auto">
            <a:xfrm>
              <a:off x="3611099" y="5975060"/>
              <a:ext cx="336141" cy="4731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23" name="Freeform 5"/>
            <p:cNvSpPr>
              <a:spLocks/>
            </p:cNvSpPr>
            <p:nvPr/>
          </p:nvSpPr>
          <p:spPr bwMode="auto">
            <a:xfrm>
              <a:off x="3591719" y="5984416"/>
              <a:ext cx="174419" cy="263300"/>
            </a:xfrm>
            <a:custGeom>
              <a:avLst/>
              <a:gdLst>
                <a:gd name="T0" fmla="*/ 23 w 109"/>
                <a:gd name="T1" fmla="*/ 78 h 165"/>
                <a:gd name="T2" fmla="*/ 42 w 109"/>
                <a:gd name="T3" fmla="*/ 51 h 165"/>
                <a:gd name="T4" fmla="*/ 59 w 109"/>
                <a:gd name="T5" fmla="*/ 31 h 165"/>
                <a:gd name="T6" fmla="*/ 88 w 109"/>
                <a:gd name="T7" fmla="*/ 15 h 165"/>
                <a:gd name="T8" fmla="*/ 88 w 109"/>
                <a:gd name="T9" fmla="*/ 66 h 165"/>
                <a:gd name="T10" fmla="*/ 72 w 109"/>
                <a:gd name="T11" fmla="*/ 109 h 165"/>
                <a:gd name="T12" fmla="*/ 61 w 109"/>
                <a:gd name="T13" fmla="*/ 137 h 165"/>
                <a:gd name="T14" fmla="*/ 43 w 109"/>
                <a:gd name="T15" fmla="*/ 165 h 165"/>
                <a:gd name="T16" fmla="*/ 30 w 109"/>
                <a:gd name="T17" fmla="*/ 143 h 165"/>
                <a:gd name="T18" fmla="*/ 23 w 109"/>
                <a:gd name="T19" fmla="*/ 109 h 165"/>
                <a:gd name="T20" fmla="*/ 23 w 109"/>
                <a:gd name="T21" fmla="*/ 78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9" h="165">
                  <a:moveTo>
                    <a:pt x="23" y="78"/>
                  </a:moveTo>
                  <a:cubicBezTo>
                    <a:pt x="11" y="41"/>
                    <a:pt x="42" y="51"/>
                    <a:pt x="42" y="51"/>
                  </a:cubicBezTo>
                  <a:cubicBezTo>
                    <a:pt x="40" y="29"/>
                    <a:pt x="59" y="31"/>
                    <a:pt x="59" y="31"/>
                  </a:cubicBezTo>
                  <a:cubicBezTo>
                    <a:pt x="62" y="0"/>
                    <a:pt x="88" y="15"/>
                    <a:pt x="88" y="15"/>
                  </a:cubicBezTo>
                  <a:cubicBezTo>
                    <a:pt x="102" y="24"/>
                    <a:pt x="88" y="66"/>
                    <a:pt x="88" y="66"/>
                  </a:cubicBezTo>
                  <a:cubicBezTo>
                    <a:pt x="109" y="82"/>
                    <a:pt x="72" y="109"/>
                    <a:pt x="72" y="109"/>
                  </a:cubicBezTo>
                  <a:cubicBezTo>
                    <a:pt x="88" y="127"/>
                    <a:pt x="61" y="137"/>
                    <a:pt x="61" y="137"/>
                  </a:cubicBezTo>
                  <a:cubicBezTo>
                    <a:pt x="65" y="164"/>
                    <a:pt x="43" y="165"/>
                    <a:pt x="43" y="165"/>
                  </a:cubicBezTo>
                  <a:cubicBezTo>
                    <a:pt x="25" y="163"/>
                    <a:pt x="30" y="143"/>
                    <a:pt x="30" y="143"/>
                  </a:cubicBezTo>
                  <a:cubicBezTo>
                    <a:pt x="3" y="132"/>
                    <a:pt x="23" y="109"/>
                    <a:pt x="23" y="109"/>
                  </a:cubicBezTo>
                  <a:cubicBezTo>
                    <a:pt x="0" y="92"/>
                    <a:pt x="23" y="78"/>
                    <a:pt x="23" y="78"/>
                  </a:cubicBezTo>
                  <a:close/>
                </a:path>
              </a:pathLst>
            </a:custGeom>
            <a:solidFill>
              <a:srgbClr val="09B89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24" name="Freeform 6"/>
            <p:cNvSpPr>
              <a:spLocks/>
            </p:cNvSpPr>
            <p:nvPr/>
          </p:nvSpPr>
          <p:spPr bwMode="auto">
            <a:xfrm>
              <a:off x="3726042" y="6226999"/>
              <a:ext cx="82197" cy="222535"/>
            </a:xfrm>
            <a:custGeom>
              <a:avLst/>
              <a:gdLst>
                <a:gd name="T0" fmla="*/ 4 w 51"/>
                <a:gd name="T1" fmla="*/ 12 h 140"/>
                <a:gd name="T2" fmla="*/ 18 w 51"/>
                <a:gd name="T3" fmla="*/ 38 h 140"/>
                <a:gd name="T4" fmla="*/ 19 w 51"/>
                <a:gd name="T5" fmla="*/ 39 h 140"/>
                <a:gd name="T6" fmla="*/ 18 w 51"/>
                <a:gd name="T7" fmla="*/ 38 h 140"/>
                <a:gd name="T8" fmla="*/ 23 w 51"/>
                <a:gd name="T9" fmla="*/ 0 h 140"/>
                <a:gd name="T10" fmla="*/ 32 w 51"/>
                <a:gd name="T11" fmla="*/ 5 h 140"/>
                <a:gd name="T12" fmla="*/ 26 w 51"/>
                <a:gd name="T13" fmla="*/ 46 h 140"/>
                <a:gd name="T14" fmla="*/ 26 w 51"/>
                <a:gd name="T15" fmla="*/ 48 h 140"/>
                <a:gd name="T16" fmla="*/ 26 w 51"/>
                <a:gd name="T17" fmla="*/ 46 h 140"/>
                <a:gd name="T18" fmla="*/ 50 w 51"/>
                <a:gd name="T19" fmla="*/ 6 h 140"/>
                <a:gd name="T20" fmla="*/ 51 w 51"/>
                <a:gd name="T21" fmla="*/ 19 h 140"/>
                <a:gd name="T22" fmla="*/ 32 w 51"/>
                <a:gd name="T23" fmla="*/ 63 h 140"/>
                <a:gd name="T24" fmla="*/ 35 w 51"/>
                <a:gd name="T25" fmla="*/ 137 h 140"/>
                <a:gd name="T26" fmla="*/ 19 w 51"/>
                <a:gd name="T27" fmla="*/ 140 h 140"/>
                <a:gd name="T28" fmla="*/ 7 w 51"/>
                <a:gd name="T29" fmla="*/ 138 h 140"/>
                <a:gd name="T30" fmla="*/ 4 w 51"/>
                <a:gd name="T31" fmla="*/ 137 h 140"/>
                <a:gd name="T32" fmla="*/ 10 w 51"/>
                <a:gd name="T33" fmla="*/ 81 h 140"/>
                <a:gd name="T34" fmla="*/ 0 w 51"/>
                <a:gd name="T35" fmla="*/ 25 h 140"/>
                <a:gd name="T36" fmla="*/ 4 w 51"/>
                <a:gd name="T37" fmla="*/ 12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1" h="140">
                  <a:moveTo>
                    <a:pt x="4" y="12"/>
                  </a:moveTo>
                  <a:cubicBezTo>
                    <a:pt x="14" y="21"/>
                    <a:pt x="18" y="34"/>
                    <a:pt x="18" y="38"/>
                  </a:cubicBezTo>
                  <a:cubicBezTo>
                    <a:pt x="18" y="39"/>
                    <a:pt x="19" y="39"/>
                    <a:pt x="19" y="39"/>
                  </a:cubicBezTo>
                  <a:cubicBezTo>
                    <a:pt x="19" y="39"/>
                    <a:pt x="19" y="39"/>
                    <a:pt x="18" y="38"/>
                  </a:cubicBezTo>
                  <a:cubicBezTo>
                    <a:pt x="18" y="32"/>
                    <a:pt x="23" y="0"/>
                    <a:pt x="23" y="0"/>
                  </a:cubicBezTo>
                  <a:cubicBezTo>
                    <a:pt x="32" y="5"/>
                    <a:pt x="32" y="5"/>
                    <a:pt x="32" y="5"/>
                  </a:cubicBezTo>
                  <a:cubicBezTo>
                    <a:pt x="28" y="11"/>
                    <a:pt x="26" y="38"/>
                    <a:pt x="26" y="46"/>
                  </a:cubicBezTo>
                  <a:cubicBezTo>
                    <a:pt x="26" y="47"/>
                    <a:pt x="26" y="47"/>
                    <a:pt x="26" y="48"/>
                  </a:cubicBezTo>
                  <a:cubicBezTo>
                    <a:pt x="26" y="48"/>
                    <a:pt x="26" y="47"/>
                    <a:pt x="26" y="46"/>
                  </a:cubicBezTo>
                  <a:cubicBezTo>
                    <a:pt x="28" y="29"/>
                    <a:pt x="50" y="6"/>
                    <a:pt x="50" y="6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44" y="21"/>
                    <a:pt x="37" y="41"/>
                    <a:pt x="32" y="63"/>
                  </a:cubicBezTo>
                  <a:cubicBezTo>
                    <a:pt x="27" y="85"/>
                    <a:pt x="35" y="137"/>
                    <a:pt x="35" y="137"/>
                  </a:cubicBezTo>
                  <a:cubicBezTo>
                    <a:pt x="35" y="137"/>
                    <a:pt x="23" y="140"/>
                    <a:pt x="19" y="140"/>
                  </a:cubicBezTo>
                  <a:cubicBezTo>
                    <a:pt x="16" y="140"/>
                    <a:pt x="7" y="138"/>
                    <a:pt x="7" y="138"/>
                  </a:cubicBezTo>
                  <a:cubicBezTo>
                    <a:pt x="4" y="137"/>
                    <a:pt x="4" y="137"/>
                    <a:pt x="4" y="137"/>
                  </a:cubicBezTo>
                  <a:cubicBezTo>
                    <a:pt x="7" y="130"/>
                    <a:pt x="10" y="81"/>
                    <a:pt x="10" y="81"/>
                  </a:cubicBezTo>
                  <a:cubicBezTo>
                    <a:pt x="13" y="38"/>
                    <a:pt x="0" y="25"/>
                    <a:pt x="0" y="25"/>
                  </a:cubicBezTo>
                  <a:lnTo>
                    <a:pt x="4" y="12"/>
                  </a:lnTo>
                  <a:close/>
                </a:path>
              </a:pathLst>
            </a:custGeom>
            <a:solidFill>
              <a:srgbClr val="543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25" name="Freeform 7"/>
            <p:cNvSpPr>
              <a:spLocks/>
            </p:cNvSpPr>
            <p:nvPr/>
          </p:nvSpPr>
          <p:spPr bwMode="auto">
            <a:xfrm>
              <a:off x="3754777" y="6287143"/>
              <a:ext cx="2005" cy="2005"/>
            </a:xfrm>
            <a:custGeom>
              <a:avLst/>
              <a:gdLst>
                <a:gd name="T0" fmla="*/ 0 w 1"/>
                <a:gd name="T1" fmla="*/ 0 h 1"/>
                <a:gd name="T2" fmla="*/ 1 w 1"/>
                <a:gd name="T3" fmla="*/ 1 h 1"/>
                <a:gd name="T4" fmla="*/ 0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0" y="1"/>
                    <a:pt x="0" y="0"/>
                  </a:cubicBezTo>
                  <a:close/>
                </a:path>
              </a:pathLst>
            </a:custGeom>
            <a:solidFill>
              <a:srgbClr val="543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26" name="Freeform 8"/>
            <p:cNvSpPr>
              <a:spLocks/>
            </p:cNvSpPr>
            <p:nvPr/>
          </p:nvSpPr>
          <p:spPr bwMode="auto">
            <a:xfrm>
              <a:off x="3768143" y="6299840"/>
              <a:ext cx="0" cy="3342"/>
            </a:xfrm>
            <a:custGeom>
              <a:avLst/>
              <a:gdLst>
                <a:gd name="T0" fmla="*/ 0 h 2"/>
                <a:gd name="T1" fmla="*/ 2 h 2"/>
                <a:gd name="T2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1"/>
                    <a:pt x="0" y="1"/>
                    <a:pt x="0" y="0"/>
                  </a:cubicBezTo>
                  <a:close/>
                </a:path>
              </a:pathLst>
            </a:custGeom>
            <a:solidFill>
              <a:srgbClr val="543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27" name="Freeform 9"/>
            <p:cNvSpPr>
              <a:spLocks/>
            </p:cNvSpPr>
            <p:nvPr/>
          </p:nvSpPr>
          <p:spPr bwMode="auto">
            <a:xfrm>
              <a:off x="3638498" y="6092676"/>
              <a:ext cx="87544" cy="126304"/>
            </a:xfrm>
            <a:custGeom>
              <a:avLst/>
              <a:gdLst>
                <a:gd name="T0" fmla="*/ 18 w 55"/>
                <a:gd name="T1" fmla="*/ 26 h 79"/>
                <a:gd name="T2" fmla="*/ 36 w 55"/>
                <a:gd name="T3" fmla="*/ 6 h 79"/>
                <a:gd name="T4" fmla="*/ 32 w 55"/>
                <a:gd name="T5" fmla="*/ 73 h 79"/>
                <a:gd name="T6" fmla="*/ 16 w 55"/>
                <a:gd name="T7" fmla="*/ 51 h 79"/>
                <a:gd name="T8" fmla="*/ 18 w 55"/>
                <a:gd name="T9" fmla="*/ 2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79">
                  <a:moveTo>
                    <a:pt x="18" y="26"/>
                  </a:moveTo>
                  <a:cubicBezTo>
                    <a:pt x="7" y="0"/>
                    <a:pt x="36" y="6"/>
                    <a:pt x="36" y="6"/>
                  </a:cubicBezTo>
                  <a:cubicBezTo>
                    <a:pt x="55" y="10"/>
                    <a:pt x="32" y="73"/>
                    <a:pt x="32" y="73"/>
                  </a:cubicBezTo>
                  <a:cubicBezTo>
                    <a:pt x="5" y="79"/>
                    <a:pt x="16" y="51"/>
                    <a:pt x="16" y="51"/>
                  </a:cubicBezTo>
                  <a:cubicBezTo>
                    <a:pt x="0" y="35"/>
                    <a:pt x="18" y="26"/>
                    <a:pt x="18" y="26"/>
                  </a:cubicBezTo>
                  <a:close/>
                </a:path>
              </a:pathLst>
            </a:custGeom>
            <a:solidFill>
              <a:srgbClr val="5EC3A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28" name="Freeform 10"/>
            <p:cNvSpPr>
              <a:spLocks/>
            </p:cNvSpPr>
            <p:nvPr/>
          </p:nvSpPr>
          <p:spPr bwMode="auto">
            <a:xfrm>
              <a:off x="3729383" y="6051243"/>
              <a:ext cx="4678" cy="2005"/>
            </a:xfrm>
            <a:custGeom>
              <a:avLst/>
              <a:gdLst>
                <a:gd name="T0" fmla="*/ 0 w 3"/>
                <a:gd name="T1" fmla="*/ 0 h 1"/>
                <a:gd name="T2" fmla="*/ 3 w 3"/>
                <a:gd name="T3" fmla="*/ 1 h 1"/>
                <a:gd name="T4" fmla="*/ 0 w 3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1">
                  <a:moveTo>
                    <a:pt x="0" y="0"/>
                  </a:moveTo>
                  <a:cubicBezTo>
                    <a:pt x="2" y="0"/>
                    <a:pt x="3" y="1"/>
                    <a:pt x="3" y="1"/>
                  </a:cubicBezTo>
                  <a:cubicBezTo>
                    <a:pt x="2" y="1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29" name="Freeform 11"/>
            <p:cNvSpPr>
              <a:spLocks/>
            </p:cNvSpPr>
            <p:nvPr/>
          </p:nvSpPr>
          <p:spPr bwMode="auto">
            <a:xfrm>
              <a:off x="3691291" y="5970382"/>
              <a:ext cx="142342" cy="173751"/>
            </a:xfrm>
            <a:custGeom>
              <a:avLst/>
              <a:gdLst>
                <a:gd name="T0" fmla="*/ 12 w 89"/>
                <a:gd name="T1" fmla="*/ 77 h 109"/>
                <a:gd name="T2" fmla="*/ 9 w 89"/>
                <a:gd name="T3" fmla="*/ 60 h 109"/>
                <a:gd name="T4" fmla="*/ 24 w 89"/>
                <a:gd name="T5" fmla="*/ 51 h 109"/>
                <a:gd name="T6" fmla="*/ 27 w 89"/>
                <a:gd name="T7" fmla="*/ 52 h 109"/>
                <a:gd name="T8" fmla="*/ 24 w 89"/>
                <a:gd name="T9" fmla="*/ 51 h 109"/>
                <a:gd name="T10" fmla="*/ 20 w 89"/>
                <a:gd name="T11" fmla="*/ 33 h 109"/>
                <a:gd name="T12" fmla="*/ 46 w 89"/>
                <a:gd name="T13" fmla="*/ 19 h 109"/>
                <a:gd name="T14" fmla="*/ 67 w 89"/>
                <a:gd name="T15" fmla="*/ 3 h 109"/>
                <a:gd name="T16" fmla="*/ 79 w 89"/>
                <a:gd name="T17" fmla="*/ 19 h 109"/>
                <a:gd name="T18" fmla="*/ 71 w 89"/>
                <a:gd name="T19" fmla="*/ 40 h 109"/>
                <a:gd name="T20" fmla="*/ 59 w 89"/>
                <a:gd name="T21" fmla="*/ 59 h 109"/>
                <a:gd name="T22" fmla="*/ 45 w 89"/>
                <a:gd name="T23" fmla="*/ 83 h 109"/>
                <a:gd name="T24" fmla="*/ 23 w 89"/>
                <a:gd name="T25" fmla="*/ 107 h 109"/>
                <a:gd name="T26" fmla="*/ 3 w 89"/>
                <a:gd name="T27" fmla="*/ 94 h 109"/>
                <a:gd name="T28" fmla="*/ 12 w 89"/>
                <a:gd name="T29" fmla="*/ 7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9" h="109">
                  <a:moveTo>
                    <a:pt x="12" y="77"/>
                  </a:moveTo>
                  <a:cubicBezTo>
                    <a:pt x="6" y="64"/>
                    <a:pt x="9" y="60"/>
                    <a:pt x="9" y="60"/>
                  </a:cubicBezTo>
                  <a:cubicBezTo>
                    <a:pt x="11" y="50"/>
                    <a:pt x="20" y="50"/>
                    <a:pt x="24" y="51"/>
                  </a:cubicBezTo>
                  <a:cubicBezTo>
                    <a:pt x="25" y="51"/>
                    <a:pt x="26" y="52"/>
                    <a:pt x="27" y="52"/>
                  </a:cubicBezTo>
                  <a:cubicBezTo>
                    <a:pt x="27" y="52"/>
                    <a:pt x="26" y="51"/>
                    <a:pt x="24" y="51"/>
                  </a:cubicBezTo>
                  <a:cubicBezTo>
                    <a:pt x="18" y="48"/>
                    <a:pt x="20" y="33"/>
                    <a:pt x="20" y="33"/>
                  </a:cubicBezTo>
                  <a:cubicBezTo>
                    <a:pt x="23" y="9"/>
                    <a:pt x="46" y="19"/>
                    <a:pt x="46" y="19"/>
                  </a:cubicBezTo>
                  <a:cubicBezTo>
                    <a:pt x="47" y="0"/>
                    <a:pt x="67" y="3"/>
                    <a:pt x="67" y="3"/>
                  </a:cubicBezTo>
                  <a:cubicBezTo>
                    <a:pt x="80" y="4"/>
                    <a:pt x="79" y="19"/>
                    <a:pt x="79" y="19"/>
                  </a:cubicBezTo>
                  <a:cubicBezTo>
                    <a:pt x="81" y="27"/>
                    <a:pt x="71" y="40"/>
                    <a:pt x="71" y="40"/>
                  </a:cubicBezTo>
                  <a:cubicBezTo>
                    <a:pt x="89" y="68"/>
                    <a:pt x="59" y="59"/>
                    <a:pt x="59" y="59"/>
                  </a:cubicBezTo>
                  <a:cubicBezTo>
                    <a:pt x="80" y="75"/>
                    <a:pt x="45" y="83"/>
                    <a:pt x="45" y="83"/>
                  </a:cubicBezTo>
                  <a:cubicBezTo>
                    <a:pt x="51" y="109"/>
                    <a:pt x="23" y="107"/>
                    <a:pt x="23" y="107"/>
                  </a:cubicBezTo>
                  <a:cubicBezTo>
                    <a:pt x="5" y="109"/>
                    <a:pt x="3" y="94"/>
                    <a:pt x="3" y="94"/>
                  </a:cubicBezTo>
                  <a:cubicBezTo>
                    <a:pt x="0" y="84"/>
                    <a:pt x="12" y="77"/>
                    <a:pt x="12" y="77"/>
                  </a:cubicBezTo>
                  <a:close/>
                </a:path>
              </a:pathLst>
            </a:custGeom>
            <a:solidFill>
              <a:srgbClr val="5EC3A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30" name="Freeform 12"/>
            <p:cNvSpPr>
              <a:spLocks/>
            </p:cNvSpPr>
            <p:nvPr/>
          </p:nvSpPr>
          <p:spPr bwMode="auto">
            <a:xfrm>
              <a:off x="3742080" y="5987757"/>
              <a:ext cx="176424" cy="170410"/>
            </a:xfrm>
            <a:custGeom>
              <a:avLst/>
              <a:gdLst>
                <a:gd name="T0" fmla="*/ 24 w 110"/>
                <a:gd name="T1" fmla="*/ 35 h 107"/>
                <a:gd name="T2" fmla="*/ 39 w 110"/>
                <a:gd name="T3" fmla="*/ 21 h 107"/>
                <a:gd name="T4" fmla="*/ 55 w 110"/>
                <a:gd name="T5" fmla="*/ 2 h 107"/>
                <a:gd name="T6" fmla="*/ 69 w 110"/>
                <a:gd name="T7" fmla="*/ 20 h 107"/>
                <a:gd name="T8" fmla="*/ 88 w 110"/>
                <a:gd name="T9" fmla="*/ 38 h 107"/>
                <a:gd name="T10" fmla="*/ 78 w 110"/>
                <a:gd name="T11" fmla="*/ 72 h 107"/>
                <a:gd name="T12" fmla="*/ 58 w 110"/>
                <a:gd name="T13" fmla="*/ 88 h 107"/>
                <a:gd name="T14" fmla="*/ 33 w 110"/>
                <a:gd name="T15" fmla="*/ 83 h 107"/>
                <a:gd name="T16" fmla="*/ 24 w 110"/>
                <a:gd name="T17" fmla="*/ 56 h 107"/>
                <a:gd name="T18" fmla="*/ 24 w 110"/>
                <a:gd name="T19" fmla="*/ 35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0" h="107">
                  <a:moveTo>
                    <a:pt x="24" y="35"/>
                  </a:moveTo>
                  <a:cubicBezTo>
                    <a:pt x="22" y="17"/>
                    <a:pt x="39" y="21"/>
                    <a:pt x="39" y="21"/>
                  </a:cubicBezTo>
                  <a:cubicBezTo>
                    <a:pt x="42" y="0"/>
                    <a:pt x="55" y="2"/>
                    <a:pt x="55" y="2"/>
                  </a:cubicBezTo>
                  <a:cubicBezTo>
                    <a:pt x="68" y="3"/>
                    <a:pt x="69" y="20"/>
                    <a:pt x="69" y="20"/>
                  </a:cubicBezTo>
                  <a:cubicBezTo>
                    <a:pt x="93" y="19"/>
                    <a:pt x="88" y="38"/>
                    <a:pt x="88" y="38"/>
                  </a:cubicBezTo>
                  <a:cubicBezTo>
                    <a:pt x="110" y="59"/>
                    <a:pt x="78" y="72"/>
                    <a:pt x="78" y="72"/>
                  </a:cubicBezTo>
                  <a:cubicBezTo>
                    <a:pt x="84" y="98"/>
                    <a:pt x="58" y="88"/>
                    <a:pt x="58" y="88"/>
                  </a:cubicBezTo>
                  <a:cubicBezTo>
                    <a:pt x="42" y="107"/>
                    <a:pt x="33" y="83"/>
                    <a:pt x="33" y="83"/>
                  </a:cubicBezTo>
                  <a:cubicBezTo>
                    <a:pt x="18" y="85"/>
                    <a:pt x="24" y="56"/>
                    <a:pt x="24" y="56"/>
                  </a:cubicBezTo>
                  <a:cubicBezTo>
                    <a:pt x="0" y="43"/>
                    <a:pt x="24" y="35"/>
                    <a:pt x="24" y="35"/>
                  </a:cubicBezTo>
                  <a:close/>
                </a:path>
              </a:pathLst>
            </a:custGeom>
            <a:solidFill>
              <a:srgbClr val="09B89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31" name="Freeform 13"/>
            <p:cNvSpPr>
              <a:spLocks/>
            </p:cNvSpPr>
            <p:nvPr/>
          </p:nvSpPr>
          <p:spPr bwMode="auto">
            <a:xfrm>
              <a:off x="3802893" y="6048570"/>
              <a:ext cx="161722" cy="160386"/>
            </a:xfrm>
            <a:custGeom>
              <a:avLst/>
              <a:gdLst>
                <a:gd name="T0" fmla="*/ 23 w 101"/>
                <a:gd name="T1" fmla="*/ 43 h 101"/>
                <a:gd name="T2" fmla="*/ 20 w 101"/>
                <a:gd name="T3" fmla="*/ 25 h 101"/>
                <a:gd name="T4" fmla="*/ 42 w 101"/>
                <a:gd name="T5" fmla="*/ 22 h 101"/>
                <a:gd name="T6" fmla="*/ 55 w 101"/>
                <a:gd name="T7" fmla="*/ 0 h 101"/>
                <a:gd name="T8" fmla="*/ 69 w 101"/>
                <a:gd name="T9" fmla="*/ 20 h 101"/>
                <a:gd name="T10" fmla="*/ 79 w 101"/>
                <a:gd name="T11" fmla="*/ 39 h 101"/>
                <a:gd name="T12" fmla="*/ 83 w 101"/>
                <a:gd name="T13" fmla="*/ 69 h 101"/>
                <a:gd name="T14" fmla="*/ 80 w 101"/>
                <a:gd name="T15" fmla="*/ 69 h 101"/>
                <a:gd name="T16" fmla="*/ 61 w 101"/>
                <a:gd name="T17" fmla="*/ 79 h 101"/>
                <a:gd name="T18" fmla="*/ 43 w 101"/>
                <a:gd name="T19" fmla="*/ 78 h 101"/>
                <a:gd name="T20" fmla="*/ 8 w 101"/>
                <a:gd name="T21" fmla="*/ 66 h 101"/>
                <a:gd name="T22" fmla="*/ 23 w 101"/>
                <a:gd name="T23" fmla="*/ 43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1" h="101">
                  <a:moveTo>
                    <a:pt x="23" y="43"/>
                  </a:moveTo>
                  <a:cubicBezTo>
                    <a:pt x="14" y="40"/>
                    <a:pt x="20" y="25"/>
                    <a:pt x="20" y="25"/>
                  </a:cubicBezTo>
                  <a:cubicBezTo>
                    <a:pt x="25" y="11"/>
                    <a:pt x="42" y="22"/>
                    <a:pt x="42" y="22"/>
                  </a:cubicBezTo>
                  <a:cubicBezTo>
                    <a:pt x="35" y="0"/>
                    <a:pt x="55" y="0"/>
                    <a:pt x="55" y="0"/>
                  </a:cubicBezTo>
                  <a:cubicBezTo>
                    <a:pt x="68" y="0"/>
                    <a:pt x="69" y="20"/>
                    <a:pt x="69" y="20"/>
                  </a:cubicBezTo>
                  <a:cubicBezTo>
                    <a:pt x="91" y="21"/>
                    <a:pt x="79" y="39"/>
                    <a:pt x="79" y="39"/>
                  </a:cubicBezTo>
                  <a:cubicBezTo>
                    <a:pt x="101" y="49"/>
                    <a:pt x="83" y="69"/>
                    <a:pt x="83" y="69"/>
                  </a:cubicBezTo>
                  <a:cubicBezTo>
                    <a:pt x="82" y="70"/>
                    <a:pt x="80" y="69"/>
                    <a:pt x="80" y="69"/>
                  </a:cubicBezTo>
                  <a:cubicBezTo>
                    <a:pt x="82" y="94"/>
                    <a:pt x="61" y="79"/>
                    <a:pt x="61" y="79"/>
                  </a:cubicBezTo>
                  <a:cubicBezTo>
                    <a:pt x="59" y="92"/>
                    <a:pt x="43" y="78"/>
                    <a:pt x="43" y="78"/>
                  </a:cubicBezTo>
                  <a:cubicBezTo>
                    <a:pt x="21" y="101"/>
                    <a:pt x="8" y="66"/>
                    <a:pt x="8" y="66"/>
                  </a:cubicBezTo>
                  <a:cubicBezTo>
                    <a:pt x="0" y="46"/>
                    <a:pt x="23" y="43"/>
                    <a:pt x="23" y="43"/>
                  </a:cubicBezTo>
                  <a:close/>
                </a:path>
              </a:pathLst>
            </a:custGeom>
            <a:solidFill>
              <a:srgbClr val="5EC3A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32" name="Freeform 14"/>
            <p:cNvSpPr>
              <a:spLocks/>
            </p:cNvSpPr>
            <p:nvPr/>
          </p:nvSpPr>
          <p:spPr bwMode="auto">
            <a:xfrm>
              <a:off x="3881749" y="6250388"/>
              <a:ext cx="20716" cy="30741"/>
            </a:xfrm>
            <a:custGeom>
              <a:avLst/>
              <a:gdLst>
                <a:gd name="T0" fmla="*/ 0 w 13"/>
                <a:gd name="T1" fmla="*/ 19 h 19"/>
                <a:gd name="T2" fmla="*/ 0 w 13"/>
                <a:gd name="T3" fmla="*/ 19 h 19"/>
                <a:gd name="T4" fmla="*/ 0 w 13"/>
                <a:gd name="T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9">
                  <a:moveTo>
                    <a:pt x="0" y="19"/>
                  </a:moveTo>
                  <a:cubicBezTo>
                    <a:pt x="0" y="19"/>
                    <a:pt x="0" y="19"/>
                    <a:pt x="0" y="19"/>
                  </a:cubicBezTo>
                  <a:cubicBezTo>
                    <a:pt x="2" y="17"/>
                    <a:pt x="13" y="0"/>
                    <a:pt x="0" y="19"/>
                  </a:cubicBezTo>
                  <a:close/>
                </a:path>
              </a:pathLst>
            </a:custGeom>
            <a:solidFill>
              <a:srgbClr val="4DA0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33" name="Freeform 15"/>
            <p:cNvSpPr>
              <a:spLocks/>
            </p:cNvSpPr>
            <p:nvPr/>
          </p:nvSpPr>
          <p:spPr bwMode="auto">
            <a:xfrm>
              <a:off x="3792200" y="6132772"/>
              <a:ext cx="175756" cy="181770"/>
            </a:xfrm>
            <a:custGeom>
              <a:avLst/>
              <a:gdLst>
                <a:gd name="T0" fmla="*/ 20 w 110"/>
                <a:gd name="T1" fmla="*/ 36 h 114"/>
                <a:gd name="T2" fmla="*/ 38 w 110"/>
                <a:gd name="T3" fmla="*/ 23 h 114"/>
                <a:gd name="T4" fmla="*/ 58 w 110"/>
                <a:gd name="T5" fmla="*/ 10 h 114"/>
                <a:gd name="T6" fmla="*/ 67 w 110"/>
                <a:gd name="T7" fmla="*/ 1 h 114"/>
                <a:gd name="T8" fmla="*/ 67 w 110"/>
                <a:gd name="T9" fmla="*/ 1 h 114"/>
                <a:gd name="T10" fmla="*/ 85 w 110"/>
                <a:gd name="T11" fmla="*/ 16 h 114"/>
                <a:gd name="T12" fmla="*/ 87 w 110"/>
                <a:gd name="T13" fmla="*/ 40 h 114"/>
                <a:gd name="T14" fmla="*/ 85 w 110"/>
                <a:gd name="T15" fmla="*/ 60 h 114"/>
                <a:gd name="T16" fmla="*/ 73 w 110"/>
                <a:gd name="T17" fmla="*/ 75 h 114"/>
                <a:gd name="T18" fmla="*/ 56 w 110"/>
                <a:gd name="T19" fmla="*/ 94 h 114"/>
                <a:gd name="T20" fmla="*/ 56 w 110"/>
                <a:gd name="T21" fmla="*/ 93 h 114"/>
                <a:gd name="T22" fmla="*/ 56 w 110"/>
                <a:gd name="T23" fmla="*/ 93 h 114"/>
                <a:gd name="T24" fmla="*/ 56 w 110"/>
                <a:gd name="T25" fmla="*/ 93 h 114"/>
                <a:gd name="T26" fmla="*/ 55 w 110"/>
                <a:gd name="T27" fmla="*/ 95 h 114"/>
                <a:gd name="T28" fmla="*/ 34 w 110"/>
                <a:gd name="T29" fmla="*/ 96 h 114"/>
                <a:gd name="T30" fmla="*/ 33 w 110"/>
                <a:gd name="T31" fmla="*/ 97 h 114"/>
                <a:gd name="T32" fmla="*/ 16 w 110"/>
                <a:gd name="T33" fmla="*/ 86 h 114"/>
                <a:gd name="T34" fmla="*/ 14 w 110"/>
                <a:gd name="T35" fmla="*/ 72 h 114"/>
                <a:gd name="T36" fmla="*/ 12 w 110"/>
                <a:gd name="T37" fmla="*/ 53 h 114"/>
                <a:gd name="T38" fmla="*/ 20 w 110"/>
                <a:gd name="T39" fmla="*/ 36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10" h="114">
                  <a:moveTo>
                    <a:pt x="20" y="36"/>
                  </a:moveTo>
                  <a:cubicBezTo>
                    <a:pt x="19" y="15"/>
                    <a:pt x="38" y="23"/>
                    <a:pt x="38" y="23"/>
                  </a:cubicBezTo>
                  <a:cubicBezTo>
                    <a:pt x="45" y="0"/>
                    <a:pt x="58" y="10"/>
                    <a:pt x="58" y="10"/>
                  </a:cubicBezTo>
                  <a:cubicBezTo>
                    <a:pt x="58" y="5"/>
                    <a:pt x="67" y="1"/>
                    <a:pt x="67" y="1"/>
                  </a:cubicBezTo>
                  <a:cubicBezTo>
                    <a:pt x="67" y="1"/>
                    <a:pt x="67" y="1"/>
                    <a:pt x="67" y="1"/>
                  </a:cubicBezTo>
                  <a:cubicBezTo>
                    <a:pt x="86" y="0"/>
                    <a:pt x="85" y="16"/>
                    <a:pt x="85" y="16"/>
                  </a:cubicBezTo>
                  <a:cubicBezTo>
                    <a:pt x="110" y="27"/>
                    <a:pt x="87" y="40"/>
                    <a:pt x="87" y="40"/>
                  </a:cubicBezTo>
                  <a:cubicBezTo>
                    <a:pt x="106" y="51"/>
                    <a:pt x="85" y="60"/>
                    <a:pt x="85" y="60"/>
                  </a:cubicBezTo>
                  <a:cubicBezTo>
                    <a:pt x="89" y="83"/>
                    <a:pt x="73" y="75"/>
                    <a:pt x="73" y="75"/>
                  </a:cubicBezTo>
                  <a:cubicBezTo>
                    <a:pt x="77" y="105"/>
                    <a:pt x="56" y="94"/>
                    <a:pt x="56" y="94"/>
                  </a:cubicBezTo>
                  <a:cubicBezTo>
                    <a:pt x="56" y="94"/>
                    <a:pt x="56" y="94"/>
                    <a:pt x="56" y="93"/>
                  </a:cubicBezTo>
                  <a:cubicBezTo>
                    <a:pt x="56" y="93"/>
                    <a:pt x="56" y="93"/>
                    <a:pt x="56" y="93"/>
                  </a:cubicBezTo>
                  <a:cubicBezTo>
                    <a:pt x="69" y="74"/>
                    <a:pt x="58" y="91"/>
                    <a:pt x="56" y="93"/>
                  </a:cubicBezTo>
                  <a:cubicBezTo>
                    <a:pt x="56" y="94"/>
                    <a:pt x="55" y="94"/>
                    <a:pt x="55" y="95"/>
                  </a:cubicBezTo>
                  <a:cubicBezTo>
                    <a:pt x="42" y="114"/>
                    <a:pt x="34" y="96"/>
                    <a:pt x="34" y="96"/>
                  </a:cubicBezTo>
                  <a:cubicBezTo>
                    <a:pt x="34" y="97"/>
                    <a:pt x="33" y="97"/>
                    <a:pt x="33" y="97"/>
                  </a:cubicBezTo>
                  <a:cubicBezTo>
                    <a:pt x="10" y="111"/>
                    <a:pt x="16" y="86"/>
                    <a:pt x="16" y="86"/>
                  </a:cubicBezTo>
                  <a:cubicBezTo>
                    <a:pt x="5" y="78"/>
                    <a:pt x="14" y="72"/>
                    <a:pt x="14" y="72"/>
                  </a:cubicBezTo>
                  <a:cubicBezTo>
                    <a:pt x="0" y="69"/>
                    <a:pt x="12" y="53"/>
                    <a:pt x="12" y="53"/>
                  </a:cubicBezTo>
                  <a:cubicBezTo>
                    <a:pt x="3" y="43"/>
                    <a:pt x="20" y="36"/>
                    <a:pt x="20" y="36"/>
                  </a:cubicBezTo>
                  <a:close/>
                </a:path>
              </a:pathLst>
            </a:custGeom>
            <a:solidFill>
              <a:srgbClr val="09B89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34" name="Freeform 16"/>
            <p:cNvSpPr>
              <a:spLocks/>
            </p:cNvSpPr>
            <p:nvPr/>
          </p:nvSpPr>
          <p:spPr bwMode="auto">
            <a:xfrm>
              <a:off x="3663892" y="6075301"/>
              <a:ext cx="158380" cy="218526"/>
            </a:xfrm>
            <a:custGeom>
              <a:avLst/>
              <a:gdLst>
                <a:gd name="T0" fmla="*/ 14 w 99"/>
                <a:gd name="T1" fmla="*/ 87 h 137"/>
                <a:gd name="T2" fmla="*/ 10 w 99"/>
                <a:gd name="T3" fmla="*/ 71 h 137"/>
                <a:gd name="T4" fmla="*/ 21 w 99"/>
                <a:gd name="T5" fmla="*/ 57 h 137"/>
                <a:gd name="T6" fmla="*/ 21 w 99"/>
                <a:gd name="T7" fmla="*/ 42 h 137"/>
                <a:gd name="T8" fmla="*/ 33 w 99"/>
                <a:gd name="T9" fmla="*/ 37 h 137"/>
                <a:gd name="T10" fmla="*/ 54 w 99"/>
                <a:gd name="T11" fmla="*/ 15 h 137"/>
                <a:gd name="T12" fmla="*/ 70 w 99"/>
                <a:gd name="T13" fmla="*/ 0 h 137"/>
                <a:gd name="T14" fmla="*/ 83 w 99"/>
                <a:gd name="T15" fmla="*/ 23 h 137"/>
                <a:gd name="T16" fmla="*/ 97 w 99"/>
                <a:gd name="T17" fmla="*/ 48 h 137"/>
                <a:gd name="T18" fmla="*/ 74 w 99"/>
                <a:gd name="T19" fmla="*/ 78 h 137"/>
                <a:gd name="T20" fmla="*/ 57 w 99"/>
                <a:gd name="T21" fmla="*/ 77 h 137"/>
                <a:gd name="T22" fmla="*/ 57 w 99"/>
                <a:gd name="T23" fmla="*/ 78 h 137"/>
                <a:gd name="T24" fmla="*/ 42 w 99"/>
                <a:gd name="T25" fmla="*/ 93 h 137"/>
                <a:gd name="T26" fmla="*/ 5 w 99"/>
                <a:gd name="T27" fmla="*/ 104 h 137"/>
                <a:gd name="T28" fmla="*/ 14 w 99"/>
                <a:gd name="T29" fmla="*/ 87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7">
                  <a:moveTo>
                    <a:pt x="14" y="87"/>
                  </a:moveTo>
                  <a:cubicBezTo>
                    <a:pt x="9" y="86"/>
                    <a:pt x="10" y="71"/>
                    <a:pt x="10" y="71"/>
                  </a:cubicBezTo>
                  <a:cubicBezTo>
                    <a:pt x="9" y="61"/>
                    <a:pt x="21" y="57"/>
                    <a:pt x="21" y="57"/>
                  </a:cubicBezTo>
                  <a:cubicBezTo>
                    <a:pt x="16" y="52"/>
                    <a:pt x="21" y="42"/>
                    <a:pt x="21" y="42"/>
                  </a:cubicBezTo>
                  <a:cubicBezTo>
                    <a:pt x="25" y="34"/>
                    <a:pt x="33" y="37"/>
                    <a:pt x="33" y="37"/>
                  </a:cubicBezTo>
                  <a:cubicBezTo>
                    <a:pt x="31" y="14"/>
                    <a:pt x="54" y="15"/>
                    <a:pt x="54" y="15"/>
                  </a:cubicBezTo>
                  <a:cubicBezTo>
                    <a:pt x="54" y="2"/>
                    <a:pt x="70" y="0"/>
                    <a:pt x="70" y="0"/>
                  </a:cubicBezTo>
                  <a:cubicBezTo>
                    <a:pt x="86" y="3"/>
                    <a:pt x="83" y="23"/>
                    <a:pt x="83" y="23"/>
                  </a:cubicBezTo>
                  <a:cubicBezTo>
                    <a:pt x="99" y="24"/>
                    <a:pt x="97" y="48"/>
                    <a:pt x="97" y="48"/>
                  </a:cubicBezTo>
                  <a:cubicBezTo>
                    <a:pt x="98" y="111"/>
                    <a:pt x="74" y="78"/>
                    <a:pt x="74" y="78"/>
                  </a:cubicBezTo>
                  <a:cubicBezTo>
                    <a:pt x="68" y="90"/>
                    <a:pt x="57" y="77"/>
                    <a:pt x="57" y="77"/>
                  </a:cubicBezTo>
                  <a:cubicBezTo>
                    <a:pt x="57" y="77"/>
                    <a:pt x="57" y="77"/>
                    <a:pt x="57" y="78"/>
                  </a:cubicBezTo>
                  <a:cubicBezTo>
                    <a:pt x="65" y="98"/>
                    <a:pt x="42" y="93"/>
                    <a:pt x="42" y="93"/>
                  </a:cubicBezTo>
                  <a:cubicBezTo>
                    <a:pt x="17" y="137"/>
                    <a:pt x="5" y="104"/>
                    <a:pt x="5" y="104"/>
                  </a:cubicBezTo>
                  <a:cubicBezTo>
                    <a:pt x="0" y="95"/>
                    <a:pt x="14" y="87"/>
                    <a:pt x="14" y="87"/>
                  </a:cubicBezTo>
                  <a:close/>
                </a:path>
              </a:pathLst>
            </a:custGeom>
            <a:solidFill>
              <a:srgbClr val="09B89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35" name="Freeform 17"/>
            <p:cNvSpPr>
              <a:spLocks/>
            </p:cNvSpPr>
            <p:nvPr/>
          </p:nvSpPr>
          <p:spPr bwMode="auto">
            <a:xfrm>
              <a:off x="3633151" y="6104037"/>
              <a:ext cx="251939" cy="210506"/>
            </a:xfrm>
            <a:custGeom>
              <a:avLst/>
              <a:gdLst>
                <a:gd name="T0" fmla="*/ 14 w 157"/>
                <a:gd name="T1" fmla="*/ 96 h 132"/>
                <a:gd name="T2" fmla="*/ 37 w 157"/>
                <a:gd name="T3" fmla="*/ 89 h 132"/>
                <a:gd name="T4" fmla="*/ 48 w 157"/>
                <a:gd name="T5" fmla="*/ 74 h 132"/>
                <a:gd name="T6" fmla="*/ 70 w 157"/>
                <a:gd name="T7" fmla="*/ 49 h 132"/>
                <a:gd name="T8" fmla="*/ 80 w 157"/>
                <a:gd name="T9" fmla="*/ 31 h 132"/>
                <a:gd name="T10" fmla="*/ 109 w 157"/>
                <a:gd name="T11" fmla="*/ 33 h 132"/>
                <a:gd name="T12" fmla="*/ 126 w 157"/>
                <a:gd name="T13" fmla="*/ 47 h 132"/>
                <a:gd name="T14" fmla="*/ 137 w 157"/>
                <a:gd name="T15" fmla="*/ 74 h 132"/>
                <a:gd name="T16" fmla="*/ 126 w 157"/>
                <a:gd name="T17" fmla="*/ 96 h 132"/>
                <a:gd name="T18" fmla="*/ 103 w 157"/>
                <a:gd name="T19" fmla="*/ 80 h 132"/>
                <a:gd name="T20" fmla="*/ 78 w 157"/>
                <a:gd name="T21" fmla="*/ 80 h 132"/>
                <a:gd name="T22" fmla="*/ 61 w 157"/>
                <a:gd name="T23" fmla="*/ 89 h 132"/>
                <a:gd name="T24" fmla="*/ 60 w 157"/>
                <a:gd name="T25" fmla="*/ 88 h 132"/>
                <a:gd name="T26" fmla="*/ 60 w 157"/>
                <a:gd name="T27" fmla="*/ 88 h 132"/>
                <a:gd name="T28" fmla="*/ 37 w 157"/>
                <a:gd name="T29" fmla="*/ 109 h 132"/>
                <a:gd name="T30" fmla="*/ 8 w 157"/>
                <a:gd name="T31" fmla="*/ 114 h 132"/>
                <a:gd name="T32" fmla="*/ 14 w 157"/>
                <a:gd name="T33" fmla="*/ 96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7" h="132">
                  <a:moveTo>
                    <a:pt x="14" y="96"/>
                  </a:moveTo>
                  <a:cubicBezTo>
                    <a:pt x="14" y="96"/>
                    <a:pt x="17" y="69"/>
                    <a:pt x="37" y="89"/>
                  </a:cubicBezTo>
                  <a:cubicBezTo>
                    <a:pt x="37" y="89"/>
                    <a:pt x="30" y="74"/>
                    <a:pt x="48" y="74"/>
                  </a:cubicBezTo>
                  <a:cubicBezTo>
                    <a:pt x="48" y="74"/>
                    <a:pt x="35" y="40"/>
                    <a:pt x="70" y="49"/>
                  </a:cubicBezTo>
                  <a:cubicBezTo>
                    <a:pt x="70" y="49"/>
                    <a:pt x="59" y="28"/>
                    <a:pt x="80" y="31"/>
                  </a:cubicBezTo>
                  <a:cubicBezTo>
                    <a:pt x="80" y="31"/>
                    <a:pt x="95" y="0"/>
                    <a:pt x="109" y="33"/>
                  </a:cubicBezTo>
                  <a:cubicBezTo>
                    <a:pt x="109" y="33"/>
                    <a:pt x="131" y="23"/>
                    <a:pt x="126" y="47"/>
                  </a:cubicBezTo>
                  <a:cubicBezTo>
                    <a:pt x="126" y="47"/>
                    <a:pt x="152" y="52"/>
                    <a:pt x="137" y="74"/>
                  </a:cubicBezTo>
                  <a:cubicBezTo>
                    <a:pt x="137" y="74"/>
                    <a:pt x="157" y="103"/>
                    <a:pt x="126" y="96"/>
                  </a:cubicBezTo>
                  <a:cubicBezTo>
                    <a:pt x="126" y="96"/>
                    <a:pt x="104" y="118"/>
                    <a:pt x="103" y="80"/>
                  </a:cubicBezTo>
                  <a:cubicBezTo>
                    <a:pt x="103" y="80"/>
                    <a:pt x="90" y="108"/>
                    <a:pt x="78" y="80"/>
                  </a:cubicBezTo>
                  <a:cubicBezTo>
                    <a:pt x="78" y="80"/>
                    <a:pt x="78" y="99"/>
                    <a:pt x="61" y="89"/>
                  </a:cubicBezTo>
                  <a:cubicBezTo>
                    <a:pt x="61" y="89"/>
                    <a:pt x="60" y="88"/>
                    <a:pt x="60" y="88"/>
                  </a:cubicBezTo>
                  <a:cubicBezTo>
                    <a:pt x="42" y="77"/>
                    <a:pt x="60" y="88"/>
                    <a:pt x="60" y="88"/>
                  </a:cubicBezTo>
                  <a:cubicBezTo>
                    <a:pt x="60" y="88"/>
                    <a:pt x="64" y="128"/>
                    <a:pt x="37" y="109"/>
                  </a:cubicBezTo>
                  <a:cubicBezTo>
                    <a:pt x="37" y="109"/>
                    <a:pt x="26" y="132"/>
                    <a:pt x="8" y="114"/>
                  </a:cubicBezTo>
                  <a:cubicBezTo>
                    <a:pt x="8" y="114"/>
                    <a:pt x="0" y="98"/>
                    <a:pt x="14" y="96"/>
                  </a:cubicBezTo>
                  <a:close/>
                </a:path>
              </a:pathLst>
            </a:custGeom>
            <a:solidFill>
              <a:srgbClr val="5EC3A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8151" name="Group 8150"/>
          <p:cNvGrpSpPr/>
          <p:nvPr/>
        </p:nvGrpSpPr>
        <p:grpSpPr>
          <a:xfrm>
            <a:off x="4607187" y="2505594"/>
            <a:ext cx="376237" cy="479152"/>
            <a:chOff x="3591719" y="5970382"/>
            <a:chExt cx="376237" cy="479152"/>
          </a:xfrm>
        </p:grpSpPr>
        <p:sp>
          <p:nvSpPr>
            <p:cNvPr id="8152" name="AutoShape 3"/>
            <p:cNvSpPr>
              <a:spLocks noChangeAspect="1" noChangeArrowheads="1" noTextEdit="1"/>
            </p:cNvSpPr>
            <p:nvPr/>
          </p:nvSpPr>
          <p:spPr bwMode="auto">
            <a:xfrm>
              <a:off x="3611099" y="5975060"/>
              <a:ext cx="336141" cy="4731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53" name="Freeform 5"/>
            <p:cNvSpPr>
              <a:spLocks/>
            </p:cNvSpPr>
            <p:nvPr/>
          </p:nvSpPr>
          <p:spPr bwMode="auto">
            <a:xfrm>
              <a:off x="3591719" y="5984416"/>
              <a:ext cx="174419" cy="263300"/>
            </a:xfrm>
            <a:custGeom>
              <a:avLst/>
              <a:gdLst>
                <a:gd name="T0" fmla="*/ 23 w 109"/>
                <a:gd name="T1" fmla="*/ 78 h 165"/>
                <a:gd name="T2" fmla="*/ 42 w 109"/>
                <a:gd name="T3" fmla="*/ 51 h 165"/>
                <a:gd name="T4" fmla="*/ 59 w 109"/>
                <a:gd name="T5" fmla="*/ 31 h 165"/>
                <a:gd name="T6" fmla="*/ 88 w 109"/>
                <a:gd name="T7" fmla="*/ 15 h 165"/>
                <a:gd name="T8" fmla="*/ 88 w 109"/>
                <a:gd name="T9" fmla="*/ 66 h 165"/>
                <a:gd name="T10" fmla="*/ 72 w 109"/>
                <a:gd name="T11" fmla="*/ 109 h 165"/>
                <a:gd name="T12" fmla="*/ 61 w 109"/>
                <a:gd name="T13" fmla="*/ 137 h 165"/>
                <a:gd name="T14" fmla="*/ 43 w 109"/>
                <a:gd name="T15" fmla="*/ 165 h 165"/>
                <a:gd name="T16" fmla="*/ 30 w 109"/>
                <a:gd name="T17" fmla="*/ 143 h 165"/>
                <a:gd name="T18" fmla="*/ 23 w 109"/>
                <a:gd name="T19" fmla="*/ 109 h 165"/>
                <a:gd name="T20" fmla="*/ 23 w 109"/>
                <a:gd name="T21" fmla="*/ 78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9" h="165">
                  <a:moveTo>
                    <a:pt x="23" y="78"/>
                  </a:moveTo>
                  <a:cubicBezTo>
                    <a:pt x="11" y="41"/>
                    <a:pt x="42" y="51"/>
                    <a:pt x="42" y="51"/>
                  </a:cubicBezTo>
                  <a:cubicBezTo>
                    <a:pt x="40" y="29"/>
                    <a:pt x="59" y="31"/>
                    <a:pt x="59" y="31"/>
                  </a:cubicBezTo>
                  <a:cubicBezTo>
                    <a:pt x="62" y="0"/>
                    <a:pt x="88" y="15"/>
                    <a:pt x="88" y="15"/>
                  </a:cubicBezTo>
                  <a:cubicBezTo>
                    <a:pt x="102" y="24"/>
                    <a:pt x="88" y="66"/>
                    <a:pt x="88" y="66"/>
                  </a:cubicBezTo>
                  <a:cubicBezTo>
                    <a:pt x="109" y="82"/>
                    <a:pt x="72" y="109"/>
                    <a:pt x="72" y="109"/>
                  </a:cubicBezTo>
                  <a:cubicBezTo>
                    <a:pt x="88" y="127"/>
                    <a:pt x="61" y="137"/>
                    <a:pt x="61" y="137"/>
                  </a:cubicBezTo>
                  <a:cubicBezTo>
                    <a:pt x="65" y="164"/>
                    <a:pt x="43" y="165"/>
                    <a:pt x="43" y="165"/>
                  </a:cubicBezTo>
                  <a:cubicBezTo>
                    <a:pt x="25" y="163"/>
                    <a:pt x="30" y="143"/>
                    <a:pt x="30" y="143"/>
                  </a:cubicBezTo>
                  <a:cubicBezTo>
                    <a:pt x="3" y="132"/>
                    <a:pt x="23" y="109"/>
                    <a:pt x="23" y="109"/>
                  </a:cubicBezTo>
                  <a:cubicBezTo>
                    <a:pt x="0" y="92"/>
                    <a:pt x="23" y="78"/>
                    <a:pt x="23" y="78"/>
                  </a:cubicBezTo>
                  <a:close/>
                </a:path>
              </a:pathLst>
            </a:custGeom>
            <a:solidFill>
              <a:srgbClr val="09B89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54" name="Freeform 6"/>
            <p:cNvSpPr>
              <a:spLocks/>
            </p:cNvSpPr>
            <p:nvPr/>
          </p:nvSpPr>
          <p:spPr bwMode="auto">
            <a:xfrm>
              <a:off x="3726042" y="6226999"/>
              <a:ext cx="82197" cy="222535"/>
            </a:xfrm>
            <a:custGeom>
              <a:avLst/>
              <a:gdLst>
                <a:gd name="T0" fmla="*/ 4 w 51"/>
                <a:gd name="T1" fmla="*/ 12 h 140"/>
                <a:gd name="T2" fmla="*/ 18 w 51"/>
                <a:gd name="T3" fmla="*/ 38 h 140"/>
                <a:gd name="T4" fmla="*/ 19 w 51"/>
                <a:gd name="T5" fmla="*/ 39 h 140"/>
                <a:gd name="T6" fmla="*/ 18 w 51"/>
                <a:gd name="T7" fmla="*/ 38 h 140"/>
                <a:gd name="T8" fmla="*/ 23 w 51"/>
                <a:gd name="T9" fmla="*/ 0 h 140"/>
                <a:gd name="T10" fmla="*/ 32 w 51"/>
                <a:gd name="T11" fmla="*/ 5 h 140"/>
                <a:gd name="T12" fmla="*/ 26 w 51"/>
                <a:gd name="T13" fmla="*/ 46 h 140"/>
                <a:gd name="T14" fmla="*/ 26 w 51"/>
                <a:gd name="T15" fmla="*/ 48 h 140"/>
                <a:gd name="T16" fmla="*/ 26 w 51"/>
                <a:gd name="T17" fmla="*/ 46 h 140"/>
                <a:gd name="T18" fmla="*/ 50 w 51"/>
                <a:gd name="T19" fmla="*/ 6 h 140"/>
                <a:gd name="T20" fmla="*/ 51 w 51"/>
                <a:gd name="T21" fmla="*/ 19 h 140"/>
                <a:gd name="T22" fmla="*/ 32 w 51"/>
                <a:gd name="T23" fmla="*/ 63 h 140"/>
                <a:gd name="T24" fmla="*/ 35 w 51"/>
                <a:gd name="T25" fmla="*/ 137 h 140"/>
                <a:gd name="T26" fmla="*/ 19 w 51"/>
                <a:gd name="T27" fmla="*/ 140 h 140"/>
                <a:gd name="T28" fmla="*/ 7 w 51"/>
                <a:gd name="T29" fmla="*/ 138 h 140"/>
                <a:gd name="T30" fmla="*/ 4 w 51"/>
                <a:gd name="T31" fmla="*/ 137 h 140"/>
                <a:gd name="T32" fmla="*/ 10 w 51"/>
                <a:gd name="T33" fmla="*/ 81 h 140"/>
                <a:gd name="T34" fmla="*/ 0 w 51"/>
                <a:gd name="T35" fmla="*/ 25 h 140"/>
                <a:gd name="T36" fmla="*/ 4 w 51"/>
                <a:gd name="T37" fmla="*/ 12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1" h="140">
                  <a:moveTo>
                    <a:pt x="4" y="12"/>
                  </a:moveTo>
                  <a:cubicBezTo>
                    <a:pt x="14" y="21"/>
                    <a:pt x="18" y="34"/>
                    <a:pt x="18" y="38"/>
                  </a:cubicBezTo>
                  <a:cubicBezTo>
                    <a:pt x="18" y="39"/>
                    <a:pt x="19" y="39"/>
                    <a:pt x="19" y="39"/>
                  </a:cubicBezTo>
                  <a:cubicBezTo>
                    <a:pt x="19" y="39"/>
                    <a:pt x="19" y="39"/>
                    <a:pt x="18" y="38"/>
                  </a:cubicBezTo>
                  <a:cubicBezTo>
                    <a:pt x="18" y="32"/>
                    <a:pt x="23" y="0"/>
                    <a:pt x="23" y="0"/>
                  </a:cubicBezTo>
                  <a:cubicBezTo>
                    <a:pt x="32" y="5"/>
                    <a:pt x="32" y="5"/>
                    <a:pt x="32" y="5"/>
                  </a:cubicBezTo>
                  <a:cubicBezTo>
                    <a:pt x="28" y="11"/>
                    <a:pt x="26" y="38"/>
                    <a:pt x="26" y="46"/>
                  </a:cubicBezTo>
                  <a:cubicBezTo>
                    <a:pt x="26" y="47"/>
                    <a:pt x="26" y="47"/>
                    <a:pt x="26" y="48"/>
                  </a:cubicBezTo>
                  <a:cubicBezTo>
                    <a:pt x="26" y="48"/>
                    <a:pt x="26" y="47"/>
                    <a:pt x="26" y="46"/>
                  </a:cubicBezTo>
                  <a:cubicBezTo>
                    <a:pt x="28" y="29"/>
                    <a:pt x="50" y="6"/>
                    <a:pt x="50" y="6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44" y="21"/>
                    <a:pt x="37" y="41"/>
                    <a:pt x="32" y="63"/>
                  </a:cubicBezTo>
                  <a:cubicBezTo>
                    <a:pt x="27" y="85"/>
                    <a:pt x="35" y="137"/>
                    <a:pt x="35" y="137"/>
                  </a:cubicBezTo>
                  <a:cubicBezTo>
                    <a:pt x="35" y="137"/>
                    <a:pt x="23" y="140"/>
                    <a:pt x="19" y="140"/>
                  </a:cubicBezTo>
                  <a:cubicBezTo>
                    <a:pt x="16" y="140"/>
                    <a:pt x="7" y="138"/>
                    <a:pt x="7" y="138"/>
                  </a:cubicBezTo>
                  <a:cubicBezTo>
                    <a:pt x="4" y="137"/>
                    <a:pt x="4" y="137"/>
                    <a:pt x="4" y="137"/>
                  </a:cubicBezTo>
                  <a:cubicBezTo>
                    <a:pt x="7" y="130"/>
                    <a:pt x="10" y="81"/>
                    <a:pt x="10" y="81"/>
                  </a:cubicBezTo>
                  <a:cubicBezTo>
                    <a:pt x="13" y="38"/>
                    <a:pt x="0" y="25"/>
                    <a:pt x="0" y="25"/>
                  </a:cubicBezTo>
                  <a:lnTo>
                    <a:pt x="4" y="12"/>
                  </a:lnTo>
                  <a:close/>
                </a:path>
              </a:pathLst>
            </a:custGeom>
            <a:solidFill>
              <a:srgbClr val="543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55" name="Freeform 7"/>
            <p:cNvSpPr>
              <a:spLocks/>
            </p:cNvSpPr>
            <p:nvPr/>
          </p:nvSpPr>
          <p:spPr bwMode="auto">
            <a:xfrm>
              <a:off x="3754777" y="6287143"/>
              <a:ext cx="2005" cy="2005"/>
            </a:xfrm>
            <a:custGeom>
              <a:avLst/>
              <a:gdLst>
                <a:gd name="T0" fmla="*/ 0 w 1"/>
                <a:gd name="T1" fmla="*/ 0 h 1"/>
                <a:gd name="T2" fmla="*/ 1 w 1"/>
                <a:gd name="T3" fmla="*/ 1 h 1"/>
                <a:gd name="T4" fmla="*/ 0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0" y="1"/>
                    <a:pt x="0" y="0"/>
                  </a:cubicBezTo>
                  <a:close/>
                </a:path>
              </a:pathLst>
            </a:custGeom>
            <a:solidFill>
              <a:srgbClr val="543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56" name="Freeform 8"/>
            <p:cNvSpPr>
              <a:spLocks/>
            </p:cNvSpPr>
            <p:nvPr/>
          </p:nvSpPr>
          <p:spPr bwMode="auto">
            <a:xfrm>
              <a:off x="3768143" y="6299840"/>
              <a:ext cx="0" cy="3342"/>
            </a:xfrm>
            <a:custGeom>
              <a:avLst/>
              <a:gdLst>
                <a:gd name="T0" fmla="*/ 0 h 2"/>
                <a:gd name="T1" fmla="*/ 2 h 2"/>
                <a:gd name="T2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1"/>
                    <a:pt x="0" y="1"/>
                    <a:pt x="0" y="0"/>
                  </a:cubicBezTo>
                  <a:close/>
                </a:path>
              </a:pathLst>
            </a:custGeom>
            <a:solidFill>
              <a:srgbClr val="543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57" name="Freeform 9"/>
            <p:cNvSpPr>
              <a:spLocks/>
            </p:cNvSpPr>
            <p:nvPr/>
          </p:nvSpPr>
          <p:spPr bwMode="auto">
            <a:xfrm>
              <a:off x="3638498" y="6092676"/>
              <a:ext cx="87544" cy="126304"/>
            </a:xfrm>
            <a:custGeom>
              <a:avLst/>
              <a:gdLst>
                <a:gd name="T0" fmla="*/ 18 w 55"/>
                <a:gd name="T1" fmla="*/ 26 h 79"/>
                <a:gd name="T2" fmla="*/ 36 w 55"/>
                <a:gd name="T3" fmla="*/ 6 h 79"/>
                <a:gd name="T4" fmla="*/ 32 w 55"/>
                <a:gd name="T5" fmla="*/ 73 h 79"/>
                <a:gd name="T6" fmla="*/ 16 w 55"/>
                <a:gd name="T7" fmla="*/ 51 h 79"/>
                <a:gd name="T8" fmla="*/ 18 w 55"/>
                <a:gd name="T9" fmla="*/ 2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79">
                  <a:moveTo>
                    <a:pt x="18" y="26"/>
                  </a:moveTo>
                  <a:cubicBezTo>
                    <a:pt x="7" y="0"/>
                    <a:pt x="36" y="6"/>
                    <a:pt x="36" y="6"/>
                  </a:cubicBezTo>
                  <a:cubicBezTo>
                    <a:pt x="55" y="10"/>
                    <a:pt x="32" y="73"/>
                    <a:pt x="32" y="73"/>
                  </a:cubicBezTo>
                  <a:cubicBezTo>
                    <a:pt x="5" y="79"/>
                    <a:pt x="16" y="51"/>
                    <a:pt x="16" y="51"/>
                  </a:cubicBezTo>
                  <a:cubicBezTo>
                    <a:pt x="0" y="35"/>
                    <a:pt x="18" y="26"/>
                    <a:pt x="18" y="26"/>
                  </a:cubicBezTo>
                  <a:close/>
                </a:path>
              </a:pathLst>
            </a:custGeom>
            <a:solidFill>
              <a:srgbClr val="5EC3A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58" name="Freeform 10"/>
            <p:cNvSpPr>
              <a:spLocks/>
            </p:cNvSpPr>
            <p:nvPr/>
          </p:nvSpPr>
          <p:spPr bwMode="auto">
            <a:xfrm>
              <a:off x="3729383" y="6051243"/>
              <a:ext cx="4678" cy="2005"/>
            </a:xfrm>
            <a:custGeom>
              <a:avLst/>
              <a:gdLst>
                <a:gd name="T0" fmla="*/ 0 w 3"/>
                <a:gd name="T1" fmla="*/ 0 h 1"/>
                <a:gd name="T2" fmla="*/ 3 w 3"/>
                <a:gd name="T3" fmla="*/ 1 h 1"/>
                <a:gd name="T4" fmla="*/ 0 w 3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1">
                  <a:moveTo>
                    <a:pt x="0" y="0"/>
                  </a:moveTo>
                  <a:cubicBezTo>
                    <a:pt x="2" y="0"/>
                    <a:pt x="3" y="1"/>
                    <a:pt x="3" y="1"/>
                  </a:cubicBezTo>
                  <a:cubicBezTo>
                    <a:pt x="2" y="1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59" name="Freeform 11"/>
            <p:cNvSpPr>
              <a:spLocks/>
            </p:cNvSpPr>
            <p:nvPr/>
          </p:nvSpPr>
          <p:spPr bwMode="auto">
            <a:xfrm>
              <a:off x="3691291" y="5970382"/>
              <a:ext cx="142342" cy="173751"/>
            </a:xfrm>
            <a:custGeom>
              <a:avLst/>
              <a:gdLst>
                <a:gd name="T0" fmla="*/ 12 w 89"/>
                <a:gd name="T1" fmla="*/ 77 h 109"/>
                <a:gd name="T2" fmla="*/ 9 w 89"/>
                <a:gd name="T3" fmla="*/ 60 h 109"/>
                <a:gd name="T4" fmla="*/ 24 w 89"/>
                <a:gd name="T5" fmla="*/ 51 h 109"/>
                <a:gd name="T6" fmla="*/ 27 w 89"/>
                <a:gd name="T7" fmla="*/ 52 h 109"/>
                <a:gd name="T8" fmla="*/ 24 w 89"/>
                <a:gd name="T9" fmla="*/ 51 h 109"/>
                <a:gd name="T10" fmla="*/ 20 w 89"/>
                <a:gd name="T11" fmla="*/ 33 h 109"/>
                <a:gd name="T12" fmla="*/ 46 w 89"/>
                <a:gd name="T13" fmla="*/ 19 h 109"/>
                <a:gd name="T14" fmla="*/ 67 w 89"/>
                <a:gd name="T15" fmla="*/ 3 h 109"/>
                <a:gd name="T16" fmla="*/ 79 w 89"/>
                <a:gd name="T17" fmla="*/ 19 h 109"/>
                <a:gd name="T18" fmla="*/ 71 w 89"/>
                <a:gd name="T19" fmla="*/ 40 h 109"/>
                <a:gd name="T20" fmla="*/ 59 w 89"/>
                <a:gd name="T21" fmla="*/ 59 h 109"/>
                <a:gd name="T22" fmla="*/ 45 w 89"/>
                <a:gd name="T23" fmla="*/ 83 h 109"/>
                <a:gd name="T24" fmla="*/ 23 w 89"/>
                <a:gd name="T25" fmla="*/ 107 h 109"/>
                <a:gd name="T26" fmla="*/ 3 w 89"/>
                <a:gd name="T27" fmla="*/ 94 h 109"/>
                <a:gd name="T28" fmla="*/ 12 w 89"/>
                <a:gd name="T29" fmla="*/ 7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9" h="109">
                  <a:moveTo>
                    <a:pt x="12" y="77"/>
                  </a:moveTo>
                  <a:cubicBezTo>
                    <a:pt x="6" y="64"/>
                    <a:pt x="9" y="60"/>
                    <a:pt x="9" y="60"/>
                  </a:cubicBezTo>
                  <a:cubicBezTo>
                    <a:pt x="11" y="50"/>
                    <a:pt x="20" y="50"/>
                    <a:pt x="24" y="51"/>
                  </a:cubicBezTo>
                  <a:cubicBezTo>
                    <a:pt x="25" y="51"/>
                    <a:pt x="26" y="52"/>
                    <a:pt x="27" y="52"/>
                  </a:cubicBezTo>
                  <a:cubicBezTo>
                    <a:pt x="27" y="52"/>
                    <a:pt x="26" y="51"/>
                    <a:pt x="24" y="51"/>
                  </a:cubicBezTo>
                  <a:cubicBezTo>
                    <a:pt x="18" y="48"/>
                    <a:pt x="20" y="33"/>
                    <a:pt x="20" y="33"/>
                  </a:cubicBezTo>
                  <a:cubicBezTo>
                    <a:pt x="23" y="9"/>
                    <a:pt x="46" y="19"/>
                    <a:pt x="46" y="19"/>
                  </a:cubicBezTo>
                  <a:cubicBezTo>
                    <a:pt x="47" y="0"/>
                    <a:pt x="67" y="3"/>
                    <a:pt x="67" y="3"/>
                  </a:cubicBezTo>
                  <a:cubicBezTo>
                    <a:pt x="80" y="4"/>
                    <a:pt x="79" y="19"/>
                    <a:pt x="79" y="19"/>
                  </a:cubicBezTo>
                  <a:cubicBezTo>
                    <a:pt x="81" y="27"/>
                    <a:pt x="71" y="40"/>
                    <a:pt x="71" y="40"/>
                  </a:cubicBezTo>
                  <a:cubicBezTo>
                    <a:pt x="89" y="68"/>
                    <a:pt x="59" y="59"/>
                    <a:pt x="59" y="59"/>
                  </a:cubicBezTo>
                  <a:cubicBezTo>
                    <a:pt x="80" y="75"/>
                    <a:pt x="45" y="83"/>
                    <a:pt x="45" y="83"/>
                  </a:cubicBezTo>
                  <a:cubicBezTo>
                    <a:pt x="51" y="109"/>
                    <a:pt x="23" y="107"/>
                    <a:pt x="23" y="107"/>
                  </a:cubicBezTo>
                  <a:cubicBezTo>
                    <a:pt x="5" y="109"/>
                    <a:pt x="3" y="94"/>
                    <a:pt x="3" y="94"/>
                  </a:cubicBezTo>
                  <a:cubicBezTo>
                    <a:pt x="0" y="84"/>
                    <a:pt x="12" y="77"/>
                    <a:pt x="12" y="77"/>
                  </a:cubicBezTo>
                  <a:close/>
                </a:path>
              </a:pathLst>
            </a:custGeom>
            <a:solidFill>
              <a:srgbClr val="5EC3A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60" name="Freeform 12"/>
            <p:cNvSpPr>
              <a:spLocks/>
            </p:cNvSpPr>
            <p:nvPr/>
          </p:nvSpPr>
          <p:spPr bwMode="auto">
            <a:xfrm>
              <a:off x="3742080" y="5987757"/>
              <a:ext cx="176424" cy="170410"/>
            </a:xfrm>
            <a:custGeom>
              <a:avLst/>
              <a:gdLst>
                <a:gd name="T0" fmla="*/ 24 w 110"/>
                <a:gd name="T1" fmla="*/ 35 h 107"/>
                <a:gd name="T2" fmla="*/ 39 w 110"/>
                <a:gd name="T3" fmla="*/ 21 h 107"/>
                <a:gd name="T4" fmla="*/ 55 w 110"/>
                <a:gd name="T5" fmla="*/ 2 h 107"/>
                <a:gd name="T6" fmla="*/ 69 w 110"/>
                <a:gd name="T7" fmla="*/ 20 h 107"/>
                <a:gd name="T8" fmla="*/ 88 w 110"/>
                <a:gd name="T9" fmla="*/ 38 h 107"/>
                <a:gd name="T10" fmla="*/ 78 w 110"/>
                <a:gd name="T11" fmla="*/ 72 h 107"/>
                <a:gd name="T12" fmla="*/ 58 w 110"/>
                <a:gd name="T13" fmla="*/ 88 h 107"/>
                <a:gd name="T14" fmla="*/ 33 w 110"/>
                <a:gd name="T15" fmla="*/ 83 h 107"/>
                <a:gd name="T16" fmla="*/ 24 w 110"/>
                <a:gd name="T17" fmla="*/ 56 h 107"/>
                <a:gd name="T18" fmla="*/ 24 w 110"/>
                <a:gd name="T19" fmla="*/ 35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0" h="107">
                  <a:moveTo>
                    <a:pt x="24" y="35"/>
                  </a:moveTo>
                  <a:cubicBezTo>
                    <a:pt x="22" y="17"/>
                    <a:pt x="39" y="21"/>
                    <a:pt x="39" y="21"/>
                  </a:cubicBezTo>
                  <a:cubicBezTo>
                    <a:pt x="42" y="0"/>
                    <a:pt x="55" y="2"/>
                    <a:pt x="55" y="2"/>
                  </a:cubicBezTo>
                  <a:cubicBezTo>
                    <a:pt x="68" y="3"/>
                    <a:pt x="69" y="20"/>
                    <a:pt x="69" y="20"/>
                  </a:cubicBezTo>
                  <a:cubicBezTo>
                    <a:pt x="93" y="19"/>
                    <a:pt x="88" y="38"/>
                    <a:pt x="88" y="38"/>
                  </a:cubicBezTo>
                  <a:cubicBezTo>
                    <a:pt x="110" y="59"/>
                    <a:pt x="78" y="72"/>
                    <a:pt x="78" y="72"/>
                  </a:cubicBezTo>
                  <a:cubicBezTo>
                    <a:pt x="84" y="98"/>
                    <a:pt x="58" y="88"/>
                    <a:pt x="58" y="88"/>
                  </a:cubicBezTo>
                  <a:cubicBezTo>
                    <a:pt x="42" y="107"/>
                    <a:pt x="33" y="83"/>
                    <a:pt x="33" y="83"/>
                  </a:cubicBezTo>
                  <a:cubicBezTo>
                    <a:pt x="18" y="85"/>
                    <a:pt x="24" y="56"/>
                    <a:pt x="24" y="56"/>
                  </a:cubicBezTo>
                  <a:cubicBezTo>
                    <a:pt x="0" y="43"/>
                    <a:pt x="24" y="35"/>
                    <a:pt x="24" y="35"/>
                  </a:cubicBezTo>
                  <a:close/>
                </a:path>
              </a:pathLst>
            </a:custGeom>
            <a:solidFill>
              <a:srgbClr val="09B89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61" name="Freeform 13"/>
            <p:cNvSpPr>
              <a:spLocks/>
            </p:cNvSpPr>
            <p:nvPr/>
          </p:nvSpPr>
          <p:spPr bwMode="auto">
            <a:xfrm>
              <a:off x="3802893" y="6048570"/>
              <a:ext cx="161722" cy="160386"/>
            </a:xfrm>
            <a:custGeom>
              <a:avLst/>
              <a:gdLst>
                <a:gd name="T0" fmla="*/ 23 w 101"/>
                <a:gd name="T1" fmla="*/ 43 h 101"/>
                <a:gd name="T2" fmla="*/ 20 w 101"/>
                <a:gd name="T3" fmla="*/ 25 h 101"/>
                <a:gd name="T4" fmla="*/ 42 w 101"/>
                <a:gd name="T5" fmla="*/ 22 h 101"/>
                <a:gd name="T6" fmla="*/ 55 w 101"/>
                <a:gd name="T7" fmla="*/ 0 h 101"/>
                <a:gd name="T8" fmla="*/ 69 w 101"/>
                <a:gd name="T9" fmla="*/ 20 h 101"/>
                <a:gd name="T10" fmla="*/ 79 w 101"/>
                <a:gd name="T11" fmla="*/ 39 h 101"/>
                <a:gd name="T12" fmla="*/ 83 w 101"/>
                <a:gd name="T13" fmla="*/ 69 h 101"/>
                <a:gd name="T14" fmla="*/ 80 w 101"/>
                <a:gd name="T15" fmla="*/ 69 h 101"/>
                <a:gd name="T16" fmla="*/ 61 w 101"/>
                <a:gd name="T17" fmla="*/ 79 h 101"/>
                <a:gd name="T18" fmla="*/ 43 w 101"/>
                <a:gd name="T19" fmla="*/ 78 h 101"/>
                <a:gd name="T20" fmla="*/ 8 w 101"/>
                <a:gd name="T21" fmla="*/ 66 h 101"/>
                <a:gd name="T22" fmla="*/ 23 w 101"/>
                <a:gd name="T23" fmla="*/ 43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1" h="101">
                  <a:moveTo>
                    <a:pt x="23" y="43"/>
                  </a:moveTo>
                  <a:cubicBezTo>
                    <a:pt x="14" y="40"/>
                    <a:pt x="20" y="25"/>
                    <a:pt x="20" y="25"/>
                  </a:cubicBezTo>
                  <a:cubicBezTo>
                    <a:pt x="25" y="11"/>
                    <a:pt x="42" y="22"/>
                    <a:pt x="42" y="22"/>
                  </a:cubicBezTo>
                  <a:cubicBezTo>
                    <a:pt x="35" y="0"/>
                    <a:pt x="55" y="0"/>
                    <a:pt x="55" y="0"/>
                  </a:cubicBezTo>
                  <a:cubicBezTo>
                    <a:pt x="68" y="0"/>
                    <a:pt x="69" y="20"/>
                    <a:pt x="69" y="20"/>
                  </a:cubicBezTo>
                  <a:cubicBezTo>
                    <a:pt x="91" y="21"/>
                    <a:pt x="79" y="39"/>
                    <a:pt x="79" y="39"/>
                  </a:cubicBezTo>
                  <a:cubicBezTo>
                    <a:pt x="101" y="49"/>
                    <a:pt x="83" y="69"/>
                    <a:pt x="83" y="69"/>
                  </a:cubicBezTo>
                  <a:cubicBezTo>
                    <a:pt x="82" y="70"/>
                    <a:pt x="80" y="69"/>
                    <a:pt x="80" y="69"/>
                  </a:cubicBezTo>
                  <a:cubicBezTo>
                    <a:pt x="82" y="94"/>
                    <a:pt x="61" y="79"/>
                    <a:pt x="61" y="79"/>
                  </a:cubicBezTo>
                  <a:cubicBezTo>
                    <a:pt x="59" y="92"/>
                    <a:pt x="43" y="78"/>
                    <a:pt x="43" y="78"/>
                  </a:cubicBezTo>
                  <a:cubicBezTo>
                    <a:pt x="21" y="101"/>
                    <a:pt x="8" y="66"/>
                    <a:pt x="8" y="66"/>
                  </a:cubicBezTo>
                  <a:cubicBezTo>
                    <a:pt x="0" y="46"/>
                    <a:pt x="23" y="43"/>
                    <a:pt x="23" y="43"/>
                  </a:cubicBezTo>
                  <a:close/>
                </a:path>
              </a:pathLst>
            </a:custGeom>
            <a:solidFill>
              <a:srgbClr val="5EC3A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62" name="Freeform 14"/>
            <p:cNvSpPr>
              <a:spLocks/>
            </p:cNvSpPr>
            <p:nvPr/>
          </p:nvSpPr>
          <p:spPr bwMode="auto">
            <a:xfrm>
              <a:off x="3881749" y="6250388"/>
              <a:ext cx="20716" cy="30741"/>
            </a:xfrm>
            <a:custGeom>
              <a:avLst/>
              <a:gdLst>
                <a:gd name="T0" fmla="*/ 0 w 13"/>
                <a:gd name="T1" fmla="*/ 19 h 19"/>
                <a:gd name="T2" fmla="*/ 0 w 13"/>
                <a:gd name="T3" fmla="*/ 19 h 19"/>
                <a:gd name="T4" fmla="*/ 0 w 13"/>
                <a:gd name="T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9">
                  <a:moveTo>
                    <a:pt x="0" y="19"/>
                  </a:moveTo>
                  <a:cubicBezTo>
                    <a:pt x="0" y="19"/>
                    <a:pt x="0" y="19"/>
                    <a:pt x="0" y="19"/>
                  </a:cubicBezTo>
                  <a:cubicBezTo>
                    <a:pt x="2" y="17"/>
                    <a:pt x="13" y="0"/>
                    <a:pt x="0" y="19"/>
                  </a:cubicBezTo>
                  <a:close/>
                </a:path>
              </a:pathLst>
            </a:custGeom>
            <a:solidFill>
              <a:srgbClr val="4DA0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63" name="Freeform 15"/>
            <p:cNvSpPr>
              <a:spLocks/>
            </p:cNvSpPr>
            <p:nvPr/>
          </p:nvSpPr>
          <p:spPr bwMode="auto">
            <a:xfrm>
              <a:off x="3792200" y="6132772"/>
              <a:ext cx="175756" cy="181770"/>
            </a:xfrm>
            <a:custGeom>
              <a:avLst/>
              <a:gdLst>
                <a:gd name="T0" fmla="*/ 20 w 110"/>
                <a:gd name="T1" fmla="*/ 36 h 114"/>
                <a:gd name="T2" fmla="*/ 38 w 110"/>
                <a:gd name="T3" fmla="*/ 23 h 114"/>
                <a:gd name="T4" fmla="*/ 58 w 110"/>
                <a:gd name="T5" fmla="*/ 10 h 114"/>
                <a:gd name="T6" fmla="*/ 67 w 110"/>
                <a:gd name="T7" fmla="*/ 1 h 114"/>
                <a:gd name="T8" fmla="*/ 67 w 110"/>
                <a:gd name="T9" fmla="*/ 1 h 114"/>
                <a:gd name="T10" fmla="*/ 85 w 110"/>
                <a:gd name="T11" fmla="*/ 16 h 114"/>
                <a:gd name="T12" fmla="*/ 87 w 110"/>
                <a:gd name="T13" fmla="*/ 40 h 114"/>
                <a:gd name="T14" fmla="*/ 85 w 110"/>
                <a:gd name="T15" fmla="*/ 60 h 114"/>
                <a:gd name="T16" fmla="*/ 73 w 110"/>
                <a:gd name="T17" fmla="*/ 75 h 114"/>
                <a:gd name="T18" fmla="*/ 56 w 110"/>
                <a:gd name="T19" fmla="*/ 94 h 114"/>
                <a:gd name="T20" fmla="*/ 56 w 110"/>
                <a:gd name="T21" fmla="*/ 93 h 114"/>
                <a:gd name="T22" fmla="*/ 56 w 110"/>
                <a:gd name="T23" fmla="*/ 93 h 114"/>
                <a:gd name="T24" fmla="*/ 56 w 110"/>
                <a:gd name="T25" fmla="*/ 93 h 114"/>
                <a:gd name="T26" fmla="*/ 55 w 110"/>
                <a:gd name="T27" fmla="*/ 95 h 114"/>
                <a:gd name="T28" fmla="*/ 34 w 110"/>
                <a:gd name="T29" fmla="*/ 96 h 114"/>
                <a:gd name="T30" fmla="*/ 33 w 110"/>
                <a:gd name="T31" fmla="*/ 97 h 114"/>
                <a:gd name="T32" fmla="*/ 16 w 110"/>
                <a:gd name="T33" fmla="*/ 86 h 114"/>
                <a:gd name="T34" fmla="*/ 14 w 110"/>
                <a:gd name="T35" fmla="*/ 72 h 114"/>
                <a:gd name="T36" fmla="*/ 12 w 110"/>
                <a:gd name="T37" fmla="*/ 53 h 114"/>
                <a:gd name="T38" fmla="*/ 20 w 110"/>
                <a:gd name="T39" fmla="*/ 36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10" h="114">
                  <a:moveTo>
                    <a:pt x="20" y="36"/>
                  </a:moveTo>
                  <a:cubicBezTo>
                    <a:pt x="19" y="15"/>
                    <a:pt x="38" y="23"/>
                    <a:pt x="38" y="23"/>
                  </a:cubicBezTo>
                  <a:cubicBezTo>
                    <a:pt x="45" y="0"/>
                    <a:pt x="58" y="10"/>
                    <a:pt x="58" y="10"/>
                  </a:cubicBezTo>
                  <a:cubicBezTo>
                    <a:pt x="58" y="5"/>
                    <a:pt x="67" y="1"/>
                    <a:pt x="67" y="1"/>
                  </a:cubicBezTo>
                  <a:cubicBezTo>
                    <a:pt x="67" y="1"/>
                    <a:pt x="67" y="1"/>
                    <a:pt x="67" y="1"/>
                  </a:cubicBezTo>
                  <a:cubicBezTo>
                    <a:pt x="86" y="0"/>
                    <a:pt x="85" y="16"/>
                    <a:pt x="85" y="16"/>
                  </a:cubicBezTo>
                  <a:cubicBezTo>
                    <a:pt x="110" y="27"/>
                    <a:pt x="87" y="40"/>
                    <a:pt x="87" y="40"/>
                  </a:cubicBezTo>
                  <a:cubicBezTo>
                    <a:pt x="106" y="51"/>
                    <a:pt x="85" y="60"/>
                    <a:pt x="85" y="60"/>
                  </a:cubicBezTo>
                  <a:cubicBezTo>
                    <a:pt x="89" y="83"/>
                    <a:pt x="73" y="75"/>
                    <a:pt x="73" y="75"/>
                  </a:cubicBezTo>
                  <a:cubicBezTo>
                    <a:pt x="77" y="105"/>
                    <a:pt x="56" y="94"/>
                    <a:pt x="56" y="94"/>
                  </a:cubicBezTo>
                  <a:cubicBezTo>
                    <a:pt x="56" y="94"/>
                    <a:pt x="56" y="94"/>
                    <a:pt x="56" y="93"/>
                  </a:cubicBezTo>
                  <a:cubicBezTo>
                    <a:pt x="56" y="93"/>
                    <a:pt x="56" y="93"/>
                    <a:pt x="56" y="93"/>
                  </a:cubicBezTo>
                  <a:cubicBezTo>
                    <a:pt x="69" y="74"/>
                    <a:pt x="58" y="91"/>
                    <a:pt x="56" y="93"/>
                  </a:cubicBezTo>
                  <a:cubicBezTo>
                    <a:pt x="56" y="94"/>
                    <a:pt x="55" y="94"/>
                    <a:pt x="55" y="95"/>
                  </a:cubicBezTo>
                  <a:cubicBezTo>
                    <a:pt x="42" y="114"/>
                    <a:pt x="34" y="96"/>
                    <a:pt x="34" y="96"/>
                  </a:cubicBezTo>
                  <a:cubicBezTo>
                    <a:pt x="34" y="97"/>
                    <a:pt x="33" y="97"/>
                    <a:pt x="33" y="97"/>
                  </a:cubicBezTo>
                  <a:cubicBezTo>
                    <a:pt x="10" y="111"/>
                    <a:pt x="16" y="86"/>
                    <a:pt x="16" y="86"/>
                  </a:cubicBezTo>
                  <a:cubicBezTo>
                    <a:pt x="5" y="78"/>
                    <a:pt x="14" y="72"/>
                    <a:pt x="14" y="72"/>
                  </a:cubicBezTo>
                  <a:cubicBezTo>
                    <a:pt x="0" y="69"/>
                    <a:pt x="12" y="53"/>
                    <a:pt x="12" y="53"/>
                  </a:cubicBezTo>
                  <a:cubicBezTo>
                    <a:pt x="3" y="43"/>
                    <a:pt x="20" y="36"/>
                    <a:pt x="20" y="36"/>
                  </a:cubicBezTo>
                  <a:close/>
                </a:path>
              </a:pathLst>
            </a:custGeom>
            <a:solidFill>
              <a:srgbClr val="09B89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64" name="Freeform 16"/>
            <p:cNvSpPr>
              <a:spLocks/>
            </p:cNvSpPr>
            <p:nvPr/>
          </p:nvSpPr>
          <p:spPr bwMode="auto">
            <a:xfrm>
              <a:off x="3663892" y="6075301"/>
              <a:ext cx="158380" cy="218526"/>
            </a:xfrm>
            <a:custGeom>
              <a:avLst/>
              <a:gdLst>
                <a:gd name="T0" fmla="*/ 14 w 99"/>
                <a:gd name="T1" fmla="*/ 87 h 137"/>
                <a:gd name="T2" fmla="*/ 10 w 99"/>
                <a:gd name="T3" fmla="*/ 71 h 137"/>
                <a:gd name="T4" fmla="*/ 21 w 99"/>
                <a:gd name="T5" fmla="*/ 57 h 137"/>
                <a:gd name="T6" fmla="*/ 21 w 99"/>
                <a:gd name="T7" fmla="*/ 42 h 137"/>
                <a:gd name="T8" fmla="*/ 33 w 99"/>
                <a:gd name="T9" fmla="*/ 37 h 137"/>
                <a:gd name="T10" fmla="*/ 54 w 99"/>
                <a:gd name="T11" fmla="*/ 15 h 137"/>
                <a:gd name="T12" fmla="*/ 70 w 99"/>
                <a:gd name="T13" fmla="*/ 0 h 137"/>
                <a:gd name="T14" fmla="*/ 83 w 99"/>
                <a:gd name="T15" fmla="*/ 23 h 137"/>
                <a:gd name="T16" fmla="*/ 97 w 99"/>
                <a:gd name="T17" fmla="*/ 48 h 137"/>
                <a:gd name="T18" fmla="*/ 74 w 99"/>
                <a:gd name="T19" fmla="*/ 78 h 137"/>
                <a:gd name="T20" fmla="*/ 57 w 99"/>
                <a:gd name="T21" fmla="*/ 77 h 137"/>
                <a:gd name="T22" fmla="*/ 57 w 99"/>
                <a:gd name="T23" fmla="*/ 78 h 137"/>
                <a:gd name="T24" fmla="*/ 42 w 99"/>
                <a:gd name="T25" fmla="*/ 93 h 137"/>
                <a:gd name="T26" fmla="*/ 5 w 99"/>
                <a:gd name="T27" fmla="*/ 104 h 137"/>
                <a:gd name="T28" fmla="*/ 14 w 99"/>
                <a:gd name="T29" fmla="*/ 87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7">
                  <a:moveTo>
                    <a:pt x="14" y="87"/>
                  </a:moveTo>
                  <a:cubicBezTo>
                    <a:pt x="9" y="86"/>
                    <a:pt x="10" y="71"/>
                    <a:pt x="10" y="71"/>
                  </a:cubicBezTo>
                  <a:cubicBezTo>
                    <a:pt x="9" y="61"/>
                    <a:pt x="21" y="57"/>
                    <a:pt x="21" y="57"/>
                  </a:cubicBezTo>
                  <a:cubicBezTo>
                    <a:pt x="16" y="52"/>
                    <a:pt x="21" y="42"/>
                    <a:pt x="21" y="42"/>
                  </a:cubicBezTo>
                  <a:cubicBezTo>
                    <a:pt x="25" y="34"/>
                    <a:pt x="33" y="37"/>
                    <a:pt x="33" y="37"/>
                  </a:cubicBezTo>
                  <a:cubicBezTo>
                    <a:pt x="31" y="14"/>
                    <a:pt x="54" y="15"/>
                    <a:pt x="54" y="15"/>
                  </a:cubicBezTo>
                  <a:cubicBezTo>
                    <a:pt x="54" y="2"/>
                    <a:pt x="70" y="0"/>
                    <a:pt x="70" y="0"/>
                  </a:cubicBezTo>
                  <a:cubicBezTo>
                    <a:pt x="86" y="3"/>
                    <a:pt x="83" y="23"/>
                    <a:pt x="83" y="23"/>
                  </a:cubicBezTo>
                  <a:cubicBezTo>
                    <a:pt x="99" y="24"/>
                    <a:pt x="97" y="48"/>
                    <a:pt x="97" y="48"/>
                  </a:cubicBezTo>
                  <a:cubicBezTo>
                    <a:pt x="98" y="111"/>
                    <a:pt x="74" y="78"/>
                    <a:pt x="74" y="78"/>
                  </a:cubicBezTo>
                  <a:cubicBezTo>
                    <a:pt x="68" y="90"/>
                    <a:pt x="57" y="77"/>
                    <a:pt x="57" y="77"/>
                  </a:cubicBezTo>
                  <a:cubicBezTo>
                    <a:pt x="57" y="77"/>
                    <a:pt x="57" y="77"/>
                    <a:pt x="57" y="78"/>
                  </a:cubicBezTo>
                  <a:cubicBezTo>
                    <a:pt x="65" y="98"/>
                    <a:pt x="42" y="93"/>
                    <a:pt x="42" y="93"/>
                  </a:cubicBezTo>
                  <a:cubicBezTo>
                    <a:pt x="17" y="137"/>
                    <a:pt x="5" y="104"/>
                    <a:pt x="5" y="104"/>
                  </a:cubicBezTo>
                  <a:cubicBezTo>
                    <a:pt x="0" y="95"/>
                    <a:pt x="14" y="87"/>
                    <a:pt x="14" y="87"/>
                  </a:cubicBezTo>
                  <a:close/>
                </a:path>
              </a:pathLst>
            </a:custGeom>
            <a:solidFill>
              <a:srgbClr val="09B89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65" name="Freeform 17"/>
            <p:cNvSpPr>
              <a:spLocks/>
            </p:cNvSpPr>
            <p:nvPr/>
          </p:nvSpPr>
          <p:spPr bwMode="auto">
            <a:xfrm>
              <a:off x="3633151" y="6104037"/>
              <a:ext cx="251939" cy="210506"/>
            </a:xfrm>
            <a:custGeom>
              <a:avLst/>
              <a:gdLst>
                <a:gd name="T0" fmla="*/ 14 w 157"/>
                <a:gd name="T1" fmla="*/ 96 h 132"/>
                <a:gd name="T2" fmla="*/ 37 w 157"/>
                <a:gd name="T3" fmla="*/ 89 h 132"/>
                <a:gd name="T4" fmla="*/ 48 w 157"/>
                <a:gd name="T5" fmla="*/ 74 h 132"/>
                <a:gd name="T6" fmla="*/ 70 w 157"/>
                <a:gd name="T7" fmla="*/ 49 h 132"/>
                <a:gd name="T8" fmla="*/ 80 w 157"/>
                <a:gd name="T9" fmla="*/ 31 h 132"/>
                <a:gd name="T10" fmla="*/ 109 w 157"/>
                <a:gd name="T11" fmla="*/ 33 h 132"/>
                <a:gd name="T12" fmla="*/ 126 w 157"/>
                <a:gd name="T13" fmla="*/ 47 h 132"/>
                <a:gd name="T14" fmla="*/ 137 w 157"/>
                <a:gd name="T15" fmla="*/ 74 h 132"/>
                <a:gd name="T16" fmla="*/ 126 w 157"/>
                <a:gd name="T17" fmla="*/ 96 h 132"/>
                <a:gd name="T18" fmla="*/ 103 w 157"/>
                <a:gd name="T19" fmla="*/ 80 h 132"/>
                <a:gd name="T20" fmla="*/ 78 w 157"/>
                <a:gd name="T21" fmla="*/ 80 h 132"/>
                <a:gd name="T22" fmla="*/ 61 w 157"/>
                <a:gd name="T23" fmla="*/ 89 h 132"/>
                <a:gd name="T24" fmla="*/ 60 w 157"/>
                <a:gd name="T25" fmla="*/ 88 h 132"/>
                <a:gd name="T26" fmla="*/ 60 w 157"/>
                <a:gd name="T27" fmla="*/ 88 h 132"/>
                <a:gd name="T28" fmla="*/ 37 w 157"/>
                <a:gd name="T29" fmla="*/ 109 h 132"/>
                <a:gd name="T30" fmla="*/ 8 w 157"/>
                <a:gd name="T31" fmla="*/ 114 h 132"/>
                <a:gd name="T32" fmla="*/ 14 w 157"/>
                <a:gd name="T33" fmla="*/ 96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7" h="132">
                  <a:moveTo>
                    <a:pt x="14" y="96"/>
                  </a:moveTo>
                  <a:cubicBezTo>
                    <a:pt x="14" y="96"/>
                    <a:pt x="17" y="69"/>
                    <a:pt x="37" y="89"/>
                  </a:cubicBezTo>
                  <a:cubicBezTo>
                    <a:pt x="37" y="89"/>
                    <a:pt x="30" y="74"/>
                    <a:pt x="48" y="74"/>
                  </a:cubicBezTo>
                  <a:cubicBezTo>
                    <a:pt x="48" y="74"/>
                    <a:pt x="35" y="40"/>
                    <a:pt x="70" y="49"/>
                  </a:cubicBezTo>
                  <a:cubicBezTo>
                    <a:pt x="70" y="49"/>
                    <a:pt x="59" y="28"/>
                    <a:pt x="80" y="31"/>
                  </a:cubicBezTo>
                  <a:cubicBezTo>
                    <a:pt x="80" y="31"/>
                    <a:pt x="95" y="0"/>
                    <a:pt x="109" y="33"/>
                  </a:cubicBezTo>
                  <a:cubicBezTo>
                    <a:pt x="109" y="33"/>
                    <a:pt x="131" y="23"/>
                    <a:pt x="126" y="47"/>
                  </a:cubicBezTo>
                  <a:cubicBezTo>
                    <a:pt x="126" y="47"/>
                    <a:pt x="152" y="52"/>
                    <a:pt x="137" y="74"/>
                  </a:cubicBezTo>
                  <a:cubicBezTo>
                    <a:pt x="137" y="74"/>
                    <a:pt x="157" y="103"/>
                    <a:pt x="126" y="96"/>
                  </a:cubicBezTo>
                  <a:cubicBezTo>
                    <a:pt x="126" y="96"/>
                    <a:pt x="104" y="118"/>
                    <a:pt x="103" y="80"/>
                  </a:cubicBezTo>
                  <a:cubicBezTo>
                    <a:pt x="103" y="80"/>
                    <a:pt x="90" y="108"/>
                    <a:pt x="78" y="80"/>
                  </a:cubicBezTo>
                  <a:cubicBezTo>
                    <a:pt x="78" y="80"/>
                    <a:pt x="78" y="99"/>
                    <a:pt x="61" y="89"/>
                  </a:cubicBezTo>
                  <a:cubicBezTo>
                    <a:pt x="61" y="89"/>
                    <a:pt x="60" y="88"/>
                    <a:pt x="60" y="88"/>
                  </a:cubicBezTo>
                  <a:cubicBezTo>
                    <a:pt x="42" y="77"/>
                    <a:pt x="60" y="88"/>
                    <a:pt x="60" y="88"/>
                  </a:cubicBezTo>
                  <a:cubicBezTo>
                    <a:pt x="60" y="88"/>
                    <a:pt x="64" y="128"/>
                    <a:pt x="37" y="109"/>
                  </a:cubicBezTo>
                  <a:cubicBezTo>
                    <a:pt x="37" y="109"/>
                    <a:pt x="26" y="132"/>
                    <a:pt x="8" y="114"/>
                  </a:cubicBezTo>
                  <a:cubicBezTo>
                    <a:pt x="8" y="114"/>
                    <a:pt x="0" y="98"/>
                    <a:pt x="14" y="96"/>
                  </a:cubicBezTo>
                  <a:close/>
                </a:path>
              </a:pathLst>
            </a:custGeom>
            <a:solidFill>
              <a:srgbClr val="5EC3A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8181" name="Group 8180"/>
          <p:cNvGrpSpPr/>
          <p:nvPr/>
        </p:nvGrpSpPr>
        <p:grpSpPr>
          <a:xfrm>
            <a:off x="6378045" y="2785560"/>
            <a:ext cx="376237" cy="479152"/>
            <a:chOff x="3591719" y="5970382"/>
            <a:chExt cx="376237" cy="479152"/>
          </a:xfrm>
        </p:grpSpPr>
        <p:sp>
          <p:nvSpPr>
            <p:cNvPr id="8182" name="AutoShape 3"/>
            <p:cNvSpPr>
              <a:spLocks noChangeAspect="1" noChangeArrowheads="1" noTextEdit="1"/>
            </p:cNvSpPr>
            <p:nvPr/>
          </p:nvSpPr>
          <p:spPr bwMode="auto">
            <a:xfrm>
              <a:off x="3611099" y="5975060"/>
              <a:ext cx="336141" cy="4731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83" name="Freeform 5"/>
            <p:cNvSpPr>
              <a:spLocks/>
            </p:cNvSpPr>
            <p:nvPr/>
          </p:nvSpPr>
          <p:spPr bwMode="auto">
            <a:xfrm>
              <a:off x="3591719" y="5984416"/>
              <a:ext cx="174419" cy="263300"/>
            </a:xfrm>
            <a:custGeom>
              <a:avLst/>
              <a:gdLst>
                <a:gd name="T0" fmla="*/ 23 w 109"/>
                <a:gd name="T1" fmla="*/ 78 h 165"/>
                <a:gd name="T2" fmla="*/ 42 w 109"/>
                <a:gd name="T3" fmla="*/ 51 h 165"/>
                <a:gd name="T4" fmla="*/ 59 w 109"/>
                <a:gd name="T5" fmla="*/ 31 h 165"/>
                <a:gd name="T6" fmla="*/ 88 w 109"/>
                <a:gd name="T7" fmla="*/ 15 h 165"/>
                <a:gd name="T8" fmla="*/ 88 w 109"/>
                <a:gd name="T9" fmla="*/ 66 h 165"/>
                <a:gd name="T10" fmla="*/ 72 w 109"/>
                <a:gd name="T11" fmla="*/ 109 h 165"/>
                <a:gd name="T12" fmla="*/ 61 w 109"/>
                <a:gd name="T13" fmla="*/ 137 h 165"/>
                <a:gd name="T14" fmla="*/ 43 w 109"/>
                <a:gd name="T15" fmla="*/ 165 h 165"/>
                <a:gd name="T16" fmla="*/ 30 w 109"/>
                <a:gd name="T17" fmla="*/ 143 h 165"/>
                <a:gd name="T18" fmla="*/ 23 w 109"/>
                <a:gd name="T19" fmla="*/ 109 h 165"/>
                <a:gd name="T20" fmla="*/ 23 w 109"/>
                <a:gd name="T21" fmla="*/ 78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9" h="165">
                  <a:moveTo>
                    <a:pt x="23" y="78"/>
                  </a:moveTo>
                  <a:cubicBezTo>
                    <a:pt x="11" y="41"/>
                    <a:pt x="42" y="51"/>
                    <a:pt x="42" y="51"/>
                  </a:cubicBezTo>
                  <a:cubicBezTo>
                    <a:pt x="40" y="29"/>
                    <a:pt x="59" y="31"/>
                    <a:pt x="59" y="31"/>
                  </a:cubicBezTo>
                  <a:cubicBezTo>
                    <a:pt x="62" y="0"/>
                    <a:pt x="88" y="15"/>
                    <a:pt x="88" y="15"/>
                  </a:cubicBezTo>
                  <a:cubicBezTo>
                    <a:pt x="102" y="24"/>
                    <a:pt x="88" y="66"/>
                    <a:pt x="88" y="66"/>
                  </a:cubicBezTo>
                  <a:cubicBezTo>
                    <a:pt x="109" y="82"/>
                    <a:pt x="72" y="109"/>
                    <a:pt x="72" y="109"/>
                  </a:cubicBezTo>
                  <a:cubicBezTo>
                    <a:pt x="88" y="127"/>
                    <a:pt x="61" y="137"/>
                    <a:pt x="61" y="137"/>
                  </a:cubicBezTo>
                  <a:cubicBezTo>
                    <a:pt x="65" y="164"/>
                    <a:pt x="43" y="165"/>
                    <a:pt x="43" y="165"/>
                  </a:cubicBezTo>
                  <a:cubicBezTo>
                    <a:pt x="25" y="163"/>
                    <a:pt x="30" y="143"/>
                    <a:pt x="30" y="143"/>
                  </a:cubicBezTo>
                  <a:cubicBezTo>
                    <a:pt x="3" y="132"/>
                    <a:pt x="23" y="109"/>
                    <a:pt x="23" y="109"/>
                  </a:cubicBezTo>
                  <a:cubicBezTo>
                    <a:pt x="0" y="92"/>
                    <a:pt x="23" y="78"/>
                    <a:pt x="23" y="78"/>
                  </a:cubicBezTo>
                  <a:close/>
                </a:path>
              </a:pathLst>
            </a:custGeom>
            <a:solidFill>
              <a:srgbClr val="09B89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84" name="Freeform 6"/>
            <p:cNvSpPr>
              <a:spLocks/>
            </p:cNvSpPr>
            <p:nvPr/>
          </p:nvSpPr>
          <p:spPr bwMode="auto">
            <a:xfrm>
              <a:off x="3726042" y="6226999"/>
              <a:ext cx="82197" cy="222535"/>
            </a:xfrm>
            <a:custGeom>
              <a:avLst/>
              <a:gdLst>
                <a:gd name="T0" fmla="*/ 4 w 51"/>
                <a:gd name="T1" fmla="*/ 12 h 140"/>
                <a:gd name="T2" fmla="*/ 18 w 51"/>
                <a:gd name="T3" fmla="*/ 38 h 140"/>
                <a:gd name="T4" fmla="*/ 19 w 51"/>
                <a:gd name="T5" fmla="*/ 39 h 140"/>
                <a:gd name="T6" fmla="*/ 18 w 51"/>
                <a:gd name="T7" fmla="*/ 38 h 140"/>
                <a:gd name="T8" fmla="*/ 23 w 51"/>
                <a:gd name="T9" fmla="*/ 0 h 140"/>
                <a:gd name="T10" fmla="*/ 32 w 51"/>
                <a:gd name="T11" fmla="*/ 5 h 140"/>
                <a:gd name="T12" fmla="*/ 26 w 51"/>
                <a:gd name="T13" fmla="*/ 46 h 140"/>
                <a:gd name="T14" fmla="*/ 26 w 51"/>
                <a:gd name="T15" fmla="*/ 48 h 140"/>
                <a:gd name="T16" fmla="*/ 26 w 51"/>
                <a:gd name="T17" fmla="*/ 46 h 140"/>
                <a:gd name="T18" fmla="*/ 50 w 51"/>
                <a:gd name="T19" fmla="*/ 6 h 140"/>
                <a:gd name="T20" fmla="*/ 51 w 51"/>
                <a:gd name="T21" fmla="*/ 19 h 140"/>
                <a:gd name="T22" fmla="*/ 32 w 51"/>
                <a:gd name="T23" fmla="*/ 63 h 140"/>
                <a:gd name="T24" fmla="*/ 35 w 51"/>
                <a:gd name="T25" fmla="*/ 137 h 140"/>
                <a:gd name="T26" fmla="*/ 19 w 51"/>
                <a:gd name="T27" fmla="*/ 140 h 140"/>
                <a:gd name="T28" fmla="*/ 7 w 51"/>
                <a:gd name="T29" fmla="*/ 138 h 140"/>
                <a:gd name="T30" fmla="*/ 4 w 51"/>
                <a:gd name="T31" fmla="*/ 137 h 140"/>
                <a:gd name="T32" fmla="*/ 10 w 51"/>
                <a:gd name="T33" fmla="*/ 81 h 140"/>
                <a:gd name="T34" fmla="*/ 0 w 51"/>
                <a:gd name="T35" fmla="*/ 25 h 140"/>
                <a:gd name="T36" fmla="*/ 4 w 51"/>
                <a:gd name="T37" fmla="*/ 12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1" h="140">
                  <a:moveTo>
                    <a:pt x="4" y="12"/>
                  </a:moveTo>
                  <a:cubicBezTo>
                    <a:pt x="14" y="21"/>
                    <a:pt x="18" y="34"/>
                    <a:pt x="18" y="38"/>
                  </a:cubicBezTo>
                  <a:cubicBezTo>
                    <a:pt x="18" y="39"/>
                    <a:pt x="19" y="39"/>
                    <a:pt x="19" y="39"/>
                  </a:cubicBezTo>
                  <a:cubicBezTo>
                    <a:pt x="19" y="39"/>
                    <a:pt x="19" y="39"/>
                    <a:pt x="18" y="38"/>
                  </a:cubicBezTo>
                  <a:cubicBezTo>
                    <a:pt x="18" y="32"/>
                    <a:pt x="23" y="0"/>
                    <a:pt x="23" y="0"/>
                  </a:cubicBezTo>
                  <a:cubicBezTo>
                    <a:pt x="32" y="5"/>
                    <a:pt x="32" y="5"/>
                    <a:pt x="32" y="5"/>
                  </a:cubicBezTo>
                  <a:cubicBezTo>
                    <a:pt x="28" y="11"/>
                    <a:pt x="26" y="38"/>
                    <a:pt x="26" y="46"/>
                  </a:cubicBezTo>
                  <a:cubicBezTo>
                    <a:pt x="26" y="47"/>
                    <a:pt x="26" y="47"/>
                    <a:pt x="26" y="48"/>
                  </a:cubicBezTo>
                  <a:cubicBezTo>
                    <a:pt x="26" y="48"/>
                    <a:pt x="26" y="47"/>
                    <a:pt x="26" y="46"/>
                  </a:cubicBezTo>
                  <a:cubicBezTo>
                    <a:pt x="28" y="29"/>
                    <a:pt x="50" y="6"/>
                    <a:pt x="50" y="6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44" y="21"/>
                    <a:pt x="37" y="41"/>
                    <a:pt x="32" y="63"/>
                  </a:cubicBezTo>
                  <a:cubicBezTo>
                    <a:pt x="27" y="85"/>
                    <a:pt x="35" y="137"/>
                    <a:pt x="35" y="137"/>
                  </a:cubicBezTo>
                  <a:cubicBezTo>
                    <a:pt x="35" y="137"/>
                    <a:pt x="23" y="140"/>
                    <a:pt x="19" y="140"/>
                  </a:cubicBezTo>
                  <a:cubicBezTo>
                    <a:pt x="16" y="140"/>
                    <a:pt x="7" y="138"/>
                    <a:pt x="7" y="138"/>
                  </a:cubicBezTo>
                  <a:cubicBezTo>
                    <a:pt x="4" y="137"/>
                    <a:pt x="4" y="137"/>
                    <a:pt x="4" y="137"/>
                  </a:cubicBezTo>
                  <a:cubicBezTo>
                    <a:pt x="7" y="130"/>
                    <a:pt x="10" y="81"/>
                    <a:pt x="10" y="81"/>
                  </a:cubicBezTo>
                  <a:cubicBezTo>
                    <a:pt x="13" y="38"/>
                    <a:pt x="0" y="25"/>
                    <a:pt x="0" y="25"/>
                  </a:cubicBezTo>
                  <a:lnTo>
                    <a:pt x="4" y="12"/>
                  </a:lnTo>
                  <a:close/>
                </a:path>
              </a:pathLst>
            </a:custGeom>
            <a:solidFill>
              <a:srgbClr val="543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85" name="Freeform 7"/>
            <p:cNvSpPr>
              <a:spLocks/>
            </p:cNvSpPr>
            <p:nvPr/>
          </p:nvSpPr>
          <p:spPr bwMode="auto">
            <a:xfrm>
              <a:off x="3754777" y="6287143"/>
              <a:ext cx="2005" cy="2005"/>
            </a:xfrm>
            <a:custGeom>
              <a:avLst/>
              <a:gdLst>
                <a:gd name="T0" fmla="*/ 0 w 1"/>
                <a:gd name="T1" fmla="*/ 0 h 1"/>
                <a:gd name="T2" fmla="*/ 1 w 1"/>
                <a:gd name="T3" fmla="*/ 1 h 1"/>
                <a:gd name="T4" fmla="*/ 0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0" y="1"/>
                    <a:pt x="0" y="0"/>
                  </a:cubicBezTo>
                  <a:close/>
                </a:path>
              </a:pathLst>
            </a:custGeom>
            <a:solidFill>
              <a:srgbClr val="543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86" name="Freeform 8"/>
            <p:cNvSpPr>
              <a:spLocks/>
            </p:cNvSpPr>
            <p:nvPr/>
          </p:nvSpPr>
          <p:spPr bwMode="auto">
            <a:xfrm>
              <a:off x="3768143" y="6299840"/>
              <a:ext cx="0" cy="3342"/>
            </a:xfrm>
            <a:custGeom>
              <a:avLst/>
              <a:gdLst>
                <a:gd name="T0" fmla="*/ 0 h 2"/>
                <a:gd name="T1" fmla="*/ 2 h 2"/>
                <a:gd name="T2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1"/>
                    <a:pt x="0" y="1"/>
                    <a:pt x="0" y="0"/>
                  </a:cubicBezTo>
                  <a:close/>
                </a:path>
              </a:pathLst>
            </a:custGeom>
            <a:solidFill>
              <a:srgbClr val="543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87" name="Freeform 9"/>
            <p:cNvSpPr>
              <a:spLocks/>
            </p:cNvSpPr>
            <p:nvPr/>
          </p:nvSpPr>
          <p:spPr bwMode="auto">
            <a:xfrm>
              <a:off x="3638498" y="6092676"/>
              <a:ext cx="87544" cy="126304"/>
            </a:xfrm>
            <a:custGeom>
              <a:avLst/>
              <a:gdLst>
                <a:gd name="T0" fmla="*/ 18 w 55"/>
                <a:gd name="T1" fmla="*/ 26 h 79"/>
                <a:gd name="T2" fmla="*/ 36 w 55"/>
                <a:gd name="T3" fmla="*/ 6 h 79"/>
                <a:gd name="T4" fmla="*/ 32 w 55"/>
                <a:gd name="T5" fmla="*/ 73 h 79"/>
                <a:gd name="T6" fmla="*/ 16 w 55"/>
                <a:gd name="T7" fmla="*/ 51 h 79"/>
                <a:gd name="T8" fmla="*/ 18 w 55"/>
                <a:gd name="T9" fmla="*/ 2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79">
                  <a:moveTo>
                    <a:pt x="18" y="26"/>
                  </a:moveTo>
                  <a:cubicBezTo>
                    <a:pt x="7" y="0"/>
                    <a:pt x="36" y="6"/>
                    <a:pt x="36" y="6"/>
                  </a:cubicBezTo>
                  <a:cubicBezTo>
                    <a:pt x="55" y="10"/>
                    <a:pt x="32" y="73"/>
                    <a:pt x="32" y="73"/>
                  </a:cubicBezTo>
                  <a:cubicBezTo>
                    <a:pt x="5" y="79"/>
                    <a:pt x="16" y="51"/>
                    <a:pt x="16" y="51"/>
                  </a:cubicBezTo>
                  <a:cubicBezTo>
                    <a:pt x="0" y="35"/>
                    <a:pt x="18" y="26"/>
                    <a:pt x="18" y="26"/>
                  </a:cubicBezTo>
                  <a:close/>
                </a:path>
              </a:pathLst>
            </a:custGeom>
            <a:solidFill>
              <a:srgbClr val="5EC3A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88" name="Freeform 10"/>
            <p:cNvSpPr>
              <a:spLocks/>
            </p:cNvSpPr>
            <p:nvPr/>
          </p:nvSpPr>
          <p:spPr bwMode="auto">
            <a:xfrm>
              <a:off x="3729383" y="6051243"/>
              <a:ext cx="4678" cy="2005"/>
            </a:xfrm>
            <a:custGeom>
              <a:avLst/>
              <a:gdLst>
                <a:gd name="T0" fmla="*/ 0 w 3"/>
                <a:gd name="T1" fmla="*/ 0 h 1"/>
                <a:gd name="T2" fmla="*/ 3 w 3"/>
                <a:gd name="T3" fmla="*/ 1 h 1"/>
                <a:gd name="T4" fmla="*/ 0 w 3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1">
                  <a:moveTo>
                    <a:pt x="0" y="0"/>
                  </a:moveTo>
                  <a:cubicBezTo>
                    <a:pt x="2" y="0"/>
                    <a:pt x="3" y="1"/>
                    <a:pt x="3" y="1"/>
                  </a:cubicBezTo>
                  <a:cubicBezTo>
                    <a:pt x="2" y="1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89" name="Freeform 11"/>
            <p:cNvSpPr>
              <a:spLocks/>
            </p:cNvSpPr>
            <p:nvPr/>
          </p:nvSpPr>
          <p:spPr bwMode="auto">
            <a:xfrm>
              <a:off x="3691291" y="5970382"/>
              <a:ext cx="142342" cy="173751"/>
            </a:xfrm>
            <a:custGeom>
              <a:avLst/>
              <a:gdLst>
                <a:gd name="T0" fmla="*/ 12 w 89"/>
                <a:gd name="T1" fmla="*/ 77 h 109"/>
                <a:gd name="T2" fmla="*/ 9 w 89"/>
                <a:gd name="T3" fmla="*/ 60 h 109"/>
                <a:gd name="T4" fmla="*/ 24 w 89"/>
                <a:gd name="T5" fmla="*/ 51 h 109"/>
                <a:gd name="T6" fmla="*/ 27 w 89"/>
                <a:gd name="T7" fmla="*/ 52 h 109"/>
                <a:gd name="T8" fmla="*/ 24 w 89"/>
                <a:gd name="T9" fmla="*/ 51 h 109"/>
                <a:gd name="T10" fmla="*/ 20 w 89"/>
                <a:gd name="T11" fmla="*/ 33 h 109"/>
                <a:gd name="T12" fmla="*/ 46 w 89"/>
                <a:gd name="T13" fmla="*/ 19 h 109"/>
                <a:gd name="T14" fmla="*/ 67 w 89"/>
                <a:gd name="T15" fmla="*/ 3 h 109"/>
                <a:gd name="T16" fmla="*/ 79 w 89"/>
                <a:gd name="T17" fmla="*/ 19 h 109"/>
                <a:gd name="T18" fmla="*/ 71 w 89"/>
                <a:gd name="T19" fmla="*/ 40 h 109"/>
                <a:gd name="T20" fmla="*/ 59 w 89"/>
                <a:gd name="T21" fmla="*/ 59 h 109"/>
                <a:gd name="T22" fmla="*/ 45 w 89"/>
                <a:gd name="T23" fmla="*/ 83 h 109"/>
                <a:gd name="T24" fmla="*/ 23 w 89"/>
                <a:gd name="T25" fmla="*/ 107 h 109"/>
                <a:gd name="T26" fmla="*/ 3 w 89"/>
                <a:gd name="T27" fmla="*/ 94 h 109"/>
                <a:gd name="T28" fmla="*/ 12 w 89"/>
                <a:gd name="T29" fmla="*/ 7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9" h="109">
                  <a:moveTo>
                    <a:pt x="12" y="77"/>
                  </a:moveTo>
                  <a:cubicBezTo>
                    <a:pt x="6" y="64"/>
                    <a:pt x="9" y="60"/>
                    <a:pt x="9" y="60"/>
                  </a:cubicBezTo>
                  <a:cubicBezTo>
                    <a:pt x="11" y="50"/>
                    <a:pt x="20" y="50"/>
                    <a:pt x="24" y="51"/>
                  </a:cubicBezTo>
                  <a:cubicBezTo>
                    <a:pt x="25" y="51"/>
                    <a:pt x="26" y="52"/>
                    <a:pt x="27" y="52"/>
                  </a:cubicBezTo>
                  <a:cubicBezTo>
                    <a:pt x="27" y="52"/>
                    <a:pt x="26" y="51"/>
                    <a:pt x="24" y="51"/>
                  </a:cubicBezTo>
                  <a:cubicBezTo>
                    <a:pt x="18" y="48"/>
                    <a:pt x="20" y="33"/>
                    <a:pt x="20" y="33"/>
                  </a:cubicBezTo>
                  <a:cubicBezTo>
                    <a:pt x="23" y="9"/>
                    <a:pt x="46" y="19"/>
                    <a:pt x="46" y="19"/>
                  </a:cubicBezTo>
                  <a:cubicBezTo>
                    <a:pt x="47" y="0"/>
                    <a:pt x="67" y="3"/>
                    <a:pt x="67" y="3"/>
                  </a:cubicBezTo>
                  <a:cubicBezTo>
                    <a:pt x="80" y="4"/>
                    <a:pt x="79" y="19"/>
                    <a:pt x="79" y="19"/>
                  </a:cubicBezTo>
                  <a:cubicBezTo>
                    <a:pt x="81" y="27"/>
                    <a:pt x="71" y="40"/>
                    <a:pt x="71" y="40"/>
                  </a:cubicBezTo>
                  <a:cubicBezTo>
                    <a:pt x="89" y="68"/>
                    <a:pt x="59" y="59"/>
                    <a:pt x="59" y="59"/>
                  </a:cubicBezTo>
                  <a:cubicBezTo>
                    <a:pt x="80" y="75"/>
                    <a:pt x="45" y="83"/>
                    <a:pt x="45" y="83"/>
                  </a:cubicBezTo>
                  <a:cubicBezTo>
                    <a:pt x="51" y="109"/>
                    <a:pt x="23" y="107"/>
                    <a:pt x="23" y="107"/>
                  </a:cubicBezTo>
                  <a:cubicBezTo>
                    <a:pt x="5" y="109"/>
                    <a:pt x="3" y="94"/>
                    <a:pt x="3" y="94"/>
                  </a:cubicBezTo>
                  <a:cubicBezTo>
                    <a:pt x="0" y="84"/>
                    <a:pt x="12" y="77"/>
                    <a:pt x="12" y="77"/>
                  </a:cubicBezTo>
                  <a:close/>
                </a:path>
              </a:pathLst>
            </a:custGeom>
            <a:solidFill>
              <a:srgbClr val="5EC3A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90" name="Freeform 12"/>
            <p:cNvSpPr>
              <a:spLocks/>
            </p:cNvSpPr>
            <p:nvPr/>
          </p:nvSpPr>
          <p:spPr bwMode="auto">
            <a:xfrm>
              <a:off x="3742080" y="5987757"/>
              <a:ext cx="176424" cy="170410"/>
            </a:xfrm>
            <a:custGeom>
              <a:avLst/>
              <a:gdLst>
                <a:gd name="T0" fmla="*/ 24 w 110"/>
                <a:gd name="T1" fmla="*/ 35 h 107"/>
                <a:gd name="T2" fmla="*/ 39 w 110"/>
                <a:gd name="T3" fmla="*/ 21 h 107"/>
                <a:gd name="T4" fmla="*/ 55 w 110"/>
                <a:gd name="T5" fmla="*/ 2 h 107"/>
                <a:gd name="T6" fmla="*/ 69 w 110"/>
                <a:gd name="T7" fmla="*/ 20 h 107"/>
                <a:gd name="T8" fmla="*/ 88 w 110"/>
                <a:gd name="T9" fmla="*/ 38 h 107"/>
                <a:gd name="T10" fmla="*/ 78 w 110"/>
                <a:gd name="T11" fmla="*/ 72 h 107"/>
                <a:gd name="T12" fmla="*/ 58 w 110"/>
                <a:gd name="T13" fmla="*/ 88 h 107"/>
                <a:gd name="T14" fmla="*/ 33 w 110"/>
                <a:gd name="T15" fmla="*/ 83 h 107"/>
                <a:gd name="T16" fmla="*/ 24 w 110"/>
                <a:gd name="T17" fmla="*/ 56 h 107"/>
                <a:gd name="T18" fmla="*/ 24 w 110"/>
                <a:gd name="T19" fmla="*/ 35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0" h="107">
                  <a:moveTo>
                    <a:pt x="24" y="35"/>
                  </a:moveTo>
                  <a:cubicBezTo>
                    <a:pt x="22" y="17"/>
                    <a:pt x="39" y="21"/>
                    <a:pt x="39" y="21"/>
                  </a:cubicBezTo>
                  <a:cubicBezTo>
                    <a:pt x="42" y="0"/>
                    <a:pt x="55" y="2"/>
                    <a:pt x="55" y="2"/>
                  </a:cubicBezTo>
                  <a:cubicBezTo>
                    <a:pt x="68" y="3"/>
                    <a:pt x="69" y="20"/>
                    <a:pt x="69" y="20"/>
                  </a:cubicBezTo>
                  <a:cubicBezTo>
                    <a:pt x="93" y="19"/>
                    <a:pt x="88" y="38"/>
                    <a:pt x="88" y="38"/>
                  </a:cubicBezTo>
                  <a:cubicBezTo>
                    <a:pt x="110" y="59"/>
                    <a:pt x="78" y="72"/>
                    <a:pt x="78" y="72"/>
                  </a:cubicBezTo>
                  <a:cubicBezTo>
                    <a:pt x="84" y="98"/>
                    <a:pt x="58" y="88"/>
                    <a:pt x="58" y="88"/>
                  </a:cubicBezTo>
                  <a:cubicBezTo>
                    <a:pt x="42" y="107"/>
                    <a:pt x="33" y="83"/>
                    <a:pt x="33" y="83"/>
                  </a:cubicBezTo>
                  <a:cubicBezTo>
                    <a:pt x="18" y="85"/>
                    <a:pt x="24" y="56"/>
                    <a:pt x="24" y="56"/>
                  </a:cubicBezTo>
                  <a:cubicBezTo>
                    <a:pt x="0" y="43"/>
                    <a:pt x="24" y="35"/>
                    <a:pt x="24" y="35"/>
                  </a:cubicBezTo>
                  <a:close/>
                </a:path>
              </a:pathLst>
            </a:custGeom>
            <a:solidFill>
              <a:srgbClr val="09B89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91" name="Freeform 13"/>
            <p:cNvSpPr>
              <a:spLocks/>
            </p:cNvSpPr>
            <p:nvPr/>
          </p:nvSpPr>
          <p:spPr bwMode="auto">
            <a:xfrm>
              <a:off x="3802893" y="6048570"/>
              <a:ext cx="161722" cy="160386"/>
            </a:xfrm>
            <a:custGeom>
              <a:avLst/>
              <a:gdLst>
                <a:gd name="T0" fmla="*/ 23 w 101"/>
                <a:gd name="T1" fmla="*/ 43 h 101"/>
                <a:gd name="T2" fmla="*/ 20 w 101"/>
                <a:gd name="T3" fmla="*/ 25 h 101"/>
                <a:gd name="T4" fmla="*/ 42 w 101"/>
                <a:gd name="T5" fmla="*/ 22 h 101"/>
                <a:gd name="T6" fmla="*/ 55 w 101"/>
                <a:gd name="T7" fmla="*/ 0 h 101"/>
                <a:gd name="T8" fmla="*/ 69 w 101"/>
                <a:gd name="T9" fmla="*/ 20 h 101"/>
                <a:gd name="T10" fmla="*/ 79 w 101"/>
                <a:gd name="T11" fmla="*/ 39 h 101"/>
                <a:gd name="T12" fmla="*/ 83 w 101"/>
                <a:gd name="T13" fmla="*/ 69 h 101"/>
                <a:gd name="T14" fmla="*/ 80 w 101"/>
                <a:gd name="T15" fmla="*/ 69 h 101"/>
                <a:gd name="T16" fmla="*/ 61 w 101"/>
                <a:gd name="T17" fmla="*/ 79 h 101"/>
                <a:gd name="T18" fmla="*/ 43 w 101"/>
                <a:gd name="T19" fmla="*/ 78 h 101"/>
                <a:gd name="T20" fmla="*/ 8 w 101"/>
                <a:gd name="T21" fmla="*/ 66 h 101"/>
                <a:gd name="T22" fmla="*/ 23 w 101"/>
                <a:gd name="T23" fmla="*/ 43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1" h="101">
                  <a:moveTo>
                    <a:pt x="23" y="43"/>
                  </a:moveTo>
                  <a:cubicBezTo>
                    <a:pt x="14" y="40"/>
                    <a:pt x="20" y="25"/>
                    <a:pt x="20" y="25"/>
                  </a:cubicBezTo>
                  <a:cubicBezTo>
                    <a:pt x="25" y="11"/>
                    <a:pt x="42" y="22"/>
                    <a:pt x="42" y="22"/>
                  </a:cubicBezTo>
                  <a:cubicBezTo>
                    <a:pt x="35" y="0"/>
                    <a:pt x="55" y="0"/>
                    <a:pt x="55" y="0"/>
                  </a:cubicBezTo>
                  <a:cubicBezTo>
                    <a:pt x="68" y="0"/>
                    <a:pt x="69" y="20"/>
                    <a:pt x="69" y="20"/>
                  </a:cubicBezTo>
                  <a:cubicBezTo>
                    <a:pt x="91" y="21"/>
                    <a:pt x="79" y="39"/>
                    <a:pt x="79" y="39"/>
                  </a:cubicBezTo>
                  <a:cubicBezTo>
                    <a:pt x="101" y="49"/>
                    <a:pt x="83" y="69"/>
                    <a:pt x="83" y="69"/>
                  </a:cubicBezTo>
                  <a:cubicBezTo>
                    <a:pt x="82" y="70"/>
                    <a:pt x="80" y="69"/>
                    <a:pt x="80" y="69"/>
                  </a:cubicBezTo>
                  <a:cubicBezTo>
                    <a:pt x="82" y="94"/>
                    <a:pt x="61" y="79"/>
                    <a:pt x="61" y="79"/>
                  </a:cubicBezTo>
                  <a:cubicBezTo>
                    <a:pt x="59" y="92"/>
                    <a:pt x="43" y="78"/>
                    <a:pt x="43" y="78"/>
                  </a:cubicBezTo>
                  <a:cubicBezTo>
                    <a:pt x="21" y="101"/>
                    <a:pt x="8" y="66"/>
                    <a:pt x="8" y="66"/>
                  </a:cubicBezTo>
                  <a:cubicBezTo>
                    <a:pt x="0" y="46"/>
                    <a:pt x="23" y="43"/>
                    <a:pt x="23" y="43"/>
                  </a:cubicBezTo>
                  <a:close/>
                </a:path>
              </a:pathLst>
            </a:custGeom>
            <a:solidFill>
              <a:srgbClr val="5EC3A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92" name="Freeform 14"/>
            <p:cNvSpPr>
              <a:spLocks/>
            </p:cNvSpPr>
            <p:nvPr/>
          </p:nvSpPr>
          <p:spPr bwMode="auto">
            <a:xfrm>
              <a:off x="3881749" y="6250388"/>
              <a:ext cx="20716" cy="30741"/>
            </a:xfrm>
            <a:custGeom>
              <a:avLst/>
              <a:gdLst>
                <a:gd name="T0" fmla="*/ 0 w 13"/>
                <a:gd name="T1" fmla="*/ 19 h 19"/>
                <a:gd name="T2" fmla="*/ 0 w 13"/>
                <a:gd name="T3" fmla="*/ 19 h 19"/>
                <a:gd name="T4" fmla="*/ 0 w 13"/>
                <a:gd name="T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9">
                  <a:moveTo>
                    <a:pt x="0" y="19"/>
                  </a:moveTo>
                  <a:cubicBezTo>
                    <a:pt x="0" y="19"/>
                    <a:pt x="0" y="19"/>
                    <a:pt x="0" y="19"/>
                  </a:cubicBezTo>
                  <a:cubicBezTo>
                    <a:pt x="2" y="17"/>
                    <a:pt x="13" y="0"/>
                    <a:pt x="0" y="19"/>
                  </a:cubicBezTo>
                  <a:close/>
                </a:path>
              </a:pathLst>
            </a:custGeom>
            <a:solidFill>
              <a:srgbClr val="4DA0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93" name="Freeform 15"/>
            <p:cNvSpPr>
              <a:spLocks/>
            </p:cNvSpPr>
            <p:nvPr/>
          </p:nvSpPr>
          <p:spPr bwMode="auto">
            <a:xfrm>
              <a:off x="3792200" y="6132772"/>
              <a:ext cx="175756" cy="181770"/>
            </a:xfrm>
            <a:custGeom>
              <a:avLst/>
              <a:gdLst>
                <a:gd name="T0" fmla="*/ 20 w 110"/>
                <a:gd name="T1" fmla="*/ 36 h 114"/>
                <a:gd name="T2" fmla="*/ 38 w 110"/>
                <a:gd name="T3" fmla="*/ 23 h 114"/>
                <a:gd name="T4" fmla="*/ 58 w 110"/>
                <a:gd name="T5" fmla="*/ 10 h 114"/>
                <a:gd name="T6" fmla="*/ 67 w 110"/>
                <a:gd name="T7" fmla="*/ 1 h 114"/>
                <a:gd name="T8" fmla="*/ 67 w 110"/>
                <a:gd name="T9" fmla="*/ 1 h 114"/>
                <a:gd name="T10" fmla="*/ 85 w 110"/>
                <a:gd name="T11" fmla="*/ 16 h 114"/>
                <a:gd name="T12" fmla="*/ 87 w 110"/>
                <a:gd name="T13" fmla="*/ 40 h 114"/>
                <a:gd name="T14" fmla="*/ 85 w 110"/>
                <a:gd name="T15" fmla="*/ 60 h 114"/>
                <a:gd name="T16" fmla="*/ 73 w 110"/>
                <a:gd name="T17" fmla="*/ 75 h 114"/>
                <a:gd name="T18" fmla="*/ 56 w 110"/>
                <a:gd name="T19" fmla="*/ 94 h 114"/>
                <a:gd name="T20" fmla="*/ 56 w 110"/>
                <a:gd name="T21" fmla="*/ 93 h 114"/>
                <a:gd name="T22" fmla="*/ 56 w 110"/>
                <a:gd name="T23" fmla="*/ 93 h 114"/>
                <a:gd name="T24" fmla="*/ 56 w 110"/>
                <a:gd name="T25" fmla="*/ 93 h 114"/>
                <a:gd name="T26" fmla="*/ 55 w 110"/>
                <a:gd name="T27" fmla="*/ 95 h 114"/>
                <a:gd name="T28" fmla="*/ 34 w 110"/>
                <a:gd name="T29" fmla="*/ 96 h 114"/>
                <a:gd name="T30" fmla="*/ 33 w 110"/>
                <a:gd name="T31" fmla="*/ 97 h 114"/>
                <a:gd name="T32" fmla="*/ 16 w 110"/>
                <a:gd name="T33" fmla="*/ 86 h 114"/>
                <a:gd name="T34" fmla="*/ 14 w 110"/>
                <a:gd name="T35" fmla="*/ 72 h 114"/>
                <a:gd name="T36" fmla="*/ 12 w 110"/>
                <a:gd name="T37" fmla="*/ 53 h 114"/>
                <a:gd name="T38" fmla="*/ 20 w 110"/>
                <a:gd name="T39" fmla="*/ 36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10" h="114">
                  <a:moveTo>
                    <a:pt x="20" y="36"/>
                  </a:moveTo>
                  <a:cubicBezTo>
                    <a:pt x="19" y="15"/>
                    <a:pt x="38" y="23"/>
                    <a:pt x="38" y="23"/>
                  </a:cubicBezTo>
                  <a:cubicBezTo>
                    <a:pt x="45" y="0"/>
                    <a:pt x="58" y="10"/>
                    <a:pt x="58" y="10"/>
                  </a:cubicBezTo>
                  <a:cubicBezTo>
                    <a:pt x="58" y="5"/>
                    <a:pt x="67" y="1"/>
                    <a:pt x="67" y="1"/>
                  </a:cubicBezTo>
                  <a:cubicBezTo>
                    <a:pt x="67" y="1"/>
                    <a:pt x="67" y="1"/>
                    <a:pt x="67" y="1"/>
                  </a:cubicBezTo>
                  <a:cubicBezTo>
                    <a:pt x="86" y="0"/>
                    <a:pt x="85" y="16"/>
                    <a:pt x="85" y="16"/>
                  </a:cubicBezTo>
                  <a:cubicBezTo>
                    <a:pt x="110" y="27"/>
                    <a:pt x="87" y="40"/>
                    <a:pt x="87" y="40"/>
                  </a:cubicBezTo>
                  <a:cubicBezTo>
                    <a:pt x="106" y="51"/>
                    <a:pt x="85" y="60"/>
                    <a:pt x="85" y="60"/>
                  </a:cubicBezTo>
                  <a:cubicBezTo>
                    <a:pt x="89" y="83"/>
                    <a:pt x="73" y="75"/>
                    <a:pt x="73" y="75"/>
                  </a:cubicBezTo>
                  <a:cubicBezTo>
                    <a:pt x="77" y="105"/>
                    <a:pt x="56" y="94"/>
                    <a:pt x="56" y="94"/>
                  </a:cubicBezTo>
                  <a:cubicBezTo>
                    <a:pt x="56" y="94"/>
                    <a:pt x="56" y="94"/>
                    <a:pt x="56" y="93"/>
                  </a:cubicBezTo>
                  <a:cubicBezTo>
                    <a:pt x="56" y="93"/>
                    <a:pt x="56" y="93"/>
                    <a:pt x="56" y="93"/>
                  </a:cubicBezTo>
                  <a:cubicBezTo>
                    <a:pt x="69" y="74"/>
                    <a:pt x="58" y="91"/>
                    <a:pt x="56" y="93"/>
                  </a:cubicBezTo>
                  <a:cubicBezTo>
                    <a:pt x="56" y="94"/>
                    <a:pt x="55" y="94"/>
                    <a:pt x="55" y="95"/>
                  </a:cubicBezTo>
                  <a:cubicBezTo>
                    <a:pt x="42" y="114"/>
                    <a:pt x="34" y="96"/>
                    <a:pt x="34" y="96"/>
                  </a:cubicBezTo>
                  <a:cubicBezTo>
                    <a:pt x="34" y="97"/>
                    <a:pt x="33" y="97"/>
                    <a:pt x="33" y="97"/>
                  </a:cubicBezTo>
                  <a:cubicBezTo>
                    <a:pt x="10" y="111"/>
                    <a:pt x="16" y="86"/>
                    <a:pt x="16" y="86"/>
                  </a:cubicBezTo>
                  <a:cubicBezTo>
                    <a:pt x="5" y="78"/>
                    <a:pt x="14" y="72"/>
                    <a:pt x="14" y="72"/>
                  </a:cubicBezTo>
                  <a:cubicBezTo>
                    <a:pt x="0" y="69"/>
                    <a:pt x="12" y="53"/>
                    <a:pt x="12" y="53"/>
                  </a:cubicBezTo>
                  <a:cubicBezTo>
                    <a:pt x="3" y="43"/>
                    <a:pt x="20" y="36"/>
                    <a:pt x="20" y="36"/>
                  </a:cubicBezTo>
                  <a:close/>
                </a:path>
              </a:pathLst>
            </a:custGeom>
            <a:solidFill>
              <a:srgbClr val="09B89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94" name="Freeform 16"/>
            <p:cNvSpPr>
              <a:spLocks/>
            </p:cNvSpPr>
            <p:nvPr/>
          </p:nvSpPr>
          <p:spPr bwMode="auto">
            <a:xfrm>
              <a:off x="3663892" y="6075301"/>
              <a:ext cx="158380" cy="218526"/>
            </a:xfrm>
            <a:custGeom>
              <a:avLst/>
              <a:gdLst>
                <a:gd name="T0" fmla="*/ 14 w 99"/>
                <a:gd name="T1" fmla="*/ 87 h 137"/>
                <a:gd name="T2" fmla="*/ 10 w 99"/>
                <a:gd name="T3" fmla="*/ 71 h 137"/>
                <a:gd name="T4" fmla="*/ 21 w 99"/>
                <a:gd name="T5" fmla="*/ 57 h 137"/>
                <a:gd name="T6" fmla="*/ 21 w 99"/>
                <a:gd name="T7" fmla="*/ 42 h 137"/>
                <a:gd name="T8" fmla="*/ 33 w 99"/>
                <a:gd name="T9" fmla="*/ 37 h 137"/>
                <a:gd name="T10" fmla="*/ 54 w 99"/>
                <a:gd name="T11" fmla="*/ 15 h 137"/>
                <a:gd name="T12" fmla="*/ 70 w 99"/>
                <a:gd name="T13" fmla="*/ 0 h 137"/>
                <a:gd name="T14" fmla="*/ 83 w 99"/>
                <a:gd name="T15" fmla="*/ 23 h 137"/>
                <a:gd name="T16" fmla="*/ 97 w 99"/>
                <a:gd name="T17" fmla="*/ 48 h 137"/>
                <a:gd name="T18" fmla="*/ 74 w 99"/>
                <a:gd name="T19" fmla="*/ 78 h 137"/>
                <a:gd name="T20" fmla="*/ 57 w 99"/>
                <a:gd name="T21" fmla="*/ 77 h 137"/>
                <a:gd name="T22" fmla="*/ 57 w 99"/>
                <a:gd name="T23" fmla="*/ 78 h 137"/>
                <a:gd name="T24" fmla="*/ 42 w 99"/>
                <a:gd name="T25" fmla="*/ 93 h 137"/>
                <a:gd name="T26" fmla="*/ 5 w 99"/>
                <a:gd name="T27" fmla="*/ 104 h 137"/>
                <a:gd name="T28" fmla="*/ 14 w 99"/>
                <a:gd name="T29" fmla="*/ 87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7">
                  <a:moveTo>
                    <a:pt x="14" y="87"/>
                  </a:moveTo>
                  <a:cubicBezTo>
                    <a:pt x="9" y="86"/>
                    <a:pt x="10" y="71"/>
                    <a:pt x="10" y="71"/>
                  </a:cubicBezTo>
                  <a:cubicBezTo>
                    <a:pt x="9" y="61"/>
                    <a:pt x="21" y="57"/>
                    <a:pt x="21" y="57"/>
                  </a:cubicBezTo>
                  <a:cubicBezTo>
                    <a:pt x="16" y="52"/>
                    <a:pt x="21" y="42"/>
                    <a:pt x="21" y="42"/>
                  </a:cubicBezTo>
                  <a:cubicBezTo>
                    <a:pt x="25" y="34"/>
                    <a:pt x="33" y="37"/>
                    <a:pt x="33" y="37"/>
                  </a:cubicBezTo>
                  <a:cubicBezTo>
                    <a:pt x="31" y="14"/>
                    <a:pt x="54" y="15"/>
                    <a:pt x="54" y="15"/>
                  </a:cubicBezTo>
                  <a:cubicBezTo>
                    <a:pt x="54" y="2"/>
                    <a:pt x="70" y="0"/>
                    <a:pt x="70" y="0"/>
                  </a:cubicBezTo>
                  <a:cubicBezTo>
                    <a:pt x="86" y="3"/>
                    <a:pt x="83" y="23"/>
                    <a:pt x="83" y="23"/>
                  </a:cubicBezTo>
                  <a:cubicBezTo>
                    <a:pt x="99" y="24"/>
                    <a:pt x="97" y="48"/>
                    <a:pt x="97" y="48"/>
                  </a:cubicBezTo>
                  <a:cubicBezTo>
                    <a:pt x="98" y="111"/>
                    <a:pt x="74" y="78"/>
                    <a:pt x="74" y="78"/>
                  </a:cubicBezTo>
                  <a:cubicBezTo>
                    <a:pt x="68" y="90"/>
                    <a:pt x="57" y="77"/>
                    <a:pt x="57" y="77"/>
                  </a:cubicBezTo>
                  <a:cubicBezTo>
                    <a:pt x="57" y="77"/>
                    <a:pt x="57" y="77"/>
                    <a:pt x="57" y="78"/>
                  </a:cubicBezTo>
                  <a:cubicBezTo>
                    <a:pt x="65" y="98"/>
                    <a:pt x="42" y="93"/>
                    <a:pt x="42" y="93"/>
                  </a:cubicBezTo>
                  <a:cubicBezTo>
                    <a:pt x="17" y="137"/>
                    <a:pt x="5" y="104"/>
                    <a:pt x="5" y="104"/>
                  </a:cubicBezTo>
                  <a:cubicBezTo>
                    <a:pt x="0" y="95"/>
                    <a:pt x="14" y="87"/>
                    <a:pt x="14" y="87"/>
                  </a:cubicBezTo>
                  <a:close/>
                </a:path>
              </a:pathLst>
            </a:custGeom>
            <a:solidFill>
              <a:srgbClr val="09B89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95" name="Freeform 17"/>
            <p:cNvSpPr>
              <a:spLocks/>
            </p:cNvSpPr>
            <p:nvPr/>
          </p:nvSpPr>
          <p:spPr bwMode="auto">
            <a:xfrm>
              <a:off x="3633151" y="6104037"/>
              <a:ext cx="251939" cy="210506"/>
            </a:xfrm>
            <a:custGeom>
              <a:avLst/>
              <a:gdLst>
                <a:gd name="T0" fmla="*/ 14 w 157"/>
                <a:gd name="T1" fmla="*/ 96 h 132"/>
                <a:gd name="T2" fmla="*/ 37 w 157"/>
                <a:gd name="T3" fmla="*/ 89 h 132"/>
                <a:gd name="T4" fmla="*/ 48 w 157"/>
                <a:gd name="T5" fmla="*/ 74 h 132"/>
                <a:gd name="T6" fmla="*/ 70 w 157"/>
                <a:gd name="T7" fmla="*/ 49 h 132"/>
                <a:gd name="T8" fmla="*/ 80 w 157"/>
                <a:gd name="T9" fmla="*/ 31 h 132"/>
                <a:gd name="T10" fmla="*/ 109 w 157"/>
                <a:gd name="T11" fmla="*/ 33 h 132"/>
                <a:gd name="T12" fmla="*/ 126 w 157"/>
                <a:gd name="T13" fmla="*/ 47 h 132"/>
                <a:gd name="T14" fmla="*/ 137 w 157"/>
                <a:gd name="T15" fmla="*/ 74 h 132"/>
                <a:gd name="T16" fmla="*/ 126 w 157"/>
                <a:gd name="T17" fmla="*/ 96 h 132"/>
                <a:gd name="T18" fmla="*/ 103 w 157"/>
                <a:gd name="T19" fmla="*/ 80 h 132"/>
                <a:gd name="T20" fmla="*/ 78 w 157"/>
                <a:gd name="T21" fmla="*/ 80 h 132"/>
                <a:gd name="T22" fmla="*/ 61 w 157"/>
                <a:gd name="T23" fmla="*/ 89 h 132"/>
                <a:gd name="T24" fmla="*/ 60 w 157"/>
                <a:gd name="T25" fmla="*/ 88 h 132"/>
                <a:gd name="T26" fmla="*/ 60 w 157"/>
                <a:gd name="T27" fmla="*/ 88 h 132"/>
                <a:gd name="T28" fmla="*/ 37 w 157"/>
                <a:gd name="T29" fmla="*/ 109 h 132"/>
                <a:gd name="T30" fmla="*/ 8 w 157"/>
                <a:gd name="T31" fmla="*/ 114 h 132"/>
                <a:gd name="T32" fmla="*/ 14 w 157"/>
                <a:gd name="T33" fmla="*/ 96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7" h="132">
                  <a:moveTo>
                    <a:pt x="14" y="96"/>
                  </a:moveTo>
                  <a:cubicBezTo>
                    <a:pt x="14" y="96"/>
                    <a:pt x="17" y="69"/>
                    <a:pt x="37" y="89"/>
                  </a:cubicBezTo>
                  <a:cubicBezTo>
                    <a:pt x="37" y="89"/>
                    <a:pt x="30" y="74"/>
                    <a:pt x="48" y="74"/>
                  </a:cubicBezTo>
                  <a:cubicBezTo>
                    <a:pt x="48" y="74"/>
                    <a:pt x="35" y="40"/>
                    <a:pt x="70" y="49"/>
                  </a:cubicBezTo>
                  <a:cubicBezTo>
                    <a:pt x="70" y="49"/>
                    <a:pt x="59" y="28"/>
                    <a:pt x="80" y="31"/>
                  </a:cubicBezTo>
                  <a:cubicBezTo>
                    <a:pt x="80" y="31"/>
                    <a:pt x="95" y="0"/>
                    <a:pt x="109" y="33"/>
                  </a:cubicBezTo>
                  <a:cubicBezTo>
                    <a:pt x="109" y="33"/>
                    <a:pt x="131" y="23"/>
                    <a:pt x="126" y="47"/>
                  </a:cubicBezTo>
                  <a:cubicBezTo>
                    <a:pt x="126" y="47"/>
                    <a:pt x="152" y="52"/>
                    <a:pt x="137" y="74"/>
                  </a:cubicBezTo>
                  <a:cubicBezTo>
                    <a:pt x="137" y="74"/>
                    <a:pt x="157" y="103"/>
                    <a:pt x="126" y="96"/>
                  </a:cubicBezTo>
                  <a:cubicBezTo>
                    <a:pt x="126" y="96"/>
                    <a:pt x="104" y="118"/>
                    <a:pt x="103" y="80"/>
                  </a:cubicBezTo>
                  <a:cubicBezTo>
                    <a:pt x="103" y="80"/>
                    <a:pt x="90" y="108"/>
                    <a:pt x="78" y="80"/>
                  </a:cubicBezTo>
                  <a:cubicBezTo>
                    <a:pt x="78" y="80"/>
                    <a:pt x="78" y="99"/>
                    <a:pt x="61" y="89"/>
                  </a:cubicBezTo>
                  <a:cubicBezTo>
                    <a:pt x="61" y="89"/>
                    <a:pt x="60" y="88"/>
                    <a:pt x="60" y="88"/>
                  </a:cubicBezTo>
                  <a:cubicBezTo>
                    <a:pt x="42" y="77"/>
                    <a:pt x="60" y="88"/>
                    <a:pt x="60" y="88"/>
                  </a:cubicBezTo>
                  <a:cubicBezTo>
                    <a:pt x="60" y="88"/>
                    <a:pt x="64" y="128"/>
                    <a:pt x="37" y="109"/>
                  </a:cubicBezTo>
                  <a:cubicBezTo>
                    <a:pt x="37" y="109"/>
                    <a:pt x="26" y="132"/>
                    <a:pt x="8" y="114"/>
                  </a:cubicBezTo>
                  <a:cubicBezTo>
                    <a:pt x="8" y="114"/>
                    <a:pt x="0" y="98"/>
                    <a:pt x="14" y="96"/>
                  </a:cubicBezTo>
                  <a:close/>
                </a:path>
              </a:pathLst>
            </a:custGeom>
            <a:solidFill>
              <a:srgbClr val="5EC3A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pic>
        <p:nvPicPr>
          <p:cNvPr id="7681" name="Picture 768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03074" y="3260445"/>
            <a:ext cx="643102" cy="225852"/>
          </a:xfrm>
          <a:prstGeom prst="rect">
            <a:avLst/>
          </a:prstGeom>
        </p:spPr>
      </p:pic>
      <p:grpSp>
        <p:nvGrpSpPr>
          <p:cNvPr id="8856" name="Group 8855"/>
          <p:cNvGrpSpPr/>
          <p:nvPr/>
        </p:nvGrpSpPr>
        <p:grpSpPr>
          <a:xfrm>
            <a:off x="1595099" y="1528443"/>
            <a:ext cx="722853" cy="1281762"/>
            <a:chOff x="5873750" y="5121276"/>
            <a:chExt cx="307975" cy="546101"/>
          </a:xfrm>
        </p:grpSpPr>
        <p:sp>
          <p:nvSpPr>
            <p:cNvPr id="8488" name="Freeform 6461"/>
            <p:cNvSpPr>
              <a:spLocks/>
            </p:cNvSpPr>
            <p:nvPr/>
          </p:nvSpPr>
          <p:spPr bwMode="auto">
            <a:xfrm>
              <a:off x="6007100" y="5121276"/>
              <a:ext cx="39688" cy="265113"/>
            </a:xfrm>
            <a:custGeom>
              <a:avLst/>
              <a:gdLst>
                <a:gd name="T0" fmla="*/ 2 w 25"/>
                <a:gd name="T1" fmla="*/ 167 h 167"/>
                <a:gd name="T2" fmla="*/ 12 w 25"/>
                <a:gd name="T3" fmla="*/ 17 h 167"/>
                <a:gd name="T4" fmla="*/ 23 w 25"/>
                <a:gd name="T5" fmla="*/ 167 h 167"/>
                <a:gd name="T6" fmla="*/ 25 w 25"/>
                <a:gd name="T7" fmla="*/ 167 h 167"/>
                <a:gd name="T8" fmla="*/ 14 w 25"/>
                <a:gd name="T9" fmla="*/ 0 h 167"/>
                <a:gd name="T10" fmla="*/ 11 w 25"/>
                <a:gd name="T11" fmla="*/ 0 h 167"/>
                <a:gd name="T12" fmla="*/ 0 w 25"/>
                <a:gd name="T13" fmla="*/ 167 h 167"/>
                <a:gd name="T14" fmla="*/ 2 w 25"/>
                <a:gd name="T15" fmla="*/ 16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167">
                  <a:moveTo>
                    <a:pt x="2" y="167"/>
                  </a:moveTo>
                  <a:lnTo>
                    <a:pt x="12" y="17"/>
                  </a:lnTo>
                  <a:lnTo>
                    <a:pt x="23" y="167"/>
                  </a:lnTo>
                  <a:lnTo>
                    <a:pt x="25" y="167"/>
                  </a:lnTo>
                  <a:lnTo>
                    <a:pt x="14" y="0"/>
                  </a:lnTo>
                  <a:lnTo>
                    <a:pt x="11" y="0"/>
                  </a:lnTo>
                  <a:lnTo>
                    <a:pt x="0" y="167"/>
                  </a:lnTo>
                  <a:lnTo>
                    <a:pt x="2" y="167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89" name="Freeform 6462"/>
            <p:cNvSpPr>
              <a:spLocks/>
            </p:cNvSpPr>
            <p:nvPr/>
          </p:nvSpPr>
          <p:spPr bwMode="auto">
            <a:xfrm>
              <a:off x="5981700" y="5410201"/>
              <a:ext cx="90488" cy="257175"/>
            </a:xfrm>
            <a:custGeom>
              <a:avLst/>
              <a:gdLst>
                <a:gd name="T0" fmla="*/ 0 w 57"/>
                <a:gd name="T1" fmla="*/ 162 h 162"/>
                <a:gd name="T2" fmla="*/ 57 w 57"/>
                <a:gd name="T3" fmla="*/ 162 h 162"/>
                <a:gd name="T4" fmla="*/ 42 w 57"/>
                <a:gd name="T5" fmla="*/ 0 h 162"/>
                <a:gd name="T6" fmla="*/ 40 w 57"/>
                <a:gd name="T7" fmla="*/ 1 h 162"/>
                <a:gd name="T8" fmla="*/ 55 w 57"/>
                <a:gd name="T9" fmla="*/ 159 h 162"/>
                <a:gd name="T10" fmla="*/ 2 w 57"/>
                <a:gd name="T11" fmla="*/ 159 h 162"/>
                <a:gd name="T12" fmla="*/ 17 w 57"/>
                <a:gd name="T13" fmla="*/ 1 h 162"/>
                <a:gd name="T14" fmla="*/ 15 w 57"/>
                <a:gd name="T15" fmla="*/ 0 h 162"/>
                <a:gd name="T16" fmla="*/ 0 w 57"/>
                <a:gd name="T17" fmla="*/ 16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7" h="162">
                  <a:moveTo>
                    <a:pt x="0" y="162"/>
                  </a:moveTo>
                  <a:lnTo>
                    <a:pt x="57" y="162"/>
                  </a:lnTo>
                  <a:lnTo>
                    <a:pt x="42" y="0"/>
                  </a:lnTo>
                  <a:lnTo>
                    <a:pt x="40" y="1"/>
                  </a:lnTo>
                  <a:lnTo>
                    <a:pt x="55" y="159"/>
                  </a:lnTo>
                  <a:lnTo>
                    <a:pt x="2" y="159"/>
                  </a:lnTo>
                  <a:lnTo>
                    <a:pt x="17" y="1"/>
                  </a:lnTo>
                  <a:lnTo>
                    <a:pt x="15" y="0"/>
                  </a:lnTo>
                  <a:lnTo>
                    <a:pt x="0" y="162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90" name="Freeform 6463"/>
            <p:cNvSpPr>
              <a:spLocks/>
            </p:cNvSpPr>
            <p:nvPr/>
          </p:nvSpPr>
          <p:spPr bwMode="auto">
            <a:xfrm>
              <a:off x="6034088" y="5214939"/>
              <a:ext cx="68263" cy="25400"/>
            </a:xfrm>
            <a:custGeom>
              <a:avLst/>
              <a:gdLst>
                <a:gd name="T0" fmla="*/ 1 w 43"/>
                <a:gd name="T1" fmla="*/ 16 h 16"/>
                <a:gd name="T2" fmla="*/ 43 w 43"/>
                <a:gd name="T3" fmla="*/ 0 h 16"/>
                <a:gd name="T4" fmla="*/ 0 w 43"/>
                <a:gd name="T5" fmla="*/ 0 h 16"/>
                <a:gd name="T6" fmla="*/ 0 w 43"/>
                <a:gd name="T7" fmla="*/ 2 h 16"/>
                <a:gd name="T8" fmla="*/ 30 w 43"/>
                <a:gd name="T9" fmla="*/ 2 h 16"/>
                <a:gd name="T10" fmla="*/ 0 w 43"/>
                <a:gd name="T11" fmla="*/ 13 h 16"/>
                <a:gd name="T12" fmla="*/ 1 w 43"/>
                <a:gd name="T13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16">
                  <a:moveTo>
                    <a:pt x="1" y="16"/>
                  </a:moveTo>
                  <a:lnTo>
                    <a:pt x="43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30" y="2"/>
                  </a:lnTo>
                  <a:lnTo>
                    <a:pt x="0" y="13"/>
                  </a:lnTo>
                  <a:lnTo>
                    <a:pt x="1" y="16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91" name="Freeform 6464"/>
            <p:cNvSpPr>
              <a:spLocks/>
            </p:cNvSpPr>
            <p:nvPr/>
          </p:nvSpPr>
          <p:spPr bwMode="auto">
            <a:xfrm>
              <a:off x="5949950" y="5214939"/>
              <a:ext cx="69850" cy="25400"/>
            </a:xfrm>
            <a:custGeom>
              <a:avLst/>
              <a:gdLst>
                <a:gd name="T0" fmla="*/ 43 w 44"/>
                <a:gd name="T1" fmla="*/ 16 h 16"/>
                <a:gd name="T2" fmla="*/ 44 w 44"/>
                <a:gd name="T3" fmla="*/ 13 h 16"/>
                <a:gd name="T4" fmla="*/ 14 w 44"/>
                <a:gd name="T5" fmla="*/ 2 h 16"/>
                <a:gd name="T6" fmla="*/ 44 w 44"/>
                <a:gd name="T7" fmla="*/ 2 h 16"/>
                <a:gd name="T8" fmla="*/ 44 w 44"/>
                <a:gd name="T9" fmla="*/ 0 h 16"/>
                <a:gd name="T10" fmla="*/ 0 w 44"/>
                <a:gd name="T11" fmla="*/ 0 h 16"/>
                <a:gd name="T12" fmla="*/ 43 w 44"/>
                <a:gd name="T13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" h="16">
                  <a:moveTo>
                    <a:pt x="43" y="16"/>
                  </a:moveTo>
                  <a:lnTo>
                    <a:pt x="44" y="13"/>
                  </a:lnTo>
                  <a:lnTo>
                    <a:pt x="14" y="2"/>
                  </a:lnTo>
                  <a:lnTo>
                    <a:pt x="44" y="2"/>
                  </a:lnTo>
                  <a:lnTo>
                    <a:pt x="44" y="0"/>
                  </a:lnTo>
                  <a:lnTo>
                    <a:pt x="0" y="0"/>
                  </a:lnTo>
                  <a:lnTo>
                    <a:pt x="43" y="16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92" name="Freeform 6465"/>
            <p:cNvSpPr>
              <a:spLocks/>
            </p:cNvSpPr>
            <p:nvPr/>
          </p:nvSpPr>
          <p:spPr bwMode="auto">
            <a:xfrm>
              <a:off x="5873750" y="5303839"/>
              <a:ext cx="139700" cy="31750"/>
            </a:xfrm>
            <a:custGeom>
              <a:avLst/>
              <a:gdLst>
                <a:gd name="T0" fmla="*/ 0 w 88"/>
                <a:gd name="T1" fmla="*/ 20 h 20"/>
                <a:gd name="T2" fmla="*/ 87 w 88"/>
                <a:gd name="T3" fmla="*/ 20 h 20"/>
                <a:gd name="T4" fmla="*/ 87 w 88"/>
                <a:gd name="T5" fmla="*/ 18 h 20"/>
                <a:gd name="T6" fmla="*/ 13 w 88"/>
                <a:gd name="T7" fmla="*/ 18 h 20"/>
                <a:gd name="T8" fmla="*/ 88 w 88"/>
                <a:gd name="T9" fmla="*/ 2 h 20"/>
                <a:gd name="T10" fmla="*/ 88 w 88"/>
                <a:gd name="T11" fmla="*/ 0 h 20"/>
                <a:gd name="T12" fmla="*/ 0 w 88"/>
                <a:gd name="T13" fmla="*/ 18 h 20"/>
                <a:gd name="T14" fmla="*/ 0 w 88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8" h="20">
                  <a:moveTo>
                    <a:pt x="0" y="20"/>
                  </a:moveTo>
                  <a:lnTo>
                    <a:pt x="87" y="20"/>
                  </a:lnTo>
                  <a:lnTo>
                    <a:pt x="87" y="18"/>
                  </a:lnTo>
                  <a:lnTo>
                    <a:pt x="13" y="18"/>
                  </a:lnTo>
                  <a:lnTo>
                    <a:pt x="88" y="2"/>
                  </a:lnTo>
                  <a:lnTo>
                    <a:pt x="88" y="0"/>
                  </a:lnTo>
                  <a:lnTo>
                    <a:pt x="0" y="18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93" name="Freeform 6466"/>
            <p:cNvSpPr>
              <a:spLocks/>
            </p:cNvSpPr>
            <p:nvPr/>
          </p:nvSpPr>
          <p:spPr bwMode="auto">
            <a:xfrm>
              <a:off x="6038850" y="5303839"/>
              <a:ext cx="142875" cy="31750"/>
            </a:xfrm>
            <a:custGeom>
              <a:avLst/>
              <a:gdLst>
                <a:gd name="T0" fmla="*/ 2 w 90"/>
                <a:gd name="T1" fmla="*/ 20 h 20"/>
                <a:gd name="T2" fmla="*/ 88 w 90"/>
                <a:gd name="T3" fmla="*/ 20 h 20"/>
                <a:gd name="T4" fmla="*/ 90 w 90"/>
                <a:gd name="T5" fmla="*/ 18 h 20"/>
                <a:gd name="T6" fmla="*/ 0 w 90"/>
                <a:gd name="T7" fmla="*/ 0 h 20"/>
                <a:gd name="T8" fmla="*/ 0 w 90"/>
                <a:gd name="T9" fmla="*/ 2 h 20"/>
                <a:gd name="T10" fmla="*/ 77 w 90"/>
                <a:gd name="T11" fmla="*/ 18 h 20"/>
                <a:gd name="T12" fmla="*/ 2 w 90"/>
                <a:gd name="T13" fmla="*/ 18 h 20"/>
                <a:gd name="T14" fmla="*/ 2 w 90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0" h="20">
                  <a:moveTo>
                    <a:pt x="2" y="20"/>
                  </a:moveTo>
                  <a:lnTo>
                    <a:pt x="88" y="20"/>
                  </a:lnTo>
                  <a:lnTo>
                    <a:pt x="90" y="18"/>
                  </a:lnTo>
                  <a:lnTo>
                    <a:pt x="0" y="0"/>
                  </a:lnTo>
                  <a:lnTo>
                    <a:pt x="0" y="2"/>
                  </a:lnTo>
                  <a:lnTo>
                    <a:pt x="77" y="18"/>
                  </a:lnTo>
                  <a:lnTo>
                    <a:pt x="2" y="18"/>
                  </a:lnTo>
                  <a:lnTo>
                    <a:pt x="2" y="20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94" name="Freeform 6467"/>
            <p:cNvSpPr>
              <a:spLocks noEditPoints="1"/>
            </p:cNvSpPr>
            <p:nvPr/>
          </p:nvSpPr>
          <p:spPr bwMode="auto">
            <a:xfrm>
              <a:off x="6043613" y="5384801"/>
              <a:ext cx="92075" cy="30163"/>
            </a:xfrm>
            <a:custGeom>
              <a:avLst/>
              <a:gdLst>
                <a:gd name="T0" fmla="*/ 1 w 58"/>
                <a:gd name="T1" fmla="*/ 19 h 19"/>
                <a:gd name="T2" fmla="*/ 58 w 58"/>
                <a:gd name="T3" fmla="*/ 19 h 19"/>
                <a:gd name="T4" fmla="*/ 0 w 58"/>
                <a:gd name="T5" fmla="*/ 0 h 19"/>
                <a:gd name="T6" fmla="*/ 1 w 58"/>
                <a:gd name="T7" fmla="*/ 19 h 19"/>
                <a:gd name="T8" fmla="*/ 42 w 58"/>
                <a:gd name="T9" fmla="*/ 15 h 19"/>
                <a:gd name="T10" fmla="*/ 3 w 58"/>
                <a:gd name="T11" fmla="*/ 15 h 19"/>
                <a:gd name="T12" fmla="*/ 2 w 58"/>
                <a:gd name="T13" fmla="*/ 4 h 19"/>
                <a:gd name="T14" fmla="*/ 42 w 58"/>
                <a:gd name="T15" fmla="*/ 15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8" h="19">
                  <a:moveTo>
                    <a:pt x="1" y="19"/>
                  </a:moveTo>
                  <a:lnTo>
                    <a:pt x="58" y="19"/>
                  </a:lnTo>
                  <a:lnTo>
                    <a:pt x="0" y="0"/>
                  </a:lnTo>
                  <a:lnTo>
                    <a:pt x="1" y="19"/>
                  </a:lnTo>
                  <a:close/>
                  <a:moveTo>
                    <a:pt x="42" y="15"/>
                  </a:moveTo>
                  <a:lnTo>
                    <a:pt x="3" y="15"/>
                  </a:lnTo>
                  <a:lnTo>
                    <a:pt x="2" y="4"/>
                  </a:lnTo>
                  <a:lnTo>
                    <a:pt x="42" y="15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95" name="Freeform 6468"/>
            <p:cNvSpPr>
              <a:spLocks noEditPoints="1"/>
            </p:cNvSpPr>
            <p:nvPr/>
          </p:nvSpPr>
          <p:spPr bwMode="auto">
            <a:xfrm>
              <a:off x="5918200" y="5384801"/>
              <a:ext cx="92075" cy="30163"/>
            </a:xfrm>
            <a:custGeom>
              <a:avLst/>
              <a:gdLst>
                <a:gd name="T0" fmla="*/ 0 w 58"/>
                <a:gd name="T1" fmla="*/ 19 h 19"/>
                <a:gd name="T2" fmla="*/ 57 w 58"/>
                <a:gd name="T3" fmla="*/ 19 h 19"/>
                <a:gd name="T4" fmla="*/ 58 w 58"/>
                <a:gd name="T5" fmla="*/ 0 h 19"/>
                <a:gd name="T6" fmla="*/ 0 w 58"/>
                <a:gd name="T7" fmla="*/ 19 h 19"/>
                <a:gd name="T8" fmla="*/ 55 w 58"/>
                <a:gd name="T9" fmla="*/ 15 h 19"/>
                <a:gd name="T10" fmla="*/ 16 w 58"/>
                <a:gd name="T11" fmla="*/ 15 h 19"/>
                <a:gd name="T12" fmla="*/ 56 w 58"/>
                <a:gd name="T13" fmla="*/ 4 h 19"/>
                <a:gd name="T14" fmla="*/ 55 w 58"/>
                <a:gd name="T15" fmla="*/ 15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8" h="19">
                  <a:moveTo>
                    <a:pt x="0" y="19"/>
                  </a:moveTo>
                  <a:lnTo>
                    <a:pt x="57" y="19"/>
                  </a:lnTo>
                  <a:lnTo>
                    <a:pt x="58" y="0"/>
                  </a:lnTo>
                  <a:lnTo>
                    <a:pt x="0" y="19"/>
                  </a:lnTo>
                  <a:close/>
                  <a:moveTo>
                    <a:pt x="55" y="15"/>
                  </a:moveTo>
                  <a:lnTo>
                    <a:pt x="16" y="15"/>
                  </a:lnTo>
                  <a:lnTo>
                    <a:pt x="56" y="4"/>
                  </a:lnTo>
                  <a:lnTo>
                    <a:pt x="55" y="15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96" name="Freeform 6469"/>
            <p:cNvSpPr>
              <a:spLocks/>
            </p:cNvSpPr>
            <p:nvPr/>
          </p:nvSpPr>
          <p:spPr bwMode="auto">
            <a:xfrm>
              <a:off x="5984875" y="5624514"/>
              <a:ext cx="87313" cy="42863"/>
            </a:xfrm>
            <a:custGeom>
              <a:avLst/>
              <a:gdLst>
                <a:gd name="T0" fmla="*/ 54 w 55"/>
                <a:gd name="T1" fmla="*/ 27 h 27"/>
                <a:gd name="T2" fmla="*/ 55 w 55"/>
                <a:gd name="T3" fmla="*/ 24 h 27"/>
                <a:gd name="T4" fmla="*/ 1 w 55"/>
                <a:gd name="T5" fmla="*/ 0 h 27"/>
                <a:gd name="T6" fmla="*/ 0 w 55"/>
                <a:gd name="T7" fmla="*/ 3 h 27"/>
                <a:gd name="T8" fmla="*/ 54 w 55"/>
                <a:gd name="T9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27">
                  <a:moveTo>
                    <a:pt x="54" y="27"/>
                  </a:moveTo>
                  <a:lnTo>
                    <a:pt x="55" y="24"/>
                  </a:lnTo>
                  <a:lnTo>
                    <a:pt x="1" y="0"/>
                  </a:lnTo>
                  <a:lnTo>
                    <a:pt x="0" y="3"/>
                  </a:lnTo>
                  <a:lnTo>
                    <a:pt x="54" y="27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97" name="Freeform 6470"/>
            <p:cNvSpPr>
              <a:spLocks/>
            </p:cNvSpPr>
            <p:nvPr/>
          </p:nvSpPr>
          <p:spPr bwMode="auto">
            <a:xfrm>
              <a:off x="5981700" y="5624514"/>
              <a:ext cx="87313" cy="42863"/>
            </a:xfrm>
            <a:custGeom>
              <a:avLst/>
              <a:gdLst>
                <a:gd name="T0" fmla="*/ 1 w 55"/>
                <a:gd name="T1" fmla="*/ 27 h 27"/>
                <a:gd name="T2" fmla="*/ 55 w 55"/>
                <a:gd name="T3" fmla="*/ 3 h 27"/>
                <a:gd name="T4" fmla="*/ 54 w 55"/>
                <a:gd name="T5" fmla="*/ 0 h 27"/>
                <a:gd name="T6" fmla="*/ 0 w 55"/>
                <a:gd name="T7" fmla="*/ 24 h 27"/>
                <a:gd name="T8" fmla="*/ 1 w 55"/>
                <a:gd name="T9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27">
                  <a:moveTo>
                    <a:pt x="1" y="27"/>
                  </a:moveTo>
                  <a:lnTo>
                    <a:pt x="55" y="3"/>
                  </a:lnTo>
                  <a:lnTo>
                    <a:pt x="54" y="0"/>
                  </a:lnTo>
                  <a:lnTo>
                    <a:pt x="0" y="24"/>
                  </a:lnTo>
                  <a:lnTo>
                    <a:pt x="1" y="27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98" name="Freeform 6471"/>
            <p:cNvSpPr>
              <a:spLocks/>
            </p:cNvSpPr>
            <p:nvPr/>
          </p:nvSpPr>
          <p:spPr bwMode="auto">
            <a:xfrm>
              <a:off x="5988050" y="5594351"/>
              <a:ext cx="80963" cy="34925"/>
            </a:xfrm>
            <a:custGeom>
              <a:avLst/>
              <a:gdLst>
                <a:gd name="T0" fmla="*/ 50 w 51"/>
                <a:gd name="T1" fmla="*/ 22 h 22"/>
                <a:gd name="T2" fmla="*/ 51 w 51"/>
                <a:gd name="T3" fmla="*/ 19 h 22"/>
                <a:gd name="T4" fmla="*/ 2 w 51"/>
                <a:gd name="T5" fmla="*/ 0 h 22"/>
                <a:gd name="T6" fmla="*/ 0 w 51"/>
                <a:gd name="T7" fmla="*/ 2 h 22"/>
                <a:gd name="T8" fmla="*/ 50 w 51"/>
                <a:gd name="T9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22">
                  <a:moveTo>
                    <a:pt x="50" y="22"/>
                  </a:moveTo>
                  <a:lnTo>
                    <a:pt x="51" y="19"/>
                  </a:lnTo>
                  <a:lnTo>
                    <a:pt x="2" y="0"/>
                  </a:lnTo>
                  <a:lnTo>
                    <a:pt x="0" y="2"/>
                  </a:lnTo>
                  <a:lnTo>
                    <a:pt x="50" y="22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99" name="Freeform 6472"/>
            <p:cNvSpPr>
              <a:spLocks/>
            </p:cNvSpPr>
            <p:nvPr/>
          </p:nvSpPr>
          <p:spPr bwMode="auto">
            <a:xfrm>
              <a:off x="5984875" y="5594351"/>
              <a:ext cx="79375" cy="34925"/>
            </a:xfrm>
            <a:custGeom>
              <a:avLst/>
              <a:gdLst>
                <a:gd name="T0" fmla="*/ 1 w 50"/>
                <a:gd name="T1" fmla="*/ 22 h 22"/>
                <a:gd name="T2" fmla="*/ 50 w 50"/>
                <a:gd name="T3" fmla="*/ 2 h 22"/>
                <a:gd name="T4" fmla="*/ 49 w 50"/>
                <a:gd name="T5" fmla="*/ 0 h 22"/>
                <a:gd name="T6" fmla="*/ 0 w 50"/>
                <a:gd name="T7" fmla="*/ 19 h 22"/>
                <a:gd name="T8" fmla="*/ 1 w 50"/>
                <a:gd name="T9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2">
                  <a:moveTo>
                    <a:pt x="1" y="22"/>
                  </a:moveTo>
                  <a:lnTo>
                    <a:pt x="50" y="2"/>
                  </a:lnTo>
                  <a:lnTo>
                    <a:pt x="49" y="0"/>
                  </a:lnTo>
                  <a:lnTo>
                    <a:pt x="0" y="19"/>
                  </a:lnTo>
                  <a:lnTo>
                    <a:pt x="1" y="22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00" name="Freeform 6473"/>
            <p:cNvSpPr>
              <a:spLocks/>
            </p:cNvSpPr>
            <p:nvPr/>
          </p:nvSpPr>
          <p:spPr bwMode="auto">
            <a:xfrm>
              <a:off x="5991225" y="5565776"/>
              <a:ext cx="73025" cy="31750"/>
            </a:xfrm>
            <a:custGeom>
              <a:avLst/>
              <a:gdLst>
                <a:gd name="T0" fmla="*/ 45 w 46"/>
                <a:gd name="T1" fmla="*/ 20 h 20"/>
                <a:gd name="T2" fmla="*/ 46 w 46"/>
                <a:gd name="T3" fmla="*/ 18 h 20"/>
                <a:gd name="T4" fmla="*/ 1 w 46"/>
                <a:gd name="T5" fmla="*/ 0 h 20"/>
                <a:gd name="T6" fmla="*/ 0 w 46"/>
                <a:gd name="T7" fmla="*/ 2 h 20"/>
                <a:gd name="T8" fmla="*/ 45 w 46"/>
                <a:gd name="T9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20">
                  <a:moveTo>
                    <a:pt x="45" y="20"/>
                  </a:moveTo>
                  <a:lnTo>
                    <a:pt x="46" y="18"/>
                  </a:lnTo>
                  <a:lnTo>
                    <a:pt x="1" y="0"/>
                  </a:lnTo>
                  <a:lnTo>
                    <a:pt x="0" y="2"/>
                  </a:lnTo>
                  <a:lnTo>
                    <a:pt x="45" y="20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01" name="Freeform 6474"/>
            <p:cNvSpPr>
              <a:spLocks/>
            </p:cNvSpPr>
            <p:nvPr/>
          </p:nvSpPr>
          <p:spPr bwMode="auto">
            <a:xfrm>
              <a:off x="5988050" y="5565776"/>
              <a:ext cx="74613" cy="31750"/>
            </a:xfrm>
            <a:custGeom>
              <a:avLst/>
              <a:gdLst>
                <a:gd name="T0" fmla="*/ 2 w 47"/>
                <a:gd name="T1" fmla="*/ 20 h 20"/>
                <a:gd name="T2" fmla="*/ 47 w 47"/>
                <a:gd name="T3" fmla="*/ 2 h 20"/>
                <a:gd name="T4" fmla="*/ 46 w 47"/>
                <a:gd name="T5" fmla="*/ 0 h 20"/>
                <a:gd name="T6" fmla="*/ 0 w 47"/>
                <a:gd name="T7" fmla="*/ 18 h 20"/>
                <a:gd name="T8" fmla="*/ 2 w 47"/>
                <a:gd name="T9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20">
                  <a:moveTo>
                    <a:pt x="2" y="20"/>
                  </a:moveTo>
                  <a:lnTo>
                    <a:pt x="47" y="2"/>
                  </a:lnTo>
                  <a:lnTo>
                    <a:pt x="46" y="0"/>
                  </a:lnTo>
                  <a:lnTo>
                    <a:pt x="0" y="18"/>
                  </a:lnTo>
                  <a:lnTo>
                    <a:pt x="2" y="20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02" name="Freeform 6475"/>
            <p:cNvSpPr>
              <a:spLocks/>
            </p:cNvSpPr>
            <p:nvPr/>
          </p:nvSpPr>
          <p:spPr bwMode="auto">
            <a:xfrm>
              <a:off x="5994400" y="5535614"/>
              <a:ext cx="68263" cy="33338"/>
            </a:xfrm>
            <a:custGeom>
              <a:avLst/>
              <a:gdLst>
                <a:gd name="T0" fmla="*/ 42 w 43"/>
                <a:gd name="T1" fmla="*/ 21 h 21"/>
                <a:gd name="T2" fmla="*/ 43 w 43"/>
                <a:gd name="T3" fmla="*/ 19 h 21"/>
                <a:gd name="T4" fmla="*/ 1 w 43"/>
                <a:gd name="T5" fmla="*/ 0 h 21"/>
                <a:gd name="T6" fmla="*/ 0 w 43"/>
                <a:gd name="T7" fmla="*/ 3 h 21"/>
                <a:gd name="T8" fmla="*/ 42 w 43"/>
                <a:gd name="T9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21">
                  <a:moveTo>
                    <a:pt x="42" y="21"/>
                  </a:moveTo>
                  <a:lnTo>
                    <a:pt x="43" y="19"/>
                  </a:lnTo>
                  <a:lnTo>
                    <a:pt x="1" y="0"/>
                  </a:lnTo>
                  <a:lnTo>
                    <a:pt x="0" y="3"/>
                  </a:lnTo>
                  <a:lnTo>
                    <a:pt x="42" y="21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03" name="Freeform 6476"/>
            <p:cNvSpPr>
              <a:spLocks/>
            </p:cNvSpPr>
            <p:nvPr/>
          </p:nvSpPr>
          <p:spPr bwMode="auto">
            <a:xfrm>
              <a:off x="5992813" y="5540376"/>
              <a:ext cx="66675" cy="28575"/>
            </a:xfrm>
            <a:custGeom>
              <a:avLst/>
              <a:gdLst>
                <a:gd name="T0" fmla="*/ 0 w 42"/>
                <a:gd name="T1" fmla="*/ 18 h 18"/>
                <a:gd name="T2" fmla="*/ 42 w 42"/>
                <a:gd name="T3" fmla="*/ 2 h 18"/>
                <a:gd name="T4" fmla="*/ 41 w 42"/>
                <a:gd name="T5" fmla="*/ 0 h 18"/>
                <a:gd name="T6" fmla="*/ 0 w 42"/>
                <a:gd name="T7" fmla="*/ 16 h 18"/>
                <a:gd name="T8" fmla="*/ 0 w 42"/>
                <a:gd name="T9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18">
                  <a:moveTo>
                    <a:pt x="0" y="18"/>
                  </a:moveTo>
                  <a:lnTo>
                    <a:pt x="42" y="2"/>
                  </a:lnTo>
                  <a:lnTo>
                    <a:pt x="41" y="0"/>
                  </a:lnTo>
                  <a:lnTo>
                    <a:pt x="0" y="16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04" name="Freeform 6477"/>
            <p:cNvSpPr>
              <a:spLocks/>
            </p:cNvSpPr>
            <p:nvPr/>
          </p:nvSpPr>
          <p:spPr bwMode="auto">
            <a:xfrm>
              <a:off x="5995988" y="5510214"/>
              <a:ext cx="63500" cy="33338"/>
            </a:xfrm>
            <a:custGeom>
              <a:avLst/>
              <a:gdLst>
                <a:gd name="T0" fmla="*/ 39 w 40"/>
                <a:gd name="T1" fmla="*/ 21 h 21"/>
                <a:gd name="T2" fmla="*/ 40 w 40"/>
                <a:gd name="T3" fmla="*/ 19 h 21"/>
                <a:gd name="T4" fmla="*/ 1 w 40"/>
                <a:gd name="T5" fmla="*/ 0 h 21"/>
                <a:gd name="T6" fmla="*/ 0 w 40"/>
                <a:gd name="T7" fmla="*/ 3 h 21"/>
                <a:gd name="T8" fmla="*/ 39 w 40"/>
                <a:gd name="T9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1">
                  <a:moveTo>
                    <a:pt x="39" y="21"/>
                  </a:moveTo>
                  <a:lnTo>
                    <a:pt x="40" y="19"/>
                  </a:lnTo>
                  <a:lnTo>
                    <a:pt x="1" y="0"/>
                  </a:lnTo>
                  <a:lnTo>
                    <a:pt x="0" y="3"/>
                  </a:lnTo>
                  <a:lnTo>
                    <a:pt x="39" y="21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05" name="Freeform 6478"/>
            <p:cNvSpPr>
              <a:spLocks/>
            </p:cNvSpPr>
            <p:nvPr/>
          </p:nvSpPr>
          <p:spPr bwMode="auto">
            <a:xfrm>
              <a:off x="5994400" y="5510214"/>
              <a:ext cx="63500" cy="30163"/>
            </a:xfrm>
            <a:custGeom>
              <a:avLst/>
              <a:gdLst>
                <a:gd name="T0" fmla="*/ 1 w 40"/>
                <a:gd name="T1" fmla="*/ 19 h 19"/>
                <a:gd name="T2" fmla="*/ 40 w 40"/>
                <a:gd name="T3" fmla="*/ 3 h 19"/>
                <a:gd name="T4" fmla="*/ 39 w 40"/>
                <a:gd name="T5" fmla="*/ 0 h 19"/>
                <a:gd name="T6" fmla="*/ 0 w 40"/>
                <a:gd name="T7" fmla="*/ 16 h 19"/>
                <a:gd name="T8" fmla="*/ 1 w 40"/>
                <a:gd name="T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19">
                  <a:moveTo>
                    <a:pt x="1" y="19"/>
                  </a:moveTo>
                  <a:lnTo>
                    <a:pt x="40" y="3"/>
                  </a:lnTo>
                  <a:lnTo>
                    <a:pt x="39" y="0"/>
                  </a:lnTo>
                  <a:lnTo>
                    <a:pt x="0" y="16"/>
                  </a:lnTo>
                  <a:lnTo>
                    <a:pt x="1" y="19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06" name="Freeform 6479"/>
            <p:cNvSpPr>
              <a:spLocks/>
            </p:cNvSpPr>
            <p:nvPr/>
          </p:nvSpPr>
          <p:spPr bwMode="auto">
            <a:xfrm>
              <a:off x="5999163" y="5486401"/>
              <a:ext cx="58738" cy="28575"/>
            </a:xfrm>
            <a:custGeom>
              <a:avLst/>
              <a:gdLst>
                <a:gd name="T0" fmla="*/ 36 w 37"/>
                <a:gd name="T1" fmla="*/ 18 h 18"/>
                <a:gd name="T2" fmla="*/ 37 w 37"/>
                <a:gd name="T3" fmla="*/ 15 h 18"/>
                <a:gd name="T4" fmla="*/ 0 w 37"/>
                <a:gd name="T5" fmla="*/ 0 h 18"/>
                <a:gd name="T6" fmla="*/ 0 w 37"/>
                <a:gd name="T7" fmla="*/ 3 h 18"/>
                <a:gd name="T8" fmla="*/ 36 w 37"/>
                <a:gd name="T9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18">
                  <a:moveTo>
                    <a:pt x="36" y="18"/>
                  </a:moveTo>
                  <a:lnTo>
                    <a:pt x="37" y="15"/>
                  </a:lnTo>
                  <a:lnTo>
                    <a:pt x="0" y="0"/>
                  </a:lnTo>
                  <a:lnTo>
                    <a:pt x="0" y="3"/>
                  </a:lnTo>
                  <a:lnTo>
                    <a:pt x="36" y="18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07" name="Freeform 6480"/>
            <p:cNvSpPr>
              <a:spLocks/>
            </p:cNvSpPr>
            <p:nvPr/>
          </p:nvSpPr>
          <p:spPr bwMode="auto">
            <a:xfrm>
              <a:off x="5995988" y="5486401"/>
              <a:ext cx="60325" cy="28575"/>
            </a:xfrm>
            <a:custGeom>
              <a:avLst/>
              <a:gdLst>
                <a:gd name="T0" fmla="*/ 1 w 38"/>
                <a:gd name="T1" fmla="*/ 18 h 18"/>
                <a:gd name="T2" fmla="*/ 38 w 38"/>
                <a:gd name="T3" fmla="*/ 3 h 18"/>
                <a:gd name="T4" fmla="*/ 37 w 38"/>
                <a:gd name="T5" fmla="*/ 0 h 18"/>
                <a:gd name="T6" fmla="*/ 0 w 38"/>
                <a:gd name="T7" fmla="*/ 15 h 18"/>
                <a:gd name="T8" fmla="*/ 1 w 38"/>
                <a:gd name="T9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18">
                  <a:moveTo>
                    <a:pt x="1" y="18"/>
                  </a:moveTo>
                  <a:lnTo>
                    <a:pt x="38" y="3"/>
                  </a:lnTo>
                  <a:lnTo>
                    <a:pt x="37" y="0"/>
                  </a:lnTo>
                  <a:lnTo>
                    <a:pt x="0" y="15"/>
                  </a:lnTo>
                  <a:lnTo>
                    <a:pt x="1" y="18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08" name="Freeform 6481"/>
            <p:cNvSpPr>
              <a:spLocks/>
            </p:cNvSpPr>
            <p:nvPr/>
          </p:nvSpPr>
          <p:spPr bwMode="auto">
            <a:xfrm>
              <a:off x="6000750" y="5462589"/>
              <a:ext cx="55563" cy="28575"/>
            </a:xfrm>
            <a:custGeom>
              <a:avLst/>
              <a:gdLst>
                <a:gd name="T0" fmla="*/ 34 w 35"/>
                <a:gd name="T1" fmla="*/ 18 h 18"/>
                <a:gd name="T2" fmla="*/ 35 w 35"/>
                <a:gd name="T3" fmla="*/ 15 h 18"/>
                <a:gd name="T4" fmla="*/ 2 w 35"/>
                <a:gd name="T5" fmla="*/ 0 h 18"/>
                <a:gd name="T6" fmla="*/ 0 w 35"/>
                <a:gd name="T7" fmla="*/ 3 h 18"/>
                <a:gd name="T8" fmla="*/ 34 w 35"/>
                <a:gd name="T9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8">
                  <a:moveTo>
                    <a:pt x="34" y="18"/>
                  </a:moveTo>
                  <a:lnTo>
                    <a:pt x="35" y="15"/>
                  </a:lnTo>
                  <a:lnTo>
                    <a:pt x="2" y="0"/>
                  </a:lnTo>
                  <a:lnTo>
                    <a:pt x="0" y="3"/>
                  </a:lnTo>
                  <a:lnTo>
                    <a:pt x="34" y="18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09" name="Freeform 6482"/>
            <p:cNvSpPr>
              <a:spLocks/>
            </p:cNvSpPr>
            <p:nvPr/>
          </p:nvSpPr>
          <p:spPr bwMode="auto">
            <a:xfrm>
              <a:off x="5999163" y="5462589"/>
              <a:ext cx="52388" cy="28575"/>
            </a:xfrm>
            <a:custGeom>
              <a:avLst/>
              <a:gdLst>
                <a:gd name="T0" fmla="*/ 0 w 33"/>
                <a:gd name="T1" fmla="*/ 18 h 18"/>
                <a:gd name="T2" fmla="*/ 33 w 33"/>
                <a:gd name="T3" fmla="*/ 3 h 18"/>
                <a:gd name="T4" fmla="*/ 32 w 33"/>
                <a:gd name="T5" fmla="*/ 0 h 18"/>
                <a:gd name="T6" fmla="*/ 0 w 33"/>
                <a:gd name="T7" fmla="*/ 15 h 18"/>
                <a:gd name="T8" fmla="*/ 0 w 33"/>
                <a:gd name="T9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8">
                  <a:moveTo>
                    <a:pt x="0" y="18"/>
                  </a:moveTo>
                  <a:lnTo>
                    <a:pt x="33" y="3"/>
                  </a:lnTo>
                  <a:lnTo>
                    <a:pt x="32" y="0"/>
                  </a:lnTo>
                  <a:lnTo>
                    <a:pt x="0" y="15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10" name="Freeform 6483"/>
            <p:cNvSpPr>
              <a:spLocks/>
            </p:cNvSpPr>
            <p:nvPr/>
          </p:nvSpPr>
          <p:spPr bwMode="auto">
            <a:xfrm>
              <a:off x="6003925" y="5440364"/>
              <a:ext cx="47625" cy="26988"/>
            </a:xfrm>
            <a:custGeom>
              <a:avLst/>
              <a:gdLst>
                <a:gd name="T0" fmla="*/ 29 w 30"/>
                <a:gd name="T1" fmla="*/ 17 h 17"/>
                <a:gd name="T2" fmla="*/ 30 w 30"/>
                <a:gd name="T3" fmla="*/ 14 h 17"/>
                <a:gd name="T4" fmla="*/ 1 w 30"/>
                <a:gd name="T5" fmla="*/ 0 h 17"/>
                <a:gd name="T6" fmla="*/ 0 w 30"/>
                <a:gd name="T7" fmla="*/ 1 h 17"/>
                <a:gd name="T8" fmla="*/ 29 w 30"/>
                <a:gd name="T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7">
                  <a:moveTo>
                    <a:pt x="29" y="17"/>
                  </a:moveTo>
                  <a:lnTo>
                    <a:pt x="30" y="14"/>
                  </a:lnTo>
                  <a:lnTo>
                    <a:pt x="1" y="0"/>
                  </a:lnTo>
                  <a:lnTo>
                    <a:pt x="0" y="1"/>
                  </a:lnTo>
                  <a:lnTo>
                    <a:pt x="29" y="17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11" name="Freeform 6484"/>
            <p:cNvSpPr>
              <a:spLocks/>
            </p:cNvSpPr>
            <p:nvPr/>
          </p:nvSpPr>
          <p:spPr bwMode="auto">
            <a:xfrm>
              <a:off x="6000750" y="5440364"/>
              <a:ext cx="49213" cy="26988"/>
            </a:xfrm>
            <a:custGeom>
              <a:avLst/>
              <a:gdLst>
                <a:gd name="T0" fmla="*/ 2 w 31"/>
                <a:gd name="T1" fmla="*/ 17 h 17"/>
                <a:gd name="T2" fmla="*/ 31 w 31"/>
                <a:gd name="T3" fmla="*/ 1 h 17"/>
                <a:gd name="T4" fmla="*/ 30 w 31"/>
                <a:gd name="T5" fmla="*/ 0 h 17"/>
                <a:gd name="T6" fmla="*/ 0 w 31"/>
                <a:gd name="T7" fmla="*/ 14 h 17"/>
                <a:gd name="T8" fmla="*/ 2 w 31"/>
                <a:gd name="T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2" y="17"/>
                  </a:moveTo>
                  <a:lnTo>
                    <a:pt x="31" y="1"/>
                  </a:lnTo>
                  <a:lnTo>
                    <a:pt x="30" y="0"/>
                  </a:lnTo>
                  <a:lnTo>
                    <a:pt x="0" y="14"/>
                  </a:lnTo>
                  <a:lnTo>
                    <a:pt x="2" y="17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12" name="Freeform 6485"/>
            <p:cNvSpPr>
              <a:spLocks/>
            </p:cNvSpPr>
            <p:nvPr/>
          </p:nvSpPr>
          <p:spPr bwMode="auto">
            <a:xfrm>
              <a:off x="6005513" y="5414964"/>
              <a:ext cx="44450" cy="26988"/>
            </a:xfrm>
            <a:custGeom>
              <a:avLst/>
              <a:gdLst>
                <a:gd name="T0" fmla="*/ 27 w 28"/>
                <a:gd name="T1" fmla="*/ 17 h 17"/>
                <a:gd name="T2" fmla="*/ 28 w 28"/>
                <a:gd name="T3" fmla="*/ 16 h 17"/>
                <a:gd name="T4" fmla="*/ 1 w 28"/>
                <a:gd name="T5" fmla="*/ 0 h 17"/>
                <a:gd name="T6" fmla="*/ 0 w 28"/>
                <a:gd name="T7" fmla="*/ 2 h 17"/>
                <a:gd name="T8" fmla="*/ 27 w 28"/>
                <a:gd name="T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7">
                  <a:moveTo>
                    <a:pt x="27" y="17"/>
                  </a:moveTo>
                  <a:lnTo>
                    <a:pt x="28" y="16"/>
                  </a:lnTo>
                  <a:lnTo>
                    <a:pt x="1" y="0"/>
                  </a:lnTo>
                  <a:lnTo>
                    <a:pt x="0" y="2"/>
                  </a:lnTo>
                  <a:lnTo>
                    <a:pt x="27" y="17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13" name="Freeform 6486"/>
            <p:cNvSpPr>
              <a:spLocks/>
            </p:cNvSpPr>
            <p:nvPr/>
          </p:nvSpPr>
          <p:spPr bwMode="auto">
            <a:xfrm>
              <a:off x="6003925" y="5414964"/>
              <a:ext cx="44450" cy="26988"/>
            </a:xfrm>
            <a:custGeom>
              <a:avLst/>
              <a:gdLst>
                <a:gd name="T0" fmla="*/ 1 w 28"/>
                <a:gd name="T1" fmla="*/ 17 h 17"/>
                <a:gd name="T2" fmla="*/ 28 w 28"/>
                <a:gd name="T3" fmla="*/ 2 h 17"/>
                <a:gd name="T4" fmla="*/ 27 w 28"/>
                <a:gd name="T5" fmla="*/ 0 h 17"/>
                <a:gd name="T6" fmla="*/ 0 w 28"/>
                <a:gd name="T7" fmla="*/ 16 h 17"/>
                <a:gd name="T8" fmla="*/ 1 w 28"/>
                <a:gd name="T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7">
                  <a:moveTo>
                    <a:pt x="1" y="17"/>
                  </a:moveTo>
                  <a:lnTo>
                    <a:pt x="28" y="2"/>
                  </a:lnTo>
                  <a:lnTo>
                    <a:pt x="27" y="0"/>
                  </a:lnTo>
                  <a:lnTo>
                    <a:pt x="0" y="16"/>
                  </a:lnTo>
                  <a:lnTo>
                    <a:pt x="1" y="17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14" name="Freeform 6487"/>
            <p:cNvSpPr>
              <a:spLocks/>
            </p:cNvSpPr>
            <p:nvPr/>
          </p:nvSpPr>
          <p:spPr bwMode="auto">
            <a:xfrm>
              <a:off x="6007100" y="5391151"/>
              <a:ext cx="41275" cy="26988"/>
            </a:xfrm>
            <a:custGeom>
              <a:avLst/>
              <a:gdLst>
                <a:gd name="T0" fmla="*/ 25 w 26"/>
                <a:gd name="T1" fmla="*/ 17 h 17"/>
                <a:gd name="T2" fmla="*/ 26 w 26"/>
                <a:gd name="T3" fmla="*/ 15 h 17"/>
                <a:gd name="T4" fmla="*/ 1 w 26"/>
                <a:gd name="T5" fmla="*/ 0 h 17"/>
                <a:gd name="T6" fmla="*/ 0 w 26"/>
                <a:gd name="T7" fmla="*/ 2 h 17"/>
                <a:gd name="T8" fmla="*/ 25 w 26"/>
                <a:gd name="T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17">
                  <a:moveTo>
                    <a:pt x="25" y="17"/>
                  </a:moveTo>
                  <a:lnTo>
                    <a:pt x="26" y="15"/>
                  </a:lnTo>
                  <a:lnTo>
                    <a:pt x="1" y="0"/>
                  </a:lnTo>
                  <a:lnTo>
                    <a:pt x="0" y="2"/>
                  </a:lnTo>
                  <a:lnTo>
                    <a:pt x="25" y="17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15" name="Freeform 6488"/>
            <p:cNvSpPr>
              <a:spLocks/>
            </p:cNvSpPr>
            <p:nvPr/>
          </p:nvSpPr>
          <p:spPr bwMode="auto">
            <a:xfrm>
              <a:off x="6005513" y="5391151"/>
              <a:ext cx="41275" cy="26988"/>
            </a:xfrm>
            <a:custGeom>
              <a:avLst/>
              <a:gdLst>
                <a:gd name="T0" fmla="*/ 1 w 26"/>
                <a:gd name="T1" fmla="*/ 17 h 17"/>
                <a:gd name="T2" fmla="*/ 26 w 26"/>
                <a:gd name="T3" fmla="*/ 2 h 17"/>
                <a:gd name="T4" fmla="*/ 25 w 26"/>
                <a:gd name="T5" fmla="*/ 0 h 17"/>
                <a:gd name="T6" fmla="*/ 0 w 26"/>
                <a:gd name="T7" fmla="*/ 15 h 17"/>
                <a:gd name="T8" fmla="*/ 1 w 26"/>
                <a:gd name="T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17">
                  <a:moveTo>
                    <a:pt x="1" y="17"/>
                  </a:moveTo>
                  <a:lnTo>
                    <a:pt x="26" y="2"/>
                  </a:lnTo>
                  <a:lnTo>
                    <a:pt x="25" y="0"/>
                  </a:lnTo>
                  <a:lnTo>
                    <a:pt x="0" y="15"/>
                  </a:lnTo>
                  <a:lnTo>
                    <a:pt x="1" y="17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16" name="Freeform 6489"/>
            <p:cNvSpPr>
              <a:spLocks/>
            </p:cNvSpPr>
            <p:nvPr/>
          </p:nvSpPr>
          <p:spPr bwMode="auto">
            <a:xfrm>
              <a:off x="6008688" y="5367339"/>
              <a:ext cx="38100" cy="26988"/>
            </a:xfrm>
            <a:custGeom>
              <a:avLst/>
              <a:gdLst>
                <a:gd name="T0" fmla="*/ 23 w 24"/>
                <a:gd name="T1" fmla="*/ 17 h 17"/>
                <a:gd name="T2" fmla="*/ 24 w 24"/>
                <a:gd name="T3" fmla="*/ 15 h 17"/>
                <a:gd name="T4" fmla="*/ 1 w 24"/>
                <a:gd name="T5" fmla="*/ 0 h 17"/>
                <a:gd name="T6" fmla="*/ 0 w 24"/>
                <a:gd name="T7" fmla="*/ 2 h 17"/>
                <a:gd name="T8" fmla="*/ 23 w 24"/>
                <a:gd name="T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17">
                  <a:moveTo>
                    <a:pt x="23" y="17"/>
                  </a:moveTo>
                  <a:lnTo>
                    <a:pt x="24" y="15"/>
                  </a:lnTo>
                  <a:lnTo>
                    <a:pt x="1" y="0"/>
                  </a:lnTo>
                  <a:lnTo>
                    <a:pt x="0" y="2"/>
                  </a:lnTo>
                  <a:lnTo>
                    <a:pt x="23" y="17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17" name="Freeform 6490"/>
            <p:cNvSpPr>
              <a:spLocks/>
            </p:cNvSpPr>
            <p:nvPr/>
          </p:nvSpPr>
          <p:spPr bwMode="auto">
            <a:xfrm>
              <a:off x="6007100" y="5367339"/>
              <a:ext cx="38100" cy="26988"/>
            </a:xfrm>
            <a:custGeom>
              <a:avLst/>
              <a:gdLst>
                <a:gd name="T0" fmla="*/ 2 w 24"/>
                <a:gd name="T1" fmla="*/ 17 h 17"/>
                <a:gd name="T2" fmla="*/ 24 w 24"/>
                <a:gd name="T3" fmla="*/ 2 h 17"/>
                <a:gd name="T4" fmla="*/ 23 w 24"/>
                <a:gd name="T5" fmla="*/ 0 h 17"/>
                <a:gd name="T6" fmla="*/ 0 w 24"/>
                <a:gd name="T7" fmla="*/ 15 h 17"/>
                <a:gd name="T8" fmla="*/ 2 w 24"/>
                <a:gd name="T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17">
                  <a:moveTo>
                    <a:pt x="2" y="17"/>
                  </a:moveTo>
                  <a:lnTo>
                    <a:pt x="24" y="2"/>
                  </a:lnTo>
                  <a:lnTo>
                    <a:pt x="23" y="0"/>
                  </a:lnTo>
                  <a:lnTo>
                    <a:pt x="0" y="15"/>
                  </a:lnTo>
                  <a:lnTo>
                    <a:pt x="2" y="17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18" name="Freeform 6491"/>
            <p:cNvSpPr>
              <a:spLocks/>
            </p:cNvSpPr>
            <p:nvPr/>
          </p:nvSpPr>
          <p:spPr bwMode="auto">
            <a:xfrm>
              <a:off x="6010275" y="5345114"/>
              <a:ext cx="34925" cy="25400"/>
            </a:xfrm>
            <a:custGeom>
              <a:avLst/>
              <a:gdLst>
                <a:gd name="T0" fmla="*/ 21 w 22"/>
                <a:gd name="T1" fmla="*/ 16 h 16"/>
                <a:gd name="T2" fmla="*/ 22 w 22"/>
                <a:gd name="T3" fmla="*/ 14 h 16"/>
                <a:gd name="T4" fmla="*/ 1 w 22"/>
                <a:gd name="T5" fmla="*/ 0 h 16"/>
                <a:gd name="T6" fmla="*/ 0 w 22"/>
                <a:gd name="T7" fmla="*/ 2 h 16"/>
                <a:gd name="T8" fmla="*/ 21 w 22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16">
                  <a:moveTo>
                    <a:pt x="21" y="16"/>
                  </a:moveTo>
                  <a:lnTo>
                    <a:pt x="22" y="14"/>
                  </a:lnTo>
                  <a:lnTo>
                    <a:pt x="1" y="0"/>
                  </a:lnTo>
                  <a:lnTo>
                    <a:pt x="0" y="2"/>
                  </a:lnTo>
                  <a:lnTo>
                    <a:pt x="21" y="16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19" name="Freeform 6492"/>
            <p:cNvSpPr>
              <a:spLocks/>
            </p:cNvSpPr>
            <p:nvPr/>
          </p:nvSpPr>
          <p:spPr bwMode="auto">
            <a:xfrm>
              <a:off x="6008688" y="5345114"/>
              <a:ext cx="34925" cy="25400"/>
            </a:xfrm>
            <a:custGeom>
              <a:avLst/>
              <a:gdLst>
                <a:gd name="T0" fmla="*/ 1 w 22"/>
                <a:gd name="T1" fmla="*/ 16 h 16"/>
                <a:gd name="T2" fmla="*/ 22 w 22"/>
                <a:gd name="T3" fmla="*/ 2 h 16"/>
                <a:gd name="T4" fmla="*/ 21 w 22"/>
                <a:gd name="T5" fmla="*/ 0 h 16"/>
                <a:gd name="T6" fmla="*/ 0 w 22"/>
                <a:gd name="T7" fmla="*/ 14 h 16"/>
                <a:gd name="T8" fmla="*/ 1 w 22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16">
                  <a:moveTo>
                    <a:pt x="1" y="16"/>
                  </a:moveTo>
                  <a:lnTo>
                    <a:pt x="22" y="2"/>
                  </a:lnTo>
                  <a:lnTo>
                    <a:pt x="21" y="0"/>
                  </a:lnTo>
                  <a:lnTo>
                    <a:pt x="0" y="14"/>
                  </a:lnTo>
                  <a:lnTo>
                    <a:pt x="1" y="16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20" name="Freeform 6493"/>
            <p:cNvSpPr>
              <a:spLocks/>
            </p:cNvSpPr>
            <p:nvPr/>
          </p:nvSpPr>
          <p:spPr bwMode="auto">
            <a:xfrm>
              <a:off x="6011863" y="5322889"/>
              <a:ext cx="31750" cy="25400"/>
            </a:xfrm>
            <a:custGeom>
              <a:avLst/>
              <a:gdLst>
                <a:gd name="T0" fmla="*/ 19 w 20"/>
                <a:gd name="T1" fmla="*/ 16 h 16"/>
                <a:gd name="T2" fmla="*/ 20 w 20"/>
                <a:gd name="T3" fmla="*/ 14 h 16"/>
                <a:gd name="T4" fmla="*/ 1 w 20"/>
                <a:gd name="T5" fmla="*/ 0 h 16"/>
                <a:gd name="T6" fmla="*/ 0 w 20"/>
                <a:gd name="T7" fmla="*/ 1 h 16"/>
                <a:gd name="T8" fmla="*/ 19 w 20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16">
                  <a:moveTo>
                    <a:pt x="19" y="16"/>
                  </a:moveTo>
                  <a:lnTo>
                    <a:pt x="20" y="14"/>
                  </a:lnTo>
                  <a:lnTo>
                    <a:pt x="1" y="0"/>
                  </a:lnTo>
                  <a:lnTo>
                    <a:pt x="0" y="1"/>
                  </a:lnTo>
                  <a:lnTo>
                    <a:pt x="19" y="16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21" name="Freeform 6494"/>
            <p:cNvSpPr>
              <a:spLocks/>
            </p:cNvSpPr>
            <p:nvPr/>
          </p:nvSpPr>
          <p:spPr bwMode="auto">
            <a:xfrm>
              <a:off x="6010275" y="5322889"/>
              <a:ext cx="31750" cy="25400"/>
            </a:xfrm>
            <a:custGeom>
              <a:avLst/>
              <a:gdLst>
                <a:gd name="T0" fmla="*/ 1 w 20"/>
                <a:gd name="T1" fmla="*/ 16 h 16"/>
                <a:gd name="T2" fmla="*/ 20 w 20"/>
                <a:gd name="T3" fmla="*/ 1 h 16"/>
                <a:gd name="T4" fmla="*/ 18 w 20"/>
                <a:gd name="T5" fmla="*/ 0 h 16"/>
                <a:gd name="T6" fmla="*/ 0 w 20"/>
                <a:gd name="T7" fmla="*/ 14 h 16"/>
                <a:gd name="T8" fmla="*/ 1 w 20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16">
                  <a:moveTo>
                    <a:pt x="1" y="16"/>
                  </a:moveTo>
                  <a:lnTo>
                    <a:pt x="20" y="1"/>
                  </a:lnTo>
                  <a:lnTo>
                    <a:pt x="18" y="0"/>
                  </a:lnTo>
                  <a:lnTo>
                    <a:pt x="0" y="14"/>
                  </a:lnTo>
                  <a:lnTo>
                    <a:pt x="1" y="16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22" name="Freeform 6495"/>
            <p:cNvSpPr>
              <a:spLocks/>
            </p:cNvSpPr>
            <p:nvPr/>
          </p:nvSpPr>
          <p:spPr bwMode="auto">
            <a:xfrm>
              <a:off x="6011863" y="5302251"/>
              <a:ext cx="30163" cy="22225"/>
            </a:xfrm>
            <a:custGeom>
              <a:avLst/>
              <a:gdLst>
                <a:gd name="T0" fmla="*/ 17 w 19"/>
                <a:gd name="T1" fmla="*/ 14 h 14"/>
                <a:gd name="T2" fmla="*/ 19 w 19"/>
                <a:gd name="T3" fmla="*/ 13 h 14"/>
                <a:gd name="T4" fmla="*/ 3 w 19"/>
                <a:gd name="T5" fmla="*/ 0 h 14"/>
                <a:gd name="T6" fmla="*/ 0 w 19"/>
                <a:gd name="T7" fmla="*/ 2 h 14"/>
                <a:gd name="T8" fmla="*/ 17 w 19"/>
                <a:gd name="T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4">
                  <a:moveTo>
                    <a:pt x="17" y="14"/>
                  </a:moveTo>
                  <a:lnTo>
                    <a:pt x="19" y="13"/>
                  </a:lnTo>
                  <a:lnTo>
                    <a:pt x="3" y="0"/>
                  </a:lnTo>
                  <a:lnTo>
                    <a:pt x="0" y="2"/>
                  </a:lnTo>
                  <a:lnTo>
                    <a:pt x="17" y="14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23" name="Freeform 6496"/>
            <p:cNvSpPr>
              <a:spLocks/>
            </p:cNvSpPr>
            <p:nvPr/>
          </p:nvSpPr>
          <p:spPr bwMode="auto">
            <a:xfrm>
              <a:off x="6011863" y="5302251"/>
              <a:ext cx="30163" cy="22225"/>
            </a:xfrm>
            <a:custGeom>
              <a:avLst/>
              <a:gdLst>
                <a:gd name="T0" fmla="*/ 1 w 19"/>
                <a:gd name="T1" fmla="*/ 14 h 14"/>
                <a:gd name="T2" fmla="*/ 19 w 19"/>
                <a:gd name="T3" fmla="*/ 2 h 14"/>
                <a:gd name="T4" fmla="*/ 16 w 19"/>
                <a:gd name="T5" fmla="*/ 0 h 14"/>
                <a:gd name="T6" fmla="*/ 0 w 19"/>
                <a:gd name="T7" fmla="*/ 13 h 14"/>
                <a:gd name="T8" fmla="*/ 1 w 19"/>
                <a:gd name="T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4">
                  <a:moveTo>
                    <a:pt x="1" y="14"/>
                  </a:moveTo>
                  <a:lnTo>
                    <a:pt x="19" y="2"/>
                  </a:lnTo>
                  <a:lnTo>
                    <a:pt x="16" y="0"/>
                  </a:lnTo>
                  <a:lnTo>
                    <a:pt x="0" y="13"/>
                  </a:lnTo>
                  <a:lnTo>
                    <a:pt x="1" y="14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24" name="Freeform 6497"/>
            <p:cNvSpPr>
              <a:spLocks/>
            </p:cNvSpPr>
            <p:nvPr/>
          </p:nvSpPr>
          <p:spPr bwMode="auto">
            <a:xfrm>
              <a:off x="6013450" y="5278439"/>
              <a:ext cx="28575" cy="26988"/>
            </a:xfrm>
            <a:custGeom>
              <a:avLst/>
              <a:gdLst>
                <a:gd name="T0" fmla="*/ 15 w 18"/>
                <a:gd name="T1" fmla="*/ 17 h 17"/>
                <a:gd name="T2" fmla="*/ 18 w 18"/>
                <a:gd name="T3" fmla="*/ 15 h 17"/>
                <a:gd name="T4" fmla="*/ 3 w 18"/>
                <a:gd name="T5" fmla="*/ 0 h 17"/>
                <a:gd name="T6" fmla="*/ 0 w 18"/>
                <a:gd name="T7" fmla="*/ 2 h 17"/>
                <a:gd name="T8" fmla="*/ 15 w 18"/>
                <a:gd name="T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7">
                  <a:moveTo>
                    <a:pt x="15" y="17"/>
                  </a:moveTo>
                  <a:lnTo>
                    <a:pt x="18" y="15"/>
                  </a:lnTo>
                  <a:lnTo>
                    <a:pt x="3" y="0"/>
                  </a:lnTo>
                  <a:lnTo>
                    <a:pt x="0" y="2"/>
                  </a:lnTo>
                  <a:lnTo>
                    <a:pt x="15" y="17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25" name="Freeform 6498"/>
            <p:cNvSpPr>
              <a:spLocks/>
            </p:cNvSpPr>
            <p:nvPr/>
          </p:nvSpPr>
          <p:spPr bwMode="auto">
            <a:xfrm>
              <a:off x="6011863" y="5278439"/>
              <a:ext cx="26988" cy="26988"/>
            </a:xfrm>
            <a:custGeom>
              <a:avLst/>
              <a:gdLst>
                <a:gd name="T0" fmla="*/ 3 w 17"/>
                <a:gd name="T1" fmla="*/ 17 h 17"/>
                <a:gd name="T2" fmla="*/ 17 w 17"/>
                <a:gd name="T3" fmla="*/ 2 h 17"/>
                <a:gd name="T4" fmla="*/ 15 w 17"/>
                <a:gd name="T5" fmla="*/ 0 h 17"/>
                <a:gd name="T6" fmla="*/ 0 w 17"/>
                <a:gd name="T7" fmla="*/ 15 h 17"/>
                <a:gd name="T8" fmla="*/ 3 w 17"/>
                <a:gd name="T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7">
                  <a:moveTo>
                    <a:pt x="3" y="17"/>
                  </a:moveTo>
                  <a:lnTo>
                    <a:pt x="17" y="2"/>
                  </a:lnTo>
                  <a:lnTo>
                    <a:pt x="15" y="0"/>
                  </a:lnTo>
                  <a:lnTo>
                    <a:pt x="0" y="15"/>
                  </a:lnTo>
                  <a:lnTo>
                    <a:pt x="3" y="17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26" name="Freeform 6499"/>
            <p:cNvSpPr>
              <a:spLocks/>
            </p:cNvSpPr>
            <p:nvPr/>
          </p:nvSpPr>
          <p:spPr bwMode="auto">
            <a:xfrm>
              <a:off x="6016625" y="5257801"/>
              <a:ext cx="22225" cy="23813"/>
            </a:xfrm>
            <a:custGeom>
              <a:avLst/>
              <a:gdLst>
                <a:gd name="T0" fmla="*/ 12 w 14"/>
                <a:gd name="T1" fmla="*/ 15 h 15"/>
                <a:gd name="T2" fmla="*/ 14 w 14"/>
                <a:gd name="T3" fmla="*/ 13 h 15"/>
                <a:gd name="T4" fmla="*/ 2 w 14"/>
                <a:gd name="T5" fmla="*/ 0 h 15"/>
                <a:gd name="T6" fmla="*/ 0 w 14"/>
                <a:gd name="T7" fmla="*/ 2 h 15"/>
                <a:gd name="T8" fmla="*/ 12 w 14"/>
                <a:gd name="T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5">
                  <a:moveTo>
                    <a:pt x="12" y="15"/>
                  </a:moveTo>
                  <a:lnTo>
                    <a:pt x="14" y="13"/>
                  </a:lnTo>
                  <a:lnTo>
                    <a:pt x="2" y="0"/>
                  </a:lnTo>
                  <a:lnTo>
                    <a:pt x="0" y="2"/>
                  </a:lnTo>
                  <a:lnTo>
                    <a:pt x="12" y="15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27" name="Freeform 6500"/>
            <p:cNvSpPr>
              <a:spLocks/>
            </p:cNvSpPr>
            <p:nvPr/>
          </p:nvSpPr>
          <p:spPr bwMode="auto">
            <a:xfrm>
              <a:off x="6013450" y="5257801"/>
              <a:ext cx="23813" cy="23813"/>
            </a:xfrm>
            <a:custGeom>
              <a:avLst/>
              <a:gdLst>
                <a:gd name="T0" fmla="*/ 3 w 15"/>
                <a:gd name="T1" fmla="*/ 15 h 15"/>
                <a:gd name="T2" fmla="*/ 15 w 15"/>
                <a:gd name="T3" fmla="*/ 2 h 15"/>
                <a:gd name="T4" fmla="*/ 14 w 15"/>
                <a:gd name="T5" fmla="*/ 0 h 15"/>
                <a:gd name="T6" fmla="*/ 0 w 15"/>
                <a:gd name="T7" fmla="*/ 13 h 15"/>
                <a:gd name="T8" fmla="*/ 3 w 15"/>
                <a:gd name="T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5">
                  <a:moveTo>
                    <a:pt x="3" y="15"/>
                  </a:moveTo>
                  <a:lnTo>
                    <a:pt x="15" y="2"/>
                  </a:lnTo>
                  <a:lnTo>
                    <a:pt x="14" y="0"/>
                  </a:lnTo>
                  <a:lnTo>
                    <a:pt x="0" y="13"/>
                  </a:lnTo>
                  <a:lnTo>
                    <a:pt x="3" y="15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28" name="Freeform 6501"/>
            <p:cNvSpPr>
              <a:spLocks/>
            </p:cNvSpPr>
            <p:nvPr/>
          </p:nvSpPr>
          <p:spPr bwMode="auto">
            <a:xfrm>
              <a:off x="6018213" y="5237164"/>
              <a:ext cx="19050" cy="23813"/>
            </a:xfrm>
            <a:custGeom>
              <a:avLst/>
              <a:gdLst>
                <a:gd name="T0" fmla="*/ 10 w 12"/>
                <a:gd name="T1" fmla="*/ 15 h 15"/>
                <a:gd name="T2" fmla="*/ 12 w 12"/>
                <a:gd name="T3" fmla="*/ 13 h 15"/>
                <a:gd name="T4" fmla="*/ 1 w 12"/>
                <a:gd name="T5" fmla="*/ 0 h 15"/>
                <a:gd name="T6" fmla="*/ 0 w 12"/>
                <a:gd name="T7" fmla="*/ 2 h 15"/>
                <a:gd name="T8" fmla="*/ 10 w 12"/>
                <a:gd name="T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5">
                  <a:moveTo>
                    <a:pt x="10" y="15"/>
                  </a:moveTo>
                  <a:lnTo>
                    <a:pt x="12" y="13"/>
                  </a:lnTo>
                  <a:lnTo>
                    <a:pt x="1" y="0"/>
                  </a:lnTo>
                  <a:lnTo>
                    <a:pt x="0" y="2"/>
                  </a:lnTo>
                  <a:lnTo>
                    <a:pt x="10" y="15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29" name="Freeform 6502"/>
            <p:cNvSpPr>
              <a:spLocks/>
            </p:cNvSpPr>
            <p:nvPr/>
          </p:nvSpPr>
          <p:spPr bwMode="auto">
            <a:xfrm>
              <a:off x="6016625" y="5237164"/>
              <a:ext cx="19050" cy="23813"/>
            </a:xfrm>
            <a:custGeom>
              <a:avLst/>
              <a:gdLst>
                <a:gd name="T0" fmla="*/ 2 w 12"/>
                <a:gd name="T1" fmla="*/ 15 h 15"/>
                <a:gd name="T2" fmla="*/ 12 w 12"/>
                <a:gd name="T3" fmla="*/ 2 h 15"/>
                <a:gd name="T4" fmla="*/ 10 w 12"/>
                <a:gd name="T5" fmla="*/ 0 h 15"/>
                <a:gd name="T6" fmla="*/ 0 w 12"/>
                <a:gd name="T7" fmla="*/ 13 h 15"/>
                <a:gd name="T8" fmla="*/ 2 w 12"/>
                <a:gd name="T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5">
                  <a:moveTo>
                    <a:pt x="2" y="15"/>
                  </a:moveTo>
                  <a:lnTo>
                    <a:pt x="12" y="2"/>
                  </a:lnTo>
                  <a:lnTo>
                    <a:pt x="10" y="0"/>
                  </a:lnTo>
                  <a:lnTo>
                    <a:pt x="0" y="13"/>
                  </a:lnTo>
                  <a:lnTo>
                    <a:pt x="2" y="15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30" name="Freeform 6503"/>
            <p:cNvSpPr>
              <a:spLocks/>
            </p:cNvSpPr>
            <p:nvPr/>
          </p:nvSpPr>
          <p:spPr bwMode="auto">
            <a:xfrm>
              <a:off x="6018213" y="5219701"/>
              <a:ext cx="17463" cy="20638"/>
            </a:xfrm>
            <a:custGeom>
              <a:avLst/>
              <a:gdLst>
                <a:gd name="T0" fmla="*/ 10 w 11"/>
                <a:gd name="T1" fmla="*/ 13 h 13"/>
                <a:gd name="T2" fmla="*/ 11 w 11"/>
                <a:gd name="T3" fmla="*/ 11 h 13"/>
                <a:gd name="T4" fmla="*/ 2 w 11"/>
                <a:gd name="T5" fmla="*/ 0 h 13"/>
                <a:gd name="T6" fmla="*/ 0 w 11"/>
                <a:gd name="T7" fmla="*/ 1 h 13"/>
                <a:gd name="T8" fmla="*/ 10 w 11"/>
                <a:gd name="T9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3">
                  <a:moveTo>
                    <a:pt x="10" y="13"/>
                  </a:moveTo>
                  <a:lnTo>
                    <a:pt x="11" y="11"/>
                  </a:lnTo>
                  <a:lnTo>
                    <a:pt x="2" y="0"/>
                  </a:lnTo>
                  <a:lnTo>
                    <a:pt x="0" y="1"/>
                  </a:lnTo>
                  <a:lnTo>
                    <a:pt x="10" y="13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31" name="Freeform 6504"/>
            <p:cNvSpPr>
              <a:spLocks/>
            </p:cNvSpPr>
            <p:nvPr/>
          </p:nvSpPr>
          <p:spPr bwMode="auto">
            <a:xfrm>
              <a:off x="6018213" y="5219701"/>
              <a:ext cx="17463" cy="22225"/>
            </a:xfrm>
            <a:custGeom>
              <a:avLst/>
              <a:gdLst>
                <a:gd name="T0" fmla="*/ 2 w 11"/>
                <a:gd name="T1" fmla="*/ 14 h 14"/>
                <a:gd name="T2" fmla="*/ 11 w 11"/>
                <a:gd name="T3" fmla="*/ 1 h 14"/>
                <a:gd name="T4" fmla="*/ 9 w 11"/>
                <a:gd name="T5" fmla="*/ 0 h 14"/>
                <a:gd name="T6" fmla="*/ 0 w 11"/>
                <a:gd name="T7" fmla="*/ 11 h 14"/>
                <a:gd name="T8" fmla="*/ 2 w 11"/>
                <a:gd name="T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4">
                  <a:moveTo>
                    <a:pt x="2" y="14"/>
                  </a:moveTo>
                  <a:lnTo>
                    <a:pt x="11" y="1"/>
                  </a:lnTo>
                  <a:lnTo>
                    <a:pt x="9" y="0"/>
                  </a:lnTo>
                  <a:lnTo>
                    <a:pt x="0" y="11"/>
                  </a:lnTo>
                  <a:lnTo>
                    <a:pt x="2" y="14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32" name="Freeform 6505"/>
            <p:cNvSpPr>
              <a:spLocks/>
            </p:cNvSpPr>
            <p:nvPr/>
          </p:nvSpPr>
          <p:spPr bwMode="auto">
            <a:xfrm>
              <a:off x="6019800" y="5203826"/>
              <a:ext cx="15875" cy="17463"/>
            </a:xfrm>
            <a:custGeom>
              <a:avLst/>
              <a:gdLst>
                <a:gd name="T0" fmla="*/ 8 w 10"/>
                <a:gd name="T1" fmla="*/ 11 h 11"/>
                <a:gd name="T2" fmla="*/ 10 w 10"/>
                <a:gd name="T3" fmla="*/ 10 h 11"/>
                <a:gd name="T4" fmla="*/ 2 w 10"/>
                <a:gd name="T5" fmla="*/ 0 h 11"/>
                <a:gd name="T6" fmla="*/ 0 w 10"/>
                <a:gd name="T7" fmla="*/ 1 h 11"/>
                <a:gd name="T8" fmla="*/ 8 w 10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1">
                  <a:moveTo>
                    <a:pt x="8" y="11"/>
                  </a:moveTo>
                  <a:lnTo>
                    <a:pt x="10" y="10"/>
                  </a:lnTo>
                  <a:lnTo>
                    <a:pt x="2" y="0"/>
                  </a:lnTo>
                  <a:lnTo>
                    <a:pt x="0" y="1"/>
                  </a:lnTo>
                  <a:lnTo>
                    <a:pt x="8" y="11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33" name="Freeform 6506"/>
            <p:cNvSpPr>
              <a:spLocks/>
            </p:cNvSpPr>
            <p:nvPr/>
          </p:nvSpPr>
          <p:spPr bwMode="auto">
            <a:xfrm>
              <a:off x="6018213" y="5203826"/>
              <a:ext cx="15875" cy="17463"/>
            </a:xfrm>
            <a:custGeom>
              <a:avLst/>
              <a:gdLst>
                <a:gd name="T0" fmla="*/ 2 w 10"/>
                <a:gd name="T1" fmla="*/ 11 h 11"/>
                <a:gd name="T2" fmla="*/ 10 w 10"/>
                <a:gd name="T3" fmla="*/ 1 h 11"/>
                <a:gd name="T4" fmla="*/ 8 w 10"/>
                <a:gd name="T5" fmla="*/ 0 h 11"/>
                <a:gd name="T6" fmla="*/ 0 w 10"/>
                <a:gd name="T7" fmla="*/ 10 h 11"/>
                <a:gd name="T8" fmla="*/ 2 w 10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1">
                  <a:moveTo>
                    <a:pt x="2" y="11"/>
                  </a:moveTo>
                  <a:lnTo>
                    <a:pt x="10" y="1"/>
                  </a:lnTo>
                  <a:lnTo>
                    <a:pt x="8" y="0"/>
                  </a:lnTo>
                  <a:lnTo>
                    <a:pt x="0" y="10"/>
                  </a:lnTo>
                  <a:lnTo>
                    <a:pt x="2" y="11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34" name="Freeform 6507"/>
            <p:cNvSpPr>
              <a:spLocks/>
            </p:cNvSpPr>
            <p:nvPr/>
          </p:nvSpPr>
          <p:spPr bwMode="auto">
            <a:xfrm>
              <a:off x="6021388" y="5186364"/>
              <a:ext cx="12700" cy="19050"/>
            </a:xfrm>
            <a:custGeom>
              <a:avLst/>
              <a:gdLst>
                <a:gd name="T0" fmla="*/ 6 w 8"/>
                <a:gd name="T1" fmla="*/ 12 h 12"/>
                <a:gd name="T2" fmla="*/ 8 w 8"/>
                <a:gd name="T3" fmla="*/ 11 h 12"/>
                <a:gd name="T4" fmla="*/ 1 w 8"/>
                <a:gd name="T5" fmla="*/ 0 h 12"/>
                <a:gd name="T6" fmla="*/ 0 w 8"/>
                <a:gd name="T7" fmla="*/ 1 h 12"/>
                <a:gd name="T8" fmla="*/ 6 w 8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2">
                  <a:moveTo>
                    <a:pt x="6" y="12"/>
                  </a:moveTo>
                  <a:lnTo>
                    <a:pt x="8" y="11"/>
                  </a:lnTo>
                  <a:lnTo>
                    <a:pt x="1" y="0"/>
                  </a:lnTo>
                  <a:lnTo>
                    <a:pt x="0" y="1"/>
                  </a:lnTo>
                  <a:lnTo>
                    <a:pt x="6" y="12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35" name="Freeform 6508"/>
            <p:cNvSpPr>
              <a:spLocks/>
            </p:cNvSpPr>
            <p:nvPr/>
          </p:nvSpPr>
          <p:spPr bwMode="auto">
            <a:xfrm>
              <a:off x="6019800" y="5186364"/>
              <a:ext cx="14288" cy="19050"/>
            </a:xfrm>
            <a:custGeom>
              <a:avLst/>
              <a:gdLst>
                <a:gd name="T0" fmla="*/ 2 w 9"/>
                <a:gd name="T1" fmla="*/ 12 h 12"/>
                <a:gd name="T2" fmla="*/ 9 w 9"/>
                <a:gd name="T3" fmla="*/ 1 h 12"/>
                <a:gd name="T4" fmla="*/ 7 w 9"/>
                <a:gd name="T5" fmla="*/ 0 h 12"/>
                <a:gd name="T6" fmla="*/ 0 w 9"/>
                <a:gd name="T7" fmla="*/ 11 h 12"/>
                <a:gd name="T8" fmla="*/ 2 w 9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2">
                  <a:moveTo>
                    <a:pt x="2" y="12"/>
                  </a:moveTo>
                  <a:lnTo>
                    <a:pt x="9" y="1"/>
                  </a:lnTo>
                  <a:lnTo>
                    <a:pt x="7" y="0"/>
                  </a:lnTo>
                  <a:lnTo>
                    <a:pt x="0" y="11"/>
                  </a:lnTo>
                  <a:lnTo>
                    <a:pt x="2" y="12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36" name="Freeform 6509"/>
            <p:cNvSpPr>
              <a:spLocks/>
            </p:cNvSpPr>
            <p:nvPr/>
          </p:nvSpPr>
          <p:spPr bwMode="auto">
            <a:xfrm>
              <a:off x="6021388" y="5168901"/>
              <a:ext cx="12700" cy="19050"/>
            </a:xfrm>
            <a:custGeom>
              <a:avLst/>
              <a:gdLst>
                <a:gd name="T0" fmla="*/ 6 w 8"/>
                <a:gd name="T1" fmla="*/ 12 h 12"/>
                <a:gd name="T2" fmla="*/ 8 w 8"/>
                <a:gd name="T3" fmla="*/ 11 h 12"/>
                <a:gd name="T4" fmla="*/ 2 w 8"/>
                <a:gd name="T5" fmla="*/ 0 h 12"/>
                <a:gd name="T6" fmla="*/ 0 w 8"/>
                <a:gd name="T7" fmla="*/ 1 h 12"/>
                <a:gd name="T8" fmla="*/ 6 w 8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2">
                  <a:moveTo>
                    <a:pt x="6" y="12"/>
                  </a:moveTo>
                  <a:lnTo>
                    <a:pt x="8" y="11"/>
                  </a:lnTo>
                  <a:lnTo>
                    <a:pt x="2" y="0"/>
                  </a:lnTo>
                  <a:lnTo>
                    <a:pt x="0" y="1"/>
                  </a:lnTo>
                  <a:lnTo>
                    <a:pt x="6" y="12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37" name="Freeform 6510"/>
            <p:cNvSpPr>
              <a:spLocks/>
            </p:cNvSpPr>
            <p:nvPr/>
          </p:nvSpPr>
          <p:spPr bwMode="auto">
            <a:xfrm>
              <a:off x="6021388" y="5168901"/>
              <a:ext cx="11113" cy="19050"/>
            </a:xfrm>
            <a:custGeom>
              <a:avLst/>
              <a:gdLst>
                <a:gd name="T0" fmla="*/ 1 w 7"/>
                <a:gd name="T1" fmla="*/ 12 h 12"/>
                <a:gd name="T2" fmla="*/ 7 w 7"/>
                <a:gd name="T3" fmla="*/ 1 h 12"/>
                <a:gd name="T4" fmla="*/ 5 w 7"/>
                <a:gd name="T5" fmla="*/ 0 h 12"/>
                <a:gd name="T6" fmla="*/ 0 w 7"/>
                <a:gd name="T7" fmla="*/ 11 h 12"/>
                <a:gd name="T8" fmla="*/ 1 w 7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2">
                  <a:moveTo>
                    <a:pt x="1" y="12"/>
                  </a:moveTo>
                  <a:lnTo>
                    <a:pt x="7" y="1"/>
                  </a:lnTo>
                  <a:lnTo>
                    <a:pt x="5" y="0"/>
                  </a:lnTo>
                  <a:lnTo>
                    <a:pt x="0" y="11"/>
                  </a:lnTo>
                  <a:lnTo>
                    <a:pt x="1" y="12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38" name="Freeform 6511"/>
            <p:cNvSpPr>
              <a:spLocks/>
            </p:cNvSpPr>
            <p:nvPr/>
          </p:nvSpPr>
          <p:spPr bwMode="auto">
            <a:xfrm>
              <a:off x="6043613" y="5308601"/>
              <a:ext cx="25400" cy="25400"/>
            </a:xfrm>
            <a:custGeom>
              <a:avLst/>
              <a:gdLst>
                <a:gd name="T0" fmla="*/ 1 w 16"/>
                <a:gd name="T1" fmla="*/ 16 h 16"/>
                <a:gd name="T2" fmla="*/ 16 w 16"/>
                <a:gd name="T3" fmla="*/ 2 h 16"/>
                <a:gd name="T4" fmla="*/ 15 w 16"/>
                <a:gd name="T5" fmla="*/ 0 h 16"/>
                <a:gd name="T6" fmla="*/ 0 w 16"/>
                <a:gd name="T7" fmla="*/ 15 h 16"/>
                <a:gd name="T8" fmla="*/ 1 w 16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6">
                  <a:moveTo>
                    <a:pt x="1" y="16"/>
                  </a:moveTo>
                  <a:lnTo>
                    <a:pt x="16" y="2"/>
                  </a:lnTo>
                  <a:lnTo>
                    <a:pt x="15" y="0"/>
                  </a:lnTo>
                  <a:lnTo>
                    <a:pt x="0" y="15"/>
                  </a:lnTo>
                  <a:lnTo>
                    <a:pt x="1" y="16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39" name="Freeform 6512"/>
            <p:cNvSpPr>
              <a:spLocks/>
            </p:cNvSpPr>
            <p:nvPr/>
          </p:nvSpPr>
          <p:spPr bwMode="auto">
            <a:xfrm>
              <a:off x="6043613" y="5305426"/>
              <a:ext cx="25400" cy="28575"/>
            </a:xfrm>
            <a:custGeom>
              <a:avLst/>
              <a:gdLst>
                <a:gd name="T0" fmla="*/ 15 w 16"/>
                <a:gd name="T1" fmla="*/ 18 h 18"/>
                <a:gd name="T2" fmla="*/ 16 w 16"/>
                <a:gd name="T3" fmla="*/ 17 h 18"/>
                <a:gd name="T4" fmla="*/ 1 w 16"/>
                <a:gd name="T5" fmla="*/ 0 h 18"/>
                <a:gd name="T6" fmla="*/ 0 w 16"/>
                <a:gd name="T7" fmla="*/ 1 h 18"/>
                <a:gd name="T8" fmla="*/ 15 w 16"/>
                <a:gd name="T9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8">
                  <a:moveTo>
                    <a:pt x="15" y="18"/>
                  </a:moveTo>
                  <a:lnTo>
                    <a:pt x="16" y="17"/>
                  </a:lnTo>
                  <a:lnTo>
                    <a:pt x="1" y="0"/>
                  </a:lnTo>
                  <a:lnTo>
                    <a:pt x="0" y="1"/>
                  </a:lnTo>
                  <a:lnTo>
                    <a:pt x="15" y="18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40" name="Freeform 6513"/>
            <p:cNvSpPr>
              <a:spLocks/>
            </p:cNvSpPr>
            <p:nvPr/>
          </p:nvSpPr>
          <p:spPr bwMode="auto">
            <a:xfrm>
              <a:off x="6067425" y="5314951"/>
              <a:ext cx="20638" cy="19050"/>
            </a:xfrm>
            <a:custGeom>
              <a:avLst/>
              <a:gdLst>
                <a:gd name="T0" fmla="*/ 1 w 13"/>
                <a:gd name="T1" fmla="*/ 12 h 12"/>
                <a:gd name="T2" fmla="*/ 13 w 13"/>
                <a:gd name="T3" fmla="*/ 1 h 12"/>
                <a:gd name="T4" fmla="*/ 11 w 13"/>
                <a:gd name="T5" fmla="*/ 0 h 12"/>
                <a:gd name="T6" fmla="*/ 0 w 13"/>
                <a:gd name="T7" fmla="*/ 11 h 12"/>
                <a:gd name="T8" fmla="*/ 1 w 13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2">
                  <a:moveTo>
                    <a:pt x="1" y="12"/>
                  </a:moveTo>
                  <a:lnTo>
                    <a:pt x="13" y="1"/>
                  </a:lnTo>
                  <a:lnTo>
                    <a:pt x="11" y="0"/>
                  </a:lnTo>
                  <a:lnTo>
                    <a:pt x="0" y="11"/>
                  </a:lnTo>
                  <a:lnTo>
                    <a:pt x="1" y="12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41" name="Freeform 6514"/>
            <p:cNvSpPr>
              <a:spLocks/>
            </p:cNvSpPr>
            <p:nvPr/>
          </p:nvSpPr>
          <p:spPr bwMode="auto">
            <a:xfrm>
              <a:off x="6067425" y="5308601"/>
              <a:ext cx="20638" cy="25400"/>
            </a:xfrm>
            <a:custGeom>
              <a:avLst/>
              <a:gdLst>
                <a:gd name="T0" fmla="*/ 11 w 13"/>
                <a:gd name="T1" fmla="*/ 16 h 16"/>
                <a:gd name="T2" fmla="*/ 13 w 13"/>
                <a:gd name="T3" fmla="*/ 15 h 16"/>
                <a:gd name="T4" fmla="*/ 1 w 13"/>
                <a:gd name="T5" fmla="*/ 0 h 16"/>
                <a:gd name="T6" fmla="*/ 0 w 13"/>
                <a:gd name="T7" fmla="*/ 2 h 16"/>
                <a:gd name="T8" fmla="*/ 11 w 13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6">
                  <a:moveTo>
                    <a:pt x="11" y="16"/>
                  </a:moveTo>
                  <a:lnTo>
                    <a:pt x="13" y="15"/>
                  </a:lnTo>
                  <a:lnTo>
                    <a:pt x="1" y="0"/>
                  </a:lnTo>
                  <a:lnTo>
                    <a:pt x="0" y="2"/>
                  </a:lnTo>
                  <a:lnTo>
                    <a:pt x="11" y="16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42" name="Freeform 6515"/>
            <p:cNvSpPr>
              <a:spLocks/>
            </p:cNvSpPr>
            <p:nvPr/>
          </p:nvSpPr>
          <p:spPr bwMode="auto">
            <a:xfrm>
              <a:off x="6084888" y="5318126"/>
              <a:ext cx="23813" cy="17463"/>
            </a:xfrm>
            <a:custGeom>
              <a:avLst/>
              <a:gdLst>
                <a:gd name="T0" fmla="*/ 2 w 15"/>
                <a:gd name="T1" fmla="*/ 11 h 11"/>
                <a:gd name="T2" fmla="*/ 15 w 15"/>
                <a:gd name="T3" fmla="*/ 1 h 11"/>
                <a:gd name="T4" fmla="*/ 13 w 15"/>
                <a:gd name="T5" fmla="*/ 0 h 11"/>
                <a:gd name="T6" fmla="*/ 0 w 15"/>
                <a:gd name="T7" fmla="*/ 9 h 11"/>
                <a:gd name="T8" fmla="*/ 2 w 15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1">
                  <a:moveTo>
                    <a:pt x="2" y="11"/>
                  </a:moveTo>
                  <a:lnTo>
                    <a:pt x="15" y="1"/>
                  </a:lnTo>
                  <a:lnTo>
                    <a:pt x="13" y="0"/>
                  </a:lnTo>
                  <a:lnTo>
                    <a:pt x="0" y="9"/>
                  </a:lnTo>
                  <a:lnTo>
                    <a:pt x="2" y="11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43" name="Freeform 6516"/>
            <p:cNvSpPr>
              <a:spLocks/>
            </p:cNvSpPr>
            <p:nvPr/>
          </p:nvSpPr>
          <p:spPr bwMode="auto">
            <a:xfrm>
              <a:off x="6084888" y="5314951"/>
              <a:ext cx="23813" cy="19050"/>
            </a:xfrm>
            <a:custGeom>
              <a:avLst/>
              <a:gdLst>
                <a:gd name="T0" fmla="*/ 13 w 15"/>
                <a:gd name="T1" fmla="*/ 12 h 12"/>
                <a:gd name="T2" fmla="*/ 15 w 15"/>
                <a:gd name="T3" fmla="*/ 11 h 12"/>
                <a:gd name="T4" fmla="*/ 2 w 15"/>
                <a:gd name="T5" fmla="*/ 0 h 12"/>
                <a:gd name="T6" fmla="*/ 0 w 15"/>
                <a:gd name="T7" fmla="*/ 1 h 12"/>
                <a:gd name="T8" fmla="*/ 13 w 15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2">
                  <a:moveTo>
                    <a:pt x="13" y="12"/>
                  </a:moveTo>
                  <a:lnTo>
                    <a:pt x="15" y="11"/>
                  </a:lnTo>
                  <a:lnTo>
                    <a:pt x="2" y="0"/>
                  </a:lnTo>
                  <a:lnTo>
                    <a:pt x="0" y="1"/>
                  </a:lnTo>
                  <a:lnTo>
                    <a:pt x="13" y="12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44" name="Freeform 6517"/>
            <p:cNvSpPr>
              <a:spLocks/>
            </p:cNvSpPr>
            <p:nvPr/>
          </p:nvSpPr>
          <p:spPr bwMode="auto">
            <a:xfrm>
              <a:off x="6105525" y="5321301"/>
              <a:ext cx="20638" cy="12700"/>
            </a:xfrm>
            <a:custGeom>
              <a:avLst/>
              <a:gdLst>
                <a:gd name="T0" fmla="*/ 1 w 13"/>
                <a:gd name="T1" fmla="*/ 8 h 8"/>
                <a:gd name="T2" fmla="*/ 13 w 13"/>
                <a:gd name="T3" fmla="*/ 2 h 8"/>
                <a:gd name="T4" fmla="*/ 12 w 13"/>
                <a:gd name="T5" fmla="*/ 0 h 8"/>
                <a:gd name="T6" fmla="*/ 0 w 13"/>
                <a:gd name="T7" fmla="*/ 6 h 8"/>
                <a:gd name="T8" fmla="*/ 1 w 13"/>
                <a:gd name="T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8">
                  <a:moveTo>
                    <a:pt x="1" y="8"/>
                  </a:moveTo>
                  <a:lnTo>
                    <a:pt x="13" y="2"/>
                  </a:lnTo>
                  <a:lnTo>
                    <a:pt x="12" y="0"/>
                  </a:lnTo>
                  <a:lnTo>
                    <a:pt x="0" y="6"/>
                  </a:lnTo>
                  <a:lnTo>
                    <a:pt x="1" y="8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45" name="Freeform 6518"/>
            <p:cNvSpPr>
              <a:spLocks/>
            </p:cNvSpPr>
            <p:nvPr/>
          </p:nvSpPr>
          <p:spPr bwMode="auto">
            <a:xfrm>
              <a:off x="6105525" y="5318126"/>
              <a:ext cx="20638" cy="15875"/>
            </a:xfrm>
            <a:custGeom>
              <a:avLst/>
              <a:gdLst>
                <a:gd name="T0" fmla="*/ 12 w 13"/>
                <a:gd name="T1" fmla="*/ 10 h 10"/>
                <a:gd name="T2" fmla="*/ 13 w 13"/>
                <a:gd name="T3" fmla="*/ 9 h 10"/>
                <a:gd name="T4" fmla="*/ 2 w 13"/>
                <a:gd name="T5" fmla="*/ 0 h 10"/>
                <a:gd name="T6" fmla="*/ 0 w 13"/>
                <a:gd name="T7" fmla="*/ 1 h 10"/>
                <a:gd name="T8" fmla="*/ 12 w 13"/>
                <a:gd name="T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0">
                  <a:moveTo>
                    <a:pt x="12" y="10"/>
                  </a:moveTo>
                  <a:lnTo>
                    <a:pt x="13" y="9"/>
                  </a:lnTo>
                  <a:lnTo>
                    <a:pt x="2" y="0"/>
                  </a:lnTo>
                  <a:lnTo>
                    <a:pt x="0" y="1"/>
                  </a:lnTo>
                  <a:lnTo>
                    <a:pt x="12" y="10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46" name="Freeform 6519"/>
            <p:cNvSpPr>
              <a:spLocks/>
            </p:cNvSpPr>
            <p:nvPr/>
          </p:nvSpPr>
          <p:spPr bwMode="auto">
            <a:xfrm>
              <a:off x="6126163" y="5324476"/>
              <a:ext cx="19050" cy="11113"/>
            </a:xfrm>
            <a:custGeom>
              <a:avLst/>
              <a:gdLst>
                <a:gd name="T0" fmla="*/ 1 w 12"/>
                <a:gd name="T1" fmla="*/ 7 h 7"/>
                <a:gd name="T2" fmla="*/ 12 w 12"/>
                <a:gd name="T3" fmla="*/ 3 h 7"/>
                <a:gd name="T4" fmla="*/ 11 w 12"/>
                <a:gd name="T5" fmla="*/ 0 h 7"/>
                <a:gd name="T6" fmla="*/ 0 w 12"/>
                <a:gd name="T7" fmla="*/ 5 h 7"/>
                <a:gd name="T8" fmla="*/ 1 w 12"/>
                <a:gd name="T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7">
                  <a:moveTo>
                    <a:pt x="1" y="7"/>
                  </a:moveTo>
                  <a:lnTo>
                    <a:pt x="12" y="3"/>
                  </a:lnTo>
                  <a:lnTo>
                    <a:pt x="11" y="0"/>
                  </a:lnTo>
                  <a:lnTo>
                    <a:pt x="0" y="5"/>
                  </a:lnTo>
                  <a:lnTo>
                    <a:pt x="1" y="7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47" name="Freeform 6520"/>
            <p:cNvSpPr>
              <a:spLocks/>
            </p:cNvSpPr>
            <p:nvPr/>
          </p:nvSpPr>
          <p:spPr bwMode="auto">
            <a:xfrm>
              <a:off x="5984875" y="5310189"/>
              <a:ext cx="25400" cy="25400"/>
            </a:xfrm>
            <a:custGeom>
              <a:avLst/>
              <a:gdLst>
                <a:gd name="T0" fmla="*/ 15 w 16"/>
                <a:gd name="T1" fmla="*/ 16 h 16"/>
                <a:gd name="T2" fmla="*/ 16 w 16"/>
                <a:gd name="T3" fmla="*/ 14 h 16"/>
                <a:gd name="T4" fmla="*/ 1 w 16"/>
                <a:gd name="T5" fmla="*/ 0 h 16"/>
                <a:gd name="T6" fmla="*/ 0 w 16"/>
                <a:gd name="T7" fmla="*/ 1 h 16"/>
                <a:gd name="T8" fmla="*/ 15 w 16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6">
                  <a:moveTo>
                    <a:pt x="15" y="16"/>
                  </a:moveTo>
                  <a:lnTo>
                    <a:pt x="16" y="14"/>
                  </a:lnTo>
                  <a:lnTo>
                    <a:pt x="1" y="0"/>
                  </a:lnTo>
                  <a:lnTo>
                    <a:pt x="0" y="1"/>
                  </a:lnTo>
                  <a:lnTo>
                    <a:pt x="15" y="16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48" name="Freeform 6521"/>
            <p:cNvSpPr>
              <a:spLocks/>
            </p:cNvSpPr>
            <p:nvPr/>
          </p:nvSpPr>
          <p:spPr bwMode="auto">
            <a:xfrm>
              <a:off x="5984875" y="5305426"/>
              <a:ext cx="25400" cy="30163"/>
            </a:xfrm>
            <a:custGeom>
              <a:avLst/>
              <a:gdLst>
                <a:gd name="T0" fmla="*/ 1 w 16"/>
                <a:gd name="T1" fmla="*/ 19 h 19"/>
                <a:gd name="T2" fmla="*/ 16 w 16"/>
                <a:gd name="T3" fmla="*/ 2 h 19"/>
                <a:gd name="T4" fmla="*/ 15 w 16"/>
                <a:gd name="T5" fmla="*/ 0 h 19"/>
                <a:gd name="T6" fmla="*/ 0 w 16"/>
                <a:gd name="T7" fmla="*/ 17 h 19"/>
                <a:gd name="T8" fmla="*/ 1 w 16"/>
                <a:gd name="T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9">
                  <a:moveTo>
                    <a:pt x="1" y="19"/>
                  </a:moveTo>
                  <a:lnTo>
                    <a:pt x="16" y="2"/>
                  </a:lnTo>
                  <a:lnTo>
                    <a:pt x="15" y="0"/>
                  </a:lnTo>
                  <a:lnTo>
                    <a:pt x="0" y="17"/>
                  </a:lnTo>
                  <a:lnTo>
                    <a:pt x="1" y="19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49" name="Freeform 6522"/>
            <p:cNvSpPr>
              <a:spLocks/>
            </p:cNvSpPr>
            <p:nvPr/>
          </p:nvSpPr>
          <p:spPr bwMode="auto">
            <a:xfrm>
              <a:off x="5965825" y="5314951"/>
              <a:ext cx="20638" cy="20638"/>
            </a:xfrm>
            <a:custGeom>
              <a:avLst/>
              <a:gdLst>
                <a:gd name="T0" fmla="*/ 12 w 13"/>
                <a:gd name="T1" fmla="*/ 13 h 13"/>
                <a:gd name="T2" fmla="*/ 13 w 13"/>
                <a:gd name="T3" fmla="*/ 11 h 13"/>
                <a:gd name="T4" fmla="*/ 2 w 13"/>
                <a:gd name="T5" fmla="*/ 0 h 13"/>
                <a:gd name="T6" fmla="*/ 0 w 13"/>
                <a:gd name="T7" fmla="*/ 1 h 13"/>
                <a:gd name="T8" fmla="*/ 12 w 13"/>
                <a:gd name="T9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3">
                  <a:moveTo>
                    <a:pt x="12" y="13"/>
                  </a:moveTo>
                  <a:lnTo>
                    <a:pt x="13" y="11"/>
                  </a:lnTo>
                  <a:lnTo>
                    <a:pt x="2" y="0"/>
                  </a:lnTo>
                  <a:lnTo>
                    <a:pt x="0" y="1"/>
                  </a:lnTo>
                  <a:lnTo>
                    <a:pt x="12" y="13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50" name="Freeform 6523"/>
            <p:cNvSpPr>
              <a:spLocks/>
            </p:cNvSpPr>
            <p:nvPr/>
          </p:nvSpPr>
          <p:spPr bwMode="auto">
            <a:xfrm>
              <a:off x="5965825" y="5310189"/>
              <a:ext cx="20638" cy="25400"/>
            </a:xfrm>
            <a:custGeom>
              <a:avLst/>
              <a:gdLst>
                <a:gd name="T0" fmla="*/ 2 w 13"/>
                <a:gd name="T1" fmla="*/ 16 h 16"/>
                <a:gd name="T2" fmla="*/ 13 w 13"/>
                <a:gd name="T3" fmla="*/ 1 h 16"/>
                <a:gd name="T4" fmla="*/ 12 w 13"/>
                <a:gd name="T5" fmla="*/ 0 h 16"/>
                <a:gd name="T6" fmla="*/ 0 w 13"/>
                <a:gd name="T7" fmla="*/ 14 h 16"/>
                <a:gd name="T8" fmla="*/ 2 w 13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6">
                  <a:moveTo>
                    <a:pt x="2" y="16"/>
                  </a:moveTo>
                  <a:lnTo>
                    <a:pt x="13" y="1"/>
                  </a:lnTo>
                  <a:lnTo>
                    <a:pt x="12" y="0"/>
                  </a:lnTo>
                  <a:lnTo>
                    <a:pt x="0" y="14"/>
                  </a:lnTo>
                  <a:lnTo>
                    <a:pt x="2" y="16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51" name="Freeform 6524"/>
            <p:cNvSpPr>
              <a:spLocks/>
            </p:cNvSpPr>
            <p:nvPr/>
          </p:nvSpPr>
          <p:spPr bwMode="auto">
            <a:xfrm>
              <a:off x="5946775" y="5318126"/>
              <a:ext cx="22225" cy="17463"/>
            </a:xfrm>
            <a:custGeom>
              <a:avLst/>
              <a:gdLst>
                <a:gd name="T0" fmla="*/ 12 w 14"/>
                <a:gd name="T1" fmla="*/ 11 h 11"/>
                <a:gd name="T2" fmla="*/ 14 w 14"/>
                <a:gd name="T3" fmla="*/ 9 h 11"/>
                <a:gd name="T4" fmla="*/ 1 w 14"/>
                <a:gd name="T5" fmla="*/ 0 h 11"/>
                <a:gd name="T6" fmla="*/ 0 w 14"/>
                <a:gd name="T7" fmla="*/ 2 h 11"/>
                <a:gd name="T8" fmla="*/ 12 w 14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1">
                  <a:moveTo>
                    <a:pt x="12" y="11"/>
                  </a:moveTo>
                  <a:lnTo>
                    <a:pt x="14" y="9"/>
                  </a:lnTo>
                  <a:lnTo>
                    <a:pt x="1" y="0"/>
                  </a:lnTo>
                  <a:lnTo>
                    <a:pt x="0" y="2"/>
                  </a:lnTo>
                  <a:lnTo>
                    <a:pt x="12" y="11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52" name="Freeform 6525"/>
            <p:cNvSpPr>
              <a:spLocks/>
            </p:cNvSpPr>
            <p:nvPr/>
          </p:nvSpPr>
          <p:spPr bwMode="auto">
            <a:xfrm>
              <a:off x="5945188" y="5314951"/>
              <a:ext cx="23813" cy="20638"/>
            </a:xfrm>
            <a:custGeom>
              <a:avLst/>
              <a:gdLst>
                <a:gd name="T0" fmla="*/ 2 w 15"/>
                <a:gd name="T1" fmla="*/ 13 h 13"/>
                <a:gd name="T2" fmla="*/ 15 w 15"/>
                <a:gd name="T3" fmla="*/ 1 h 13"/>
                <a:gd name="T4" fmla="*/ 13 w 15"/>
                <a:gd name="T5" fmla="*/ 0 h 13"/>
                <a:gd name="T6" fmla="*/ 0 w 15"/>
                <a:gd name="T7" fmla="*/ 11 h 13"/>
                <a:gd name="T8" fmla="*/ 2 w 15"/>
                <a:gd name="T9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3">
                  <a:moveTo>
                    <a:pt x="2" y="13"/>
                  </a:moveTo>
                  <a:lnTo>
                    <a:pt x="15" y="1"/>
                  </a:lnTo>
                  <a:lnTo>
                    <a:pt x="13" y="0"/>
                  </a:lnTo>
                  <a:lnTo>
                    <a:pt x="0" y="11"/>
                  </a:lnTo>
                  <a:lnTo>
                    <a:pt x="2" y="13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53" name="Freeform 6526"/>
            <p:cNvSpPr>
              <a:spLocks/>
            </p:cNvSpPr>
            <p:nvPr/>
          </p:nvSpPr>
          <p:spPr bwMode="auto">
            <a:xfrm>
              <a:off x="5927725" y="5321301"/>
              <a:ext cx="20638" cy="12700"/>
            </a:xfrm>
            <a:custGeom>
              <a:avLst/>
              <a:gdLst>
                <a:gd name="T0" fmla="*/ 12 w 13"/>
                <a:gd name="T1" fmla="*/ 8 h 8"/>
                <a:gd name="T2" fmla="*/ 13 w 13"/>
                <a:gd name="T3" fmla="*/ 6 h 8"/>
                <a:gd name="T4" fmla="*/ 1 w 13"/>
                <a:gd name="T5" fmla="*/ 0 h 8"/>
                <a:gd name="T6" fmla="*/ 0 w 13"/>
                <a:gd name="T7" fmla="*/ 2 h 8"/>
                <a:gd name="T8" fmla="*/ 12 w 13"/>
                <a:gd name="T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8">
                  <a:moveTo>
                    <a:pt x="12" y="8"/>
                  </a:moveTo>
                  <a:lnTo>
                    <a:pt x="13" y="6"/>
                  </a:lnTo>
                  <a:lnTo>
                    <a:pt x="1" y="0"/>
                  </a:lnTo>
                  <a:lnTo>
                    <a:pt x="0" y="2"/>
                  </a:lnTo>
                  <a:lnTo>
                    <a:pt x="12" y="8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54" name="Freeform 6527"/>
            <p:cNvSpPr>
              <a:spLocks/>
            </p:cNvSpPr>
            <p:nvPr/>
          </p:nvSpPr>
          <p:spPr bwMode="auto">
            <a:xfrm>
              <a:off x="5927725" y="5318126"/>
              <a:ext cx="20638" cy="17463"/>
            </a:xfrm>
            <a:custGeom>
              <a:avLst/>
              <a:gdLst>
                <a:gd name="T0" fmla="*/ 1 w 13"/>
                <a:gd name="T1" fmla="*/ 11 h 11"/>
                <a:gd name="T2" fmla="*/ 13 w 13"/>
                <a:gd name="T3" fmla="*/ 2 h 11"/>
                <a:gd name="T4" fmla="*/ 12 w 13"/>
                <a:gd name="T5" fmla="*/ 0 h 11"/>
                <a:gd name="T6" fmla="*/ 0 w 13"/>
                <a:gd name="T7" fmla="*/ 9 h 11"/>
                <a:gd name="T8" fmla="*/ 1 w 13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1">
                  <a:moveTo>
                    <a:pt x="1" y="11"/>
                  </a:moveTo>
                  <a:lnTo>
                    <a:pt x="13" y="2"/>
                  </a:lnTo>
                  <a:lnTo>
                    <a:pt x="12" y="0"/>
                  </a:lnTo>
                  <a:lnTo>
                    <a:pt x="0" y="9"/>
                  </a:lnTo>
                  <a:lnTo>
                    <a:pt x="1" y="11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55" name="Freeform 6528"/>
            <p:cNvSpPr>
              <a:spLocks/>
            </p:cNvSpPr>
            <p:nvPr/>
          </p:nvSpPr>
          <p:spPr bwMode="auto">
            <a:xfrm>
              <a:off x="5910263" y="5324476"/>
              <a:ext cx="17463" cy="11113"/>
            </a:xfrm>
            <a:custGeom>
              <a:avLst/>
              <a:gdLst>
                <a:gd name="T0" fmla="*/ 11 w 11"/>
                <a:gd name="T1" fmla="*/ 7 h 7"/>
                <a:gd name="T2" fmla="*/ 11 w 11"/>
                <a:gd name="T3" fmla="*/ 5 h 7"/>
                <a:gd name="T4" fmla="*/ 0 w 11"/>
                <a:gd name="T5" fmla="*/ 0 h 7"/>
                <a:gd name="T6" fmla="*/ 0 w 11"/>
                <a:gd name="T7" fmla="*/ 3 h 7"/>
                <a:gd name="T8" fmla="*/ 11 w 11"/>
                <a:gd name="T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">
                  <a:moveTo>
                    <a:pt x="11" y="7"/>
                  </a:moveTo>
                  <a:lnTo>
                    <a:pt x="11" y="5"/>
                  </a:lnTo>
                  <a:lnTo>
                    <a:pt x="0" y="0"/>
                  </a:lnTo>
                  <a:lnTo>
                    <a:pt x="0" y="3"/>
                  </a:lnTo>
                  <a:lnTo>
                    <a:pt x="11" y="7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56" name="Freeform 6529"/>
            <p:cNvSpPr>
              <a:spLocks/>
            </p:cNvSpPr>
            <p:nvPr/>
          </p:nvSpPr>
          <p:spPr bwMode="auto">
            <a:xfrm>
              <a:off x="6048375" y="5392739"/>
              <a:ext cx="22225" cy="19050"/>
            </a:xfrm>
            <a:custGeom>
              <a:avLst/>
              <a:gdLst>
                <a:gd name="T0" fmla="*/ 1 w 14"/>
                <a:gd name="T1" fmla="*/ 12 h 12"/>
                <a:gd name="T2" fmla="*/ 14 w 14"/>
                <a:gd name="T3" fmla="*/ 2 h 12"/>
                <a:gd name="T4" fmla="*/ 13 w 14"/>
                <a:gd name="T5" fmla="*/ 0 h 12"/>
                <a:gd name="T6" fmla="*/ 0 w 14"/>
                <a:gd name="T7" fmla="*/ 10 h 12"/>
                <a:gd name="T8" fmla="*/ 1 w 14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2">
                  <a:moveTo>
                    <a:pt x="1" y="12"/>
                  </a:moveTo>
                  <a:lnTo>
                    <a:pt x="14" y="2"/>
                  </a:lnTo>
                  <a:lnTo>
                    <a:pt x="13" y="0"/>
                  </a:lnTo>
                  <a:lnTo>
                    <a:pt x="0" y="10"/>
                  </a:lnTo>
                  <a:lnTo>
                    <a:pt x="1" y="12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57" name="Freeform 6530"/>
            <p:cNvSpPr>
              <a:spLocks/>
            </p:cNvSpPr>
            <p:nvPr/>
          </p:nvSpPr>
          <p:spPr bwMode="auto">
            <a:xfrm>
              <a:off x="6046788" y="5386389"/>
              <a:ext cx="23813" cy="25400"/>
            </a:xfrm>
            <a:custGeom>
              <a:avLst/>
              <a:gdLst>
                <a:gd name="T0" fmla="*/ 14 w 15"/>
                <a:gd name="T1" fmla="*/ 16 h 16"/>
                <a:gd name="T2" fmla="*/ 15 w 15"/>
                <a:gd name="T3" fmla="*/ 15 h 16"/>
                <a:gd name="T4" fmla="*/ 1 w 15"/>
                <a:gd name="T5" fmla="*/ 0 h 16"/>
                <a:gd name="T6" fmla="*/ 0 w 15"/>
                <a:gd name="T7" fmla="*/ 1 h 16"/>
                <a:gd name="T8" fmla="*/ 14 w 15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6">
                  <a:moveTo>
                    <a:pt x="14" y="16"/>
                  </a:moveTo>
                  <a:lnTo>
                    <a:pt x="15" y="15"/>
                  </a:lnTo>
                  <a:lnTo>
                    <a:pt x="1" y="0"/>
                  </a:lnTo>
                  <a:lnTo>
                    <a:pt x="0" y="1"/>
                  </a:lnTo>
                  <a:lnTo>
                    <a:pt x="14" y="16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58" name="Freeform 6531"/>
            <p:cNvSpPr>
              <a:spLocks/>
            </p:cNvSpPr>
            <p:nvPr/>
          </p:nvSpPr>
          <p:spPr bwMode="auto">
            <a:xfrm>
              <a:off x="6069013" y="5397501"/>
              <a:ext cx="19050" cy="14288"/>
            </a:xfrm>
            <a:custGeom>
              <a:avLst/>
              <a:gdLst>
                <a:gd name="T0" fmla="*/ 1 w 12"/>
                <a:gd name="T1" fmla="*/ 9 h 9"/>
                <a:gd name="T2" fmla="*/ 12 w 12"/>
                <a:gd name="T3" fmla="*/ 3 h 9"/>
                <a:gd name="T4" fmla="*/ 11 w 12"/>
                <a:gd name="T5" fmla="*/ 0 h 9"/>
                <a:gd name="T6" fmla="*/ 0 w 12"/>
                <a:gd name="T7" fmla="*/ 8 h 9"/>
                <a:gd name="T8" fmla="*/ 1 w 12"/>
                <a:gd name="T9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9">
                  <a:moveTo>
                    <a:pt x="1" y="9"/>
                  </a:moveTo>
                  <a:lnTo>
                    <a:pt x="12" y="3"/>
                  </a:lnTo>
                  <a:lnTo>
                    <a:pt x="11" y="0"/>
                  </a:lnTo>
                  <a:lnTo>
                    <a:pt x="0" y="8"/>
                  </a:lnTo>
                  <a:lnTo>
                    <a:pt x="1" y="9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59" name="Freeform 6532"/>
            <p:cNvSpPr>
              <a:spLocks/>
            </p:cNvSpPr>
            <p:nvPr/>
          </p:nvSpPr>
          <p:spPr bwMode="auto">
            <a:xfrm>
              <a:off x="6069013" y="5392739"/>
              <a:ext cx="19050" cy="19050"/>
            </a:xfrm>
            <a:custGeom>
              <a:avLst/>
              <a:gdLst>
                <a:gd name="T0" fmla="*/ 11 w 12"/>
                <a:gd name="T1" fmla="*/ 12 h 12"/>
                <a:gd name="T2" fmla="*/ 12 w 12"/>
                <a:gd name="T3" fmla="*/ 11 h 12"/>
                <a:gd name="T4" fmla="*/ 1 w 12"/>
                <a:gd name="T5" fmla="*/ 0 h 12"/>
                <a:gd name="T6" fmla="*/ 0 w 12"/>
                <a:gd name="T7" fmla="*/ 2 h 12"/>
                <a:gd name="T8" fmla="*/ 11 w 12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2">
                  <a:moveTo>
                    <a:pt x="11" y="12"/>
                  </a:moveTo>
                  <a:lnTo>
                    <a:pt x="12" y="11"/>
                  </a:lnTo>
                  <a:lnTo>
                    <a:pt x="1" y="0"/>
                  </a:lnTo>
                  <a:lnTo>
                    <a:pt x="0" y="2"/>
                  </a:lnTo>
                  <a:lnTo>
                    <a:pt x="11" y="12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60" name="Freeform 6533"/>
            <p:cNvSpPr>
              <a:spLocks/>
            </p:cNvSpPr>
            <p:nvPr/>
          </p:nvSpPr>
          <p:spPr bwMode="auto">
            <a:xfrm>
              <a:off x="6086475" y="5403851"/>
              <a:ext cx="14288" cy="7938"/>
            </a:xfrm>
            <a:custGeom>
              <a:avLst/>
              <a:gdLst>
                <a:gd name="T0" fmla="*/ 1 w 9"/>
                <a:gd name="T1" fmla="*/ 5 h 5"/>
                <a:gd name="T2" fmla="*/ 9 w 9"/>
                <a:gd name="T3" fmla="*/ 1 h 5"/>
                <a:gd name="T4" fmla="*/ 8 w 9"/>
                <a:gd name="T5" fmla="*/ 0 h 5"/>
                <a:gd name="T6" fmla="*/ 0 w 9"/>
                <a:gd name="T7" fmla="*/ 4 h 5"/>
                <a:gd name="T8" fmla="*/ 1 w 9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5">
                  <a:moveTo>
                    <a:pt x="1" y="5"/>
                  </a:moveTo>
                  <a:lnTo>
                    <a:pt x="9" y="1"/>
                  </a:lnTo>
                  <a:lnTo>
                    <a:pt x="8" y="0"/>
                  </a:lnTo>
                  <a:lnTo>
                    <a:pt x="0" y="4"/>
                  </a:lnTo>
                  <a:lnTo>
                    <a:pt x="1" y="5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61" name="Freeform 6534"/>
            <p:cNvSpPr>
              <a:spLocks/>
            </p:cNvSpPr>
            <p:nvPr/>
          </p:nvSpPr>
          <p:spPr bwMode="auto">
            <a:xfrm>
              <a:off x="5983288" y="5392739"/>
              <a:ext cx="22225" cy="19050"/>
            </a:xfrm>
            <a:custGeom>
              <a:avLst/>
              <a:gdLst>
                <a:gd name="T0" fmla="*/ 13 w 14"/>
                <a:gd name="T1" fmla="*/ 12 h 12"/>
                <a:gd name="T2" fmla="*/ 14 w 14"/>
                <a:gd name="T3" fmla="*/ 10 h 12"/>
                <a:gd name="T4" fmla="*/ 2 w 14"/>
                <a:gd name="T5" fmla="*/ 0 h 12"/>
                <a:gd name="T6" fmla="*/ 0 w 14"/>
                <a:gd name="T7" fmla="*/ 2 h 12"/>
                <a:gd name="T8" fmla="*/ 13 w 14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2">
                  <a:moveTo>
                    <a:pt x="13" y="12"/>
                  </a:moveTo>
                  <a:lnTo>
                    <a:pt x="14" y="10"/>
                  </a:lnTo>
                  <a:lnTo>
                    <a:pt x="2" y="0"/>
                  </a:lnTo>
                  <a:lnTo>
                    <a:pt x="0" y="2"/>
                  </a:lnTo>
                  <a:lnTo>
                    <a:pt x="13" y="12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62" name="Freeform 6535"/>
            <p:cNvSpPr>
              <a:spLocks/>
            </p:cNvSpPr>
            <p:nvPr/>
          </p:nvSpPr>
          <p:spPr bwMode="auto">
            <a:xfrm>
              <a:off x="5983288" y="5386389"/>
              <a:ext cx="25400" cy="25400"/>
            </a:xfrm>
            <a:custGeom>
              <a:avLst/>
              <a:gdLst>
                <a:gd name="T0" fmla="*/ 2 w 16"/>
                <a:gd name="T1" fmla="*/ 16 h 16"/>
                <a:gd name="T2" fmla="*/ 16 w 16"/>
                <a:gd name="T3" fmla="*/ 1 h 16"/>
                <a:gd name="T4" fmla="*/ 14 w 16"/>
                <a:gd name="T5" fmla="*/ 0 h 16"/>
                <a:gd name="T6" fmla="*/ 0 w 16"/>
                <a:gd name="T7" fmla="*/ 15 h 16"/>
                <a:gd name="T8" fmla="*/ 2 w 16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6">
                  <a:moveTo>
                    <a:pt x="2" y="16"/>
                  </a:moveTo>
                  <a:lnTo>
                    <a:pt x="16" y="1"/>
                  </a:lnTo>
                  <a:lnTo>
                    <a:pt x="14" y="0"/>
                  </a:lnTo>
                  <a:lnTo>
                    <a:pt x="0" y="15"/>
                  </a:lnTo>
                  <a:lnTo>
                    <a:pt x="2" y="16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63" name="Freeform 6536"/>
            <p:cNvSpPr>
              <a:spLocks/>
            </p:cNvSpPr>
            <p:nvPr/>
          </p:nvSpPr>
          <p:spPr bwMode="auto">
            <a:xfrm>
              <a:off x="5965825" y="5397501"/>
              <a:ext cx="20638" cy="14288"/>
            </a:xfrm>
            <a:custGeom>
              <a:avLst/>
              <a:gdLst>
                <a:gd name="T0" fmla="*/ 11 w 13"/>
                <a:gd name="T1" fmla="*/ 9 h 9"/>
                <a:gd name="T2" fmla="*/ 13 w 13"/>
                <a:gd name="T3" fmla="*/ 7 h 9"/>
                <a:gd name="T4" fmla="*/ 2 w 13"/>
                <a:gd name="T5" fmla="*/ 0 h 9"/>
                <a:gd name="T6" fmla="*/ 0 w 13"/>
                <a:gd name="T7" fmla="*/ 3 h 9"/>
                <a:gd name="T8" fmla="*/ 11 w 13"/>
                <a:gd name="T9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9">
                  <a:moveTo>
                    <a:pt x="11" y="9"/>
                  </a:moveTo>
                  <a:lnTo>
                    <a:pt x="13" y="7"/>
                  </a:lnTo>
                  <a:lnTo>
                    <a:pt x="2" y="0"/>
                  </a:lnTo>
                  <a:lnTo>
                    <a:pt x="0" y="3"/>
                  </a:lnTo>
                  <a:lnTo>
                    <a:pt x="11" y="9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64" name="Freeform 6537"/>
            <p:cNvSpPr>
              <a:spLocks/>
            </p:cNvSpPr>
            <p:nvPr/>
          </p:nvSpPr>
          <p:spPr bwMode="auto">
            <a:xfrm>
              <a:off x="5965825" y="5392739"/>
              <a:ext cx="20638" cy="19050"/>
            </a:xfrm>
            <a:custGeom>
              <a:avLst/>
              <a:gdLst>
                <a:gd name="T0" fmla="*/ 2 w 13"/>
                <a:gd name="T1" fmla="*/ 12 h 12"/>
                <a:gd name="T2" fmla="*/ 13 w 13"/>
                <a:gd name="T3" fmla="*/ 2 h 12"/>
                <a:gd name="T4" fmla="*/ 11 w 13"/>
                <a:gd name="T5" fmla="*/ 0 h 12"/>
                <a:gd name="T6" fmla="*/ 0 w 13"/>
                <a:gd name="T7" fmla="*/ 10 h 12"/>
                <a:gd name="T8" fmla="*/ 2 w 13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2">
                  <a:moveTo>
                    <a:pt x="2" y="12"/>
                  </a:moveTo>
                  <a:lnTo>
                    <a:pt x="13" y="2"/>
                  </a:lnTo>
                  <a:lnTo>
                    <a:pt x="11" y="0"/>
                  </a:lnTo>
                  <a:lnTo>
                    <a:pt x="0" y="10"/>
                  </a:lnTo>
                  <a:lnTo>
                    <a:pt x="2" y="12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65" name="Freeform 6538"/>
            <p:cNvSpPr>
              <a:spLocks/>
            </p:cNvSpPr>
            <p:nvPr/>
          </p:nvSpPr>
          <p:spPr bwMode="auto">
            <a:xfrm>
              <a:off x="5954713" y="5402264"/>
              <a:ext cx="14288" cy="9525"/>
            </a:xfrm>
            <a:custGeom>
              <a:avLst/>
              <a:gdLst>
                <a:gd name="T0" fmla="*/ 7 w 9"/>
                <a:gd name="T1" fmla="*/ 6 h 6"/>
                <a:gd name="T2" fmla="*/ 9 w 9"/>
                <a:gd name="T3" fmla="*/ 4 h 6"/>
                <a:gd name="T4" fmla="*/ 1 w 9"/>
                <a:gd name="T5" fmla="*/ 0 h 6"/>
                <a:gd name="T6" fmla="*/ 0 w 9"/>
                <a:gd name="T7" fmla="*/ 2 h 6"/>
                <a:gd name="T8" fmla="*/ 7 w 9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6">
                  <a:moveTo>
                    <a:pt x="7" y="6"/>
                  </a:moveTo>
                  <a:lnTo>
                    <a:pt x="9" y="4"/>
                  </a:lnTo>
                  <a:lnTo>
                    <a:pt x="1" y="0"/>
                  </a:lnTo>
                  <a:lnTo>
                    <a:pt x="0" y="2"/>
                  </a:lnTo>
                  <a:lnTo>
                    <a:pt x="7" y="6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66" name="Freeform 6539"/>
            <p:cNvSpPr>
              <a:spLocks/>
            </p:cNvSpPr>
            <p:nvPr/>
          </p:nvSpPr>
          <p:spPr bwMode="auto">
            <a:xfrm>
              <a:off x="6000750" y="5216526"/>
              <a:ext cx="19050" cy="17463"/>
            </a:xfrm>
            <a:custGeom>
              <a:avLst/>
              <a:gdLst>
                <a:gd name="T0" fmla="*/ 2 w 12"/>
                <a:gd name="T1" fmla="*/ 11 h 11"/>
                <a:gd name="T2" fmla="*/ 12 w 12"/>
                <a:gd name="T3" fmla="*/ 1 h 11"/>
                <a:gd name="T4" fmla="*/ 10 w 12"/>
                <a:gd name="T5" fmla="*/ 0 h 11"/>
                <a:gd name="T6" fmla="*/ 0 w 12"/>
                <a:gd name="T7" fmla="*/ 9 h 11"/>
                <a:gd name="T8" fmla="*/ 2 w 12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1">
                  <a:moveTo>
                    <a:pt x="2" y="11"/>
                  </a:moveTo>
                  <a:lnTo>
                    <a:pt x="12" y="1"/>
                  </a:lnTo>
                  <a:lnTo>
                    <a:pt x="10" y="0"/>
                  </a:lnTo>
                  <a:lnTo>
                    <a:pt x="0" y="9"/>
                  </a:lnTo>
                  <a:lnTo>
                    <a:pt x="2" y="11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67" name="Freeform 6540"/>
            <p:cNvSpPr>
              <a:spLocks/>
            </p:cNvSpPr>
            <p:nvPr/>
          </p:nvSpPr>
          <p:spPr bwMode="auto">
            <a:xfrm>
              <a:off x="6000750" y="5216526"/>
              <a:ext cx="19050" cy="20638"/>
            </a:xfrm>
            <a:custGeom>
              <a:avLst/>
              <a:gdLst>
                <a:gd name="T0" fmla="*/ 10 w 12"/>
                <a:gd name="T1" fmla="*/ 13 h 13"/>
                <a:gd name="T2" fmla="*/ 12 w 12"/>
                <a:gd name="T3" fmla="*/ 12 h 13"/>
                <a:gd name="T4" fmla="*/ 3 w 12"/>
                <a:gd name="T5" fmla="*/ 0 h 13"/>
                <a:gd name="T6" fmla="*/ 0 w 12"/>
                <a:gd name="T7" fmla="*/ 1 h 13"/>
                <a:gd name="T8" fmla="*/ 10 w 12"/>
                <a:gd name="T9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3">
                  <a:moveTo>
                    <a:pt x="10" y="13"/>
                  </a:moveTo>
                  <a:lnTo>
                    <a:pt x="12" y="12"/>
                  </a:lnTo>
                  <a:lnTo>
                    <a:pt x="3" y="0"/>
                  </a:lnTo>
                  <a:lnTo>
                    <a:pt x="0" y="1"/>
                  </a:lnTo>
                  <a:lnTo>
                    <a:pt x="10" y="13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68" name="Freeform 6541"/>
            <p:cNvSpPr>
              <a:spLocks/>
            </p:cNvSpPr>
            <p:nvPr/>
          </p:nvSpPr>
          <p:spPr bwMode="auto">
            <a:xfrm>
              <a:off x="5986463" y="5214939"/>
              <a:ext cx="17463" cy="14288"/>
            </a:xfrm>
            <a:custGeom>
              <a:avLst/>
              <a:gdLst>
                <a:gd name="T0" fmla="*/ 1 w 11"/>
                <a:gd name="T1" fmla="*/ 9 h 9"/>
                <a:gd name="T2" fmla="*/ 11 w 11"/>
                <a:gd name="T3" fmla="*/ 2 h 9"/>
                <a:gd name="T4" fmla="*/ 9 w 11"/>
                <a:gd name="T5" fmla="*/ 0 h 9"/>
                <a:gd name="T6" fmla="*/ 0 w 11"/>
                <a:gd name="T7" fmla="*/ 6 h 9"/>
                <a:gd name="T8" fmla="*/ 1 w 11"/>
                <a:gd name="T9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9">
                  <a:moveTo>
                    <a:pt x="1" y="9"/>
                  </a:moveTo>
                  <a:lnTo>
                    <a:pt x="11" y="2"/>
                  </a:lnTo>
                  <a:lnTo>
                    <a:pt x="9" y="0"/>
                  </a:lnTo>
                  <a:lnTo>
                    <a:pt x="0" y="6"/>
                  </a:lnTo>
                  <a:lnTo>
                    <a:pt x="1" y="9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69" name="Freeform 6542"/>
            <p:cNvSpPr>
              <a:spLocks/>
            </p:cNvSpPr>
            <p:nvPr/>
          </p:nvSpPr>
          <p:spPr bwMode="auto">
            <a:xfrm>
              <a:off x="5986463" y="5216526"/>
              <a:ext cx="17463" cy="17463"/>
            </a:xfrm>
            <a:custGeom>
              <a:avLst/>
              <a:gdLst>
                <a:gd name="T0" fmla="*/ 9 w 11"/>
                <a:gd name="T1" fmla="*/ 11 h 11"/>
                <a:gd name="T2" fmla="*/ 11 w 11"/>
                <a:gd name="T3" fmla="*/ 9 h 11"/>
                <a:gd name="T4" fmla="*/ 1 w 11"/>
                <a:gd name="T5" fmla="*/ 0 h 11"/>
                <a:gd name="T6" fmla="*/ 0 w 11"/>
                <a:gd name="T7" fmla="*/ 1 h 11"/>
                <a:gd name="T8" fmla="*/ 9 w 11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1">
                  <a:moveTo>
                    <a:pt x="9" y="11"/>
                  </a:moveTo>
                  <a:lnTo>
                    <a:pt x="11" y="9"/>
                  </a:lnTo>
                  <a:lnTo>
                    <a:pt x="1" y="0"/>
                  </a:lnTo>
                  <a:lnTo>
                    <a:pt x="0" y="1"/>
                  </a:lnTo>
                  <a:lnTo>
                    <a:pt x="9" y="11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70" name="Freeform 6543"/>
            <p:cNvSpPr>
              <a:spLocks/>
            </p:cNvSpPr>
            <p:nvPr/>
          </p:nvSpPr>
          <p:spPr bwMode="auto">
            <a:xfrm>
              <a:off x="6035675" y="5216526"/>
              <a:ext cx="15875" cy="17463"/>
            </a:xfrm>
            <a:custGeom>
              <a:avLst/>
              <a:gdLst>
                <a:gd name="T0" fmla="*/ 9 w 10"/>
                <a:gd name="T1" fmla="*/ 11 h 11"/>
                <a:gd name="T2" fmla="*/ 10 w 10"/>
                <a:gd name="T3" fmla="*/ 9 h 11"/>
                <a:gd name="T4" fmla="*/ 1 w 10"/>
                <a:gd name="T5" fmla="*/ 0 h 11"/>
                <a:gd name="T6" fmla="*/ 0 w 10"/>
                <a:gd name="T7" fmla="*/ 1 h 11"/>
                <a:gd name="T8" fmla="*/ 9 w 10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1">
                  <a:moveTo>
                    <a:pt x="9" y="11"/>
                  </a:moveTo>
                  <a:lnTo>
                    <a:pt x="10" y="9"/>
                  </a:lnTo>
                  <a:lnTo>
                    <a:pt x="1" y="0"/>
                  </a:lnTo>
                  <a:lnTo>
                    <a:pt x="0" y="1"/>
                  </a:lnTo>
                  <a:lnTo>
                    <a:pt x="9" y="11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71" name="Freeform 6544"/>
            <p:cNvSpPr>
              <a:spLocks/>
            </p:cNvSpPr>
            <p:nvPr/>
          </p:nvSpPr>
          <p:spPr bwMode="auto">
            <a:xfrm>
              <a:off x="6034088" y="5216526"/>
              <a:ext cx="17463" cy="20638"/>
            </a:xfrm>
            <a:custGeom>
              <a:avLst/>
              <a:gdLst>
                <a:gd name="T0" fmla="*/ 2 w 11"/>
                <a:gd name="T1" fmla="*/ 13 h 13"/>
                <a:gd name="T2" fmla="*/ 11 w 11"/>
                <a:gd name="T3" fmla="*/ 1 h 13"/>
                <a:gd name="T4" fmla="*/ 10 w 11"/>
                <a:gd name="T5" fmla="*/ 0 h 13"/>
                <a:gd name="T6" fmla="*/ 0 w 11"/>
                <a:gd name="T7" fmla="*/ 12 h 13"/>
                <a:gd name="T8" fmla="*/ 2 w 11"/>
                <a:gd name="T9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3">
                  <a:moveTo>
                    <a:pt x="2" y="13"/>
                  </a:moveTo>
                  <a:lnTo>
                    <a:pt x="11" y="1"/>
                  </a:lnTo>
                  <a:lnTo>
                    <a:pt x="10" y="0"/>
                  </a:lnTo>
                  <a:lnTo>
                    <a:pt x="0" y="12"/>
                  </a:lnTo>
                  <a:lnTo>
                    <a:pt x="2" y="13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72" name="Freeform 6545"/>
            <p:cNvSpPr>
              <a:spLocks/>
            </p:cNvSpPr>
            <p:nvPr/>
          </p:nvSpPr>
          <p:spPr bwMode="auto">
            <a:xfrm>
              <a:off x="6049963" y="5214939"/>
              <a:ext cx="17463" cy="14288"/>
            </a:xfrm>
            <a:custGeom>
              <a:avLst/>
              <a:gdLst>
                <a:gd name="T0" fmla="*/ 9 w 11"/>
                <a:gd name="T1" fmla="*/ 9 h 9"/>
                <a:gd name="T2" fmla="*/ 11 w 11"/>
                <a:gd name="T3" fmla="*/ 6 h 9"/>
                <a:gd name="T4" fmla="*/ 1 w 11"/>
                <a:gd name="T5" fmla="*/ 0 h 9"/>
                <a:gd name="T6" fmla="*/ 0 w 11"/>
                <a:gd name="T7" fmla="*/ 2 h 9"/>
                <a:gd name="T8" fmla="*/ 9 w 11"/>
                <a:gd name="T9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9">
                  <a:moveTo>
                    <a:pt x="9" y="9"/>
                  </a:moveTo>
                  <a:lnTo>
                    <a:pt x="11" y="6"/>
                  </a:lnTo>
                  <a:lnTo>
                    <a:pt x="1" y="0"/>
                  </a:lnTo>
                  <a:lnTo>
                    <a:pt x="0" y="2"/>
                  </a:lnTo>
                  <a:lnTo>
                    <a:pt x="9" y="9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73" name="Freeform 6546"/>
            <p:cNvSpPr>
              <a:spLocks/>
            </p:cNvSpPr>
            <p:nvPr/>
          </p:nvSpPr>
          <p:spPr bwMode="auto">
            <a:xfrm>
              <a:off x="6049963" y="5216526"/>
              <a:ext cx="17463" cy="17463"/>
            </a:xfrm>
            <a:custGeom>
              <a:avLst/>
              <a:gdLst>
                <a:gd name="T0" fmla="*/ 1 w 11"/>
                <a:gd name="T1" fmla="*/ 11 h 11"/>
                <a:gd name="T2" fmla="*/ 11 w 11"/>
                <a:gd name="T3" fmla="*/ 1 h 11"/>
                <a:gd name="T4" fmla="*/ 9 w 11"/>
                <a:gd name="T5" fmla="*/ 0 h 11"/>
                <a:gd name="T6" fmla="*/ 0 w 11"/>
                <a:gd name="T7" fmla="*/ 9 h 11"/>
                <a:gd name="T8" fmla="*/ 1 w 11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1">
                  <a:moveTo>
                    <a:pt x="1" y="11"/>
                  </a:moveTo>
                  <a:lnTo>
                    <a:pt x="11" y="1"/>
                  </a:lnTo>
                  <a:lnTo>
                    <a:pt x="9" y="0"/>
                  </a:lnTo>
                  <a:lnTo>
                    <a:pt x="0" y="9"/>
                  </a:lnTo>
                  <a:lnTo>
                    <a:pt x="1" y="11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74" name="Freeform 6547"/>
            <p:cNvSpPr>
              <a:spLocks/>
            </p:cNvSpPr>
            <p:nvPr/>
          </p:nvSpPr>
          <p:spPr bwMode="auto">
            <a:xfrm>
              <a:off x="6064250" y="5216526"/>
              <a:ext cx="11113" cy="7938"/>
            </a:xfrm>
            <a:custGeom>
              <a:avLst/>
              <a:gdLst>
                <a:gd name="T0" fmla="*/ 5 w 7"/>
                <a:gd name="T1" fmla="*/ 5 h 5"/>
                <a:gd name="T2" fmla="*/ 7 w 7"/>
                <a:gd name="T3" fmla="*/ 3 h 5"/>
                <a:gd name="T4" fmla="*/ 2 w 7"/>
                <a:gd name="T5" fmla="*/ 0 h 5"/>
                <a:gd name="T6" fmla="*/ 0 w 7"/>
                <a:gd name="T7" fmla="*/ 1 h 5"/>
                <a:gd name="T8" fmla="*/ 5 w 7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5">
                  <a:moveTo>
                    <a:pt x="5" y="5"/>
                  </a:moveTo>
                  <a:lnTo>
                    <a:pt x="7" y="3"/>
                  </a:lnTo>
                  <a:lnTo>
                    <a:pt x="2" y="0"/>
                  </a:lnTo>
                  <a:lnTo>
                    <a:pt x="0" y="1"/>
                  </a:lnTo>
                  <a:lnTo>
                    <a:pt x="5" y="5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75" name="Freeform 6548"/>
            <p:cNvSpPr>
              <a:spLocks/>
            </p:cNvSpPr>
            <p:nvPr/>
          </p:nvSpPr>
          <p:spPr bwMode="auto">
            <a:xfrm>
              <a:off x="5975350" y="5214939"/>
              <a:ext cx="12700" cy="9525"/>
            </a:xfrm>
            <a:custGeom>
              <a:avLst/>
              <a:gdLst>
                <a:gd name="T0" fmla="*/ 3 w 8"/>
                <a:gd name="T1" fmla="*/ 6 h 6"/>
                <a:gd name="T2" fmla="*/ 8 w 8"/>
                <a:gd name="T3" fmla="*/ 2 h 6"/>
                <a:gd name="T4" fmla="*/ 7 w 8"/>
                <a:gd name="T5" fmla="*/ 0 h 6"/>
                <a:gd name="T6" fmla="*/ 0 w 8"/>
                <a:gd name="T7" fmla="*/ 4 h 6"/>
                <a:gd name="T8" fmla="*/ 3 w 8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6">
                  <a:moveTo>
                    <a:pt x="3" y="6"/>
                  </a:moveTo>
                  <a:lnTo>
                    <a:pt x="8" y="2"/>
                  </a:lnTo>
                  <a:lnTo>
                    <a:pt x="7" y="0"/>
                  </a:lnTo>
                  <a:lnTo>
                    <a:pt x="0" y="4"/>
                  </a:lnTo>
                  <a:lnTo>
                    <a:pt x="3" y="6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76" name="Freeform 6549"/>
            <p:cNvSpPr>
              <a:spLocks/>
            </p:cNvSpPr>
            <p:nvPr/>
          </p:nvSpPr>
          <p:spPr bwMode="auto">
            <a:xfrm>
              <a:off x="5918200" y="5411789"/>
              <a:ext cx="12700" cy="7938"/>
            </a:xfrm>
            <a:custGeom>
              <a:avLst/>
              <a:gdLst>
                <a:gd name="T0" fmla="*/ 0 w 7"/>
                <a:gd name="T1" fmla="*/ 2 h 4"/>
                <a:gd name="T2" fmla="*/ 2 w 7"/>
                <a:gd name="T3" fmla="*/ 4 h 4"/>
                <a:gd name="T4" fmla="*/ 5 w 7"/>
                <a:gd name="T5" fmla="*/ 4 h 4"/>
                <a:gd name="T6" fmla="*/ 7 w 7"/>
                <a:gd name="T7" fmla="*/ 2 h 4"/>
                <a:gd name="T8" fmla="*/ 7 w 7"/>
                <a:gd name="T9" fmla="*/ 2 h 4"/>
                <a:gd name="T10" fmla="*/ 5 w 7"/>
                <a:gd name="T11" fmla="*/ 0 h 4"/>
                <a:gd name="T12" fmla="*/ 2 w 7"/>
                <a:gd name="T13" fmla="*/ 0 h 4"/>
                <a:gd name="T14" fmla="*/ 0 w 7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4">
                  <a:moveTo>
                    <a:pt x="0" y="2"/>
                  </a:moveTo>
                  <a:cubicBezTo>
                    <a:pt x="0" y="3"/>
                    <a:pt x="1" y="4"/>
                    <a:pt x="2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4"/>
                    <a:pt x="7" y="3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1"/>
                    <a:pt x="6" y="0"/>
                    <a:pt x="5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77" name="Freeform 6550"/>
            <p:cNvSpPr>
              <a:spLocks/>
            </p:cNvSpPr>
            <p:nvPr/>
          </p:nvSpPr>
          <p:spPr bwMode="auto">
            <a:xfrm>
              <a:off x="5918200" y="5419726"/>
              <a:ext cx="12700" cy="4763"/>
            </a:xfrm>
            <a:custGeom>
              <a:avLst/>
              <a:gdLst>
                <a:gd name="T0" fmla="*/ 0 w 7"/>
                <a:gd name="T1" fmla="*/ 1 h 3"/>
                <a:gd name="T2" fmla="*/ 2 w 7"/>
                <a:gd name="T3" fmla="*/ 3 h 3"/>
                <a:gd name="T4" fmla="*/ 5 w 7"/>
                <a:gd name="T5" fmla="*/ 3 h 3"/>
                <a:gd name="T6" fmla="*/ 7 w 7"/>
                <a:gd name="T7" fmla="*/ 1 h 3"/>
                <a:gd name="T8" fmla="*/ 7 w 7"/>
                <a:gd name="T9" fmla="*/ 1 h 3"/>
                <a:gd name="T10" fmla="*/ 5 w 7"/>
                <a:gd name="T11" fmla="*/ 0 h 3"/>
                <a:gd name="T12" fmla="*/ 2 w 7"/>
                <a:gd name="T13" fmla="*/ 0 h 3"/>
                <a:gd name="T14" fmla="*/ 0 w 7"/>
                <a:gd name="T1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3">
                  <a:moveTo>
                    <a:pt x="0" y="1"/>
                  </a:moveTo>
                  <a:cubicBezTo>
                    <a:pt x="0" y="2"/>
                    <a:pt x="1" y="3"/>
                    <a:pt x="2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6" y="3"/>
                    <a:pt x="7" y="2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6" y="0"/>
                    <a:pt x="5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78" name="Freeform 6551"/>
            <p:cNvSpPr>
              <a:spLocks/>
            </p:cNvSpPr>
            <p:nvPr/>
          </p:nvSpPr>
          <p:spPr bwMode="auto">
            <a:xfrm>
              <a:off x="5918200" y="5424489"/>
              <a:ext cx="12700" cy="6350"/>
            </a:xfrm>
            <a:custGeom>
              <a:avLst/>
              <a:gdLst>
                <a:gd name="T0" fmla="*/ 0 w 7"/>
                <a:gd name="T1" fmla="*/ 2 h 3"/>
                <a:gd name="T2" fmla="*/ 2 w 7"/>
                <a:gd name="T3" fmla="*/ 3 h 3"/>
                <a:gd name="T4" fmla="*/ 5 w 7"/>
                <a:gd name="T5" fmla="*/ 3 h 3"/>
                <a:gd name="T6" fmla="*/ 7 w 7"/>
                <a:gd name="T7" fmla="*/ 2 h 3"/>
                <a:gd name="T8" fmla="*/ 7 w 7"/>
                <a:gd name="T9" fmla="*/ 2 h 3"/>
                <a:gd name="T10" fmla="*/ 5 w 7"/>
                <a:gd name="T11" fmla="*/ 0 h 3"/>
                <a:gd name="T12" fmla="*/ 2 w 7"/>
                <a:gd name="T13" fmla="*/ 0 h 3"/>
                <a:gd name="T14" fmla="*/ 0 w 7"/>
                <a:gd name="T15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3">
                  <a:moveTo>
                    <a:pt x="0" y="2"/>
                  </a:moveTo>
                  <a:cubicBezTo>
                    <a:pt x="0" y="3"/>
                    <a:pt x="1" y="3"/>
                    <a:pt x="2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6" y="3"/>
                    <a:pt x="7" y="3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1"/>
                    <a:pt x="6" y="0"/>
                    <a:pt x="5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79" name="Freeform 6552"/>
            <p:cNvSpPr>
              <a:spLocks/>
            </p:cNvSpPr>
            <p:nvPr/>
          </p:nvSpPr>
          <p:spPr bwMode="auto">
            <a:xfrm>
              <a:off x="5918200" y="5430839"/>
              <a:ext cx="12700" cy="6350"/>
            </a:xfrm>
            <a:custGeom>
              <a:avLst/>
              <a:gdLst>
                <a:gd name="T0" fmla="*/ 0 w 7"/>
                <a:gd name="T1" fmla="*/ 2 h 4"/>
                <a:gd name="T2" fmla="*/ 2 w 7"/>
                <a:gd name="T3" fmla="*/ 4 h 4"/>
                <a:gd name="T4" fmla="*/ 5 w 7"/>
                <a:gd name="T5" fmla="*/ 4 h 4"/>
                <a:gd name="T6" fmla="*/ 7 w 7"/>
                <a:gd name="T7" fmla="*/ 2 h 4"/>
                <a:gd name="T8" fmla="*/ 7 w 7"/>
                <a:gd name="T9" fmla="*/ 2 h 4"/>
                <a:gd name="T10" fmla="*/ 5 w 7"/>
                <a:gd name="T11" fmla="*/ 0 h 4"/>
                <a:gd name="T12" fmla="*/ 2 w 7"/>
                <a:gd name="T13" fmla="*/ 0 h 4"/>
                <a:gd name="T14" fmla="*/ 0 w 7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4">
                  <a:moveTo>
                    <a:pt x="0" y="2"/>
                  </a:moveTo>
                  <a:cubicBezTo>
                    <a:pt x="0" y="3"/>
                    <a:pt x="1" y="4"/>
                    <a:pt x="2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4"/>
                    <a:pt x="7" y="3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1"/>
                    <a:pt x="6" y="0"/>
                    <a:pt x="5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80" name="Freeform 6553"/>
            <p:cNvSpPr>
              <a:spLocks/>
            </p:cNvSpPr>
            <p:nvPr/>
          </p:nvSpPr>
          <p:spPr bwMode="auto">
            <a:xfrm>
              <a:off x="6124575" y="5411789"/>
              <a:ext cx="12700" cy="7938"/>
            </a:xfrm>
            <a:custGeom>
              <a:avLst/>
              <a:gdLst>
                <a:gd name="T0" fmla="*/ 0 w 7"/>
                <a:gd name="T1" fmla="*/ 2 h 4"/>
                <a:gd name="T2" fmla="*/ 2 w 7"/>
                <a:gd name="T3" fmla="*/ 4 h 4"/>
                <a:gd name="T4" fmla="*/ 5 w 7"/>
                <a:gd name="T5" fmla="*/ 4 h 4"/>
                <a:gd name="T6" fmla="*/ 7 w 7"/>
                <a:gd name="T7" fmla="*/ 2 h 4"/>
                <a:gd name="T8" fmla="*/ 7 w 7"/>
                <a:gd name="T9" fmla="*/ 2 h 4"/>
                <a:gd name="T10" fmla="*/ 5 w 7"/>
                <a:gd name="T11" fmla="*/ 0 h 4"/>
                <a:gd name="T12" fmla="*/ 2 w 7"/>
                <a:gd name="T13" fmla="*/ 0 h 4"/>
                <a:gd name="T14" fmla="*/ 0 w 7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4">
                  <a:moveTo>
                    <a:pt x="0" y="2"/>
                  </a:moveTo>
                  <a:cubicBezTo>
                    <a:pt x="0" y="3"/>
                    <a:pt x="1" y="4"/>
                    <a:pt x="2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4"/>
                    <a:pt x="7" y="3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1"/>
                    <a:pt x="6" y="0"/>
                    <a:pt x="5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81" name="Freeform 6554"/>
            <p:cNvSpPr>
              <a:spLocks/>
            </p:cNvSpPr>
            <p:nvPr/>
          </p:nvSpPr>
          <p:spPr bwMode="auto">
            <a:xfrm>
              <a:off x="6124575" y="5419726"/>
              <a:ext cx="12700" cy="4763"/>
            </a:xfrm>
            <a:custGeom>
              <a:avLst/>
              <a:gdLst>
                <a:gd name="T0" fmla="*/ 0 w 7"/>
                <a:gd name="T1" fmla="*/ 1 h 3"/>
                <a:gd name="T2" fmla="*/ 2 w 7"/>
                <a:gd name="T3" fmla="*/ 3 h 3"/>
                <a:gd name="T4" fmla="*/ 5 w 7"/>
                <a:gd name="T5" fmla="*/ 3 h 3"/>
                <a:gd name="T6" fmla="*/ 7 w 7"/>
                <a:gd name="T7" fmla="*/ 1 h 3"/>
                <a:gd name="T8" fmla="*/ 7 w 7"/>
                <a:gd name="T9" fmla="*/ 1 h 3"/>
                <a:gd name="T10" fmla="*/ 5 w 7"/>
                <a:gd name="T11" fmla="*/ 0 h 3"/>
                <a:gd name="T12" fmla="*/ 2 w 7"/>
                <a:gd name="T13" fmla="*/ 0 h 3"/>
                <a:gd name="T14" fmla="*/ 0 w 7"/>
                <a:gd name="T1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3">
                  <a:moveTo>
                    <a:pt x="0" y="1"/>
                  </a:moveTo>
                  <a:cubicBezTo>
                    <a:pt x="0" y="2"/>
                    <a:pt x="1" y="3"/>
                    <a:pt x="2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6" y="3"/>
                    <a:pt x="7" y="2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6" y="0"/>
                    <a:pt x="5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82" name="Freeform 6555"/>
            <p:cNvSpPr>
              <a:spLocks/>
            </p:cNvSpPr>
            <p:nvPr/>
          </p:nvSpPr>
          <p:spPr bwMode="auto">
            <a:xfrm>
              <a:off x="6124575" y="5424489"/>
              <a:ext cx="12700" cy="6350"/>
            </a:xfrm>
            <a:custGeom>
              <a:avLst/>
              <a:gdLst>
                <a:gd name="T0" fmla="*/ 0 w 7"/>
                <a:gd name="T1" fmla="*/ 2 h 3"/>
                <a:gd name="T2" fmla="*/ 2 w 7"/>
                <a:gd name="T3" fmla="*/ 3 h 3"/>
                <a:gd name="T4" fmla="*/ 5 w 7"/>
                <a:gd name="T5" fmla="*/ 3 h 3"/>
                <a:gd name="T6" fmla="*/ 7 w 7"/>
                <a:gd name="T7" fmla="*/ 2 h 3"/>
                <a:gd name="T8" fmla="*/ 7 w 7"/>
                <a:gd name="T9" fmla="*/ 2 h 3"/>
                <a:gd name="T10" fmla="*/ 5 w 7"/>
                <a:gd name="T11" fmla="*/ 0 h 3"/>
                <a:gd name="T12" fmla="*/ 2 w 7"/>
                <a:gd name="T13" fmla="*/ 0 h 3"/>
                <a:gd name="T14" fmla="*/ 0 w 7"/>
                <a:gd name="T15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3">
                  <a:moveTo>
                    <a:pt x="0" y="2"/>
                  </a:moveTo>
                  <a:cubicBezTo>
                    <a:pt x="0" y="3"/>
                    <a:pt x="1" y="3"/>
                    <a:pt x="2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6" y="3"/>
                    <a:pt x="7" y="3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1"/>
                    <a:pt x="6" y="0"/>
                    <a:pt x="5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83" name="Freeform 6556"/>
            <p:cNvSpPr>
              <a:spLocks/>
            </p:cNvSpPr>
            <p:nvPr/>
          </p:nvSpPr>
          <p:spPr bwMode="auto">
            <a:xfrm>
              <a:off x="6124575" y="5430839"/>
              <a:ext cx="12700" cy="6350"/>
            </a:xfrm>
            <a:custGeom>
              <a:avLst/>
              <a:gdLst>
                <a:gd name="T0" fmla="*/ 0 w 7"/>
                <a:gd name="T1" fmla="*/ 2 h 4"/>
                <a:gd name="T2" fmla="*/ 2 w 7"/>
                <a:gd name="T3" fmla="*/ 4 h 4"/>
                <a:gd name="T4" fmla="*/ 5 w 7"/>
                <a:gd name="T5" fmla="*/ 4 h 4"/>
                <a:gd name="T6" fmla="*/ 7 w 7"/>
                <a:gd name="T7" fmla="*/ 2 h 4"/>
                <a:gd name="T8" fmla="*/ 7 w 7"/>
                <a:gd name="T9" fmla="*/ 2 h 4"/>
                <a:gd name="T10" fmla="*/ 5 w 7"/>
                <a:gd name="T11" fmla="*/ 0 h 4"/>
                <a:gd name="T12" fmla="*/ 2 w 7"/>
                <a:gd name="T13" fmla="*/ 0 h 4"/>
                <a:gd name="T14" fmla="*/ 0 w 7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4">
                  <a:moveTo>
                    <a:pt x="0" y="2"/>
                  </a:moveTo>
                  <a:cubicBezTo>
                    <a:pt x="0" y="3"/>
                    <a:pt x="1" y="4"/>
                    <a:pt x="2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4"/>
                    <a:pt x="7" y="3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1"/>
                    <a:pt x="6" y="0"/>
                    <a:pt x="5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84" name="Freeform 6557"/>
            <p:cNvSpPr>
              <a:spLocks/>
            </p:cNvSpPr>
            <p:nvPr/>
          </p:nvSpPr>
          <p:spPr bwMode="auto">
            <a:xfrm>
              <a:off x="5948363" y="5216526"/>
              <a:ext cx="12700" cy="4763"/>
            </a:xfrm>
            <a:custGeom>
              <a:avLst/>
              <a:gdLst>
                <a:gd name="T0" fmla="*/ 0 w 7"/>
                <a:gd name="T1" fmla="*/ 1 h 3"/>
                <a:gd name="T2" fmla="*/ 2 w 7"/>
                <a:gd name="T3" fmla="*/ 3 h 3"/>
                <a:gd name="T4" fmla="*/ 5 w 7"/>
                <a:gd name="T5" fmla="*/ 3 h 3"/>
                <a:gd name="T6" fmla="*/ 7 w 7"/>
                <a:gd name="T7" fmla="*/ 1 h 3"/>
                <a:gd name="T8" fmla="*/ 7 w 7"/>
                <a:gd name="T9" fmla="*/ 1 h 3"/>
                <a:gd name="T10" fmla="*/ 5 w 7"/>
                <a:gd name="T11" fmla="*/ 0 h 3"/>
                <a:gd name="T12" fmla="*/ 2 w 7"/>
                <a:gd name="T13" fmla="*/ 0 h 3"/>
                <a:gd name="T14" fmla="*/ 0 w 7"/>
                <a:gd name="T1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3">
                  <a:moveTo>
                    <a:pt x="0" y="1"/>
                  </a:moveTo>
                  <a:cubicBezTo>
                    <a:pt x="0" y="2"/>
                    <a:pt x="1" y="3"/>
                    <a:pt x="2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6" y="3"/>
                    <a:pt x="7" y="2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6" y="0"/>
                    <a:pt x="5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85" name="Freeform 6558"/>
            <p:cNvSpPr>
              <a:spLocks/>
            </p:cNvSpPr>
            <p:nvPr/>
          </p:nvSpPr>
          <p:spPr bwMode="auto">
            <a:xfrm>
              <a:off x="5948363" y="5221289"/>
              <a:ext cx="12700" cy="6350"/>
            </a:xfrm>
            <a:custGeom>
              <a:avLst/>
              <a:gdLst>
                <a:gd name="T0" fmla="*/ 0 w 7"/>
                <a:gd name="T1" fmla="*/ 2 h 3"/>
                <a:gd name="T2" fmla="*/ 2 w 7"/>
                <a:gd name="T3" fmla="*/ 3 h 3"/>
                <a:gd name="T4" fmla="*/ 5 w 7"/>
                <a:gd name="T5" fmla="*/ 3 h 3"/>
                <a:gd name="T6" fmla="*/ 7 w 7"/>
                <a:gd name="T7" fmla="*/ 2 h 3"/>
                <a:gd name="T8" fmla="*/ 7 w 7"/>
                <a:gd name="T9" fmla="*/ 2 h 3"/>
                <a:gd name="T10" fmla="*/ 5 w 7"/>
                <a:gd name="T11" fmla="*/ 0 h 3"/>
                <a:gd name="T12" fmla="*/ 2 w 7"/>
                <a:gd name="T13" fmla="*/ 0 h 3"/>
                <a:gd name="T14" fmla="*/ 0 w 7"/>
                <a:gd name="T15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3">
                  <a:moveTo>
                    <a:pt x="0" y="2"/>
                  </a:moveTo>
                  <a:cubicBezTo>
                    <a:pt x="0" y="3"/>
                    <a:pt x="1" y="3"/>
                    <a:pt x="2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6" y="3"/>
                    <a:pt x="7" y="3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1"/>
                    <a:pt x="6" y="0"/>
                    <a:pt x="5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86" name="Freeform 6559"/>
            <p:cNvSpPr>
              <a:spLocks/>
            </p:cNvSpPr>
            <p:nvPr/>
          </p:nvSpPr>
          <p:spPr bwMode="auto">
            <a:xfrm>
              <a:off x="5948363" y="5227639"/>
              <a:ext cx="12700" cy="6350"/>
            </a:xfrm>
            <a:custGeom>
              <a:avLst/>
              <a:gdLst>
                <a:gd name="T0" fmla="*/ 0 w 7"/>
                <a:gd name="T1" fmla="*/ 2 h 4"/>
                <a:gd name="T2" fmla="*/ 2 w 7"/>
                <a:gd name="T3" fmla="*/ 4 h 4"/>
                <a:gd name="T4" fmla="*/ 5 w 7"/>
                <a:gd name="T5" fmla="*/ 4 h 4"/>
                <a:gd name="T6" fmla="*/ 7 w 7"/>
                <a:gd name="T7" fmla="*/ 2 h 4"/>
                <a:gd name="T8" fmla="*/ 7 w 7"/>
                <a:gd name="T9" fmla="*/ 2 h 4"/>
                <a:gd name="T10" fmla="*/ 5 w 7"/>
                <a:gd name="T11" fmla="*/ 0 h 4"/>
                <a:gd name="T12" fmla="*/ 2 w 7"/>
                <a:gd name="T13" fmla="*/ 0 h 4"/>
                <a:gd name="T14" fmla="*/ 0 w 7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4">
                  <a:moveTo>
                    <a:pt x="0" y="2"/>
                  </a:moveTo>
                  <a:cubicBezTo>
                    <a:pt x="0" y="3"/>
                    <a:pt x="1" y="4"/>
                    <a:pt x="2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4"/>
                    <a:pt x="7" y="3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1"/>
                    <a:pt x="6" y="0"/>
                    <a:pt x="5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87" name="Freeform 6560"/>
            <p:cNvSpPr>
              <a:spLocks/>
            </p:cNvSpPr>
            <p:nvPr/>
          </p:nvSpPr>
          <p:spPr bwMode="auto">
            <a:xfrm>
              <a:off x="5948363" y="5233989"/>
              <a:ext cx="12700" cy="6350"/>
            </a:xfrm>
            <a:custGeom>
              <a:avLst/>
              <a:gdLst>
                <a:gd name="T0" fmla="*/ 0 w 7"/>
                <a:gd name="T1" fmla="*/ 1 h 3"/>
                <a:gd name="T2" fmla="*/ 2 w 7"/>
                <a:gd name="T3" fmla="*/ 3 h 3"/>
                <a:gd name="T4" fmla="*/ 5 w 7"/>
                <a:gd name="T5" fmla="*/ 3 h 3"/>
                <a:gd name="T6" fmla="*/ 7 w 7"/>
                <a:gd name="T7" fmla="*/ 1 h 3"/>
                <a:gd name="T8" fmla="*/ 7 w 7"/>
                <a:gd name="T9" fmla="*/ 1 h 3"/>
                <a:gd name="T10" fmla="*/ 5 w 7"/>
                <a:gd name="T11" fmla="*/ 0 h 3"/>
                <a:gd name="T12" fmla="*/ 2 w 7"/>
                <a:gd name="T13" fmla="*/ 0 h 3"/>
                <a:gd name="T14" fmla="*/ 0 w 7"/>
                <a:gd name="T1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3">
                  <a:moveTo>
                    <a:pt x="0" y="1"/>
                  </a:moveTo>
                  <a:cubicBezTo>
                    <a:pt x="0" y="2"/>
                    <a:pt x="1" y="3"/>
                    <a:pt x="2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6" y="3"/>
                    <a:pt x="7" y="2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6" y="0"/>
                    <a:pt x="5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88" name="Freeform 6561"/>
            <p:cNvSpPr>
              <a:spLocks/>
            </p:cNvSpPr>
            <p:nvPr/>
          </p:nvSpPr>
          <p:spPr bwMode="auto">
            <a:xfrm>
              <a:off x="6092825" y="5216526"/>
              <a:ext cx="12700" cy="4763"/>
            </a:xfrm>
            <a:custGeom>
              <a:avLst/>
              <a:gdLst>
                <a:gd name="T0" fmla="*/ 0 w 7"/>
                <a:gd name="T1" fmla="*/ 1 h 3"/>
                <a:gd name="T2" fmla="*/ 2 w 7"/>
                <a:gd name="T3" fmla="*/ 3 h 3"/>
                <a:gd name="T4" fmla="*/ 5 w 7"/>
                <a:gd name="T5" fmla="*/ 3 h 3"/>
                <a:gd name="T6" fmla="*/ 7 w 7"/>
                <a:gd name="T7" fmla="*/ 1 h 3"/>
                <a:gd name="T8" fmla="*/ 7 w 7"/>
                <a:gd name="T9" fmla="*/ 1 h 3"/>
                <a:gd name="T10" fmla="*/ 5 w 7"/>
                <a:gd name="T11" fmla="*/ 0 h 3"/>
                <a:gd name="T12" fmla="*/ 2 w 7"/>
                <a:gd name="T13" fmla="*/ 0 h 3"/>
                <a:gd name="T14" fmla="*/ 0 w 7"/>
                <a:gd name="T1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3">
                  <a:moveTo>
                    <a:pt x="0" y="1"/>
                  </a:moveTo>
                  <a:cubicBezTo>
                    <a:pt x="0" y="2"/>
                    <a:pt x="1" y="3"/>
                    <a:pt x="2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6" y="3"/>
                    <a:pt x="7" y="2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6" y="0"/>
                    <a:pt x="5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89" name="Freeform 6562"/>
            <p:cNvSpPr>
              <a:spLocks/>
            </p:cNvSpPr>
            <p:nvPr/>
          </p:nvSpPr>
          <p:spPr bwMode="auto">
            <a:xfrm>
              <a:off x="6092825" y="5221289"/>
              <a:ext cx="12700" cy="6350"/>
            </a:xfrm>
            <a:custGeom>
              <a:avLst/>
              <a:gdLst>
                <a:gd name="T0" fmla="*/ 0 w 7"/>
                <a:gd name="T1" fmla="*/ 2 h 3"/>
                <a:gd name="T2" fmla="*/ 2 w 7"/>
                <a:gd name="T3" fmla="*/ 3 h 3"/>
                <a:gd name="T4" fmla="*/ 5 w 7"/>
                <a:gd name="T5" fmla="*/ 3 h 3"/>
                <a:gd name="T6" fmla="*/ 7 w 7"/>
                <a:gd name="T7" fmla="*/ 2 h 3"/>
                <a:gd name="T8" fmla="*/ 7 w 7"/>
                <a:gd name="T9" fmla="*/ 2 h 3"/>
                <a:gd name="T10" fmla="*/ 5 w 7"/>
                <a:gd name="T11" fmla="*/ 0 h 3"/>
                <a:gd name="T12" fmla="*/ 2 w 7"/>
                <a:gd name="T13" fmla="*/ 0 h 3"/>
                <a:gd name="T14" fmla="*/ 0 w 7"/>
                <a:gd name="T15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3">
                  <a:moveTo>
                    <a:pt x="0" y="2"/>
                  </a:moveTo>
                  <a:cubicBezTo>
                    <a:pt x="0" y="3"/>
                    <a:pt x="1" y="3"/>
                    <a:pt x="2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6" y="3"/>
                    <a:pt x="7" y="3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1"/>
                    <a:pt x="6" y="0"/>
                    <a:pt x="5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90" name="Freeform 6563"/>
            <p:cNvSpPr>
              <a:spLocks/>
            </p:cNvSpPr>
            <p:nvPr/>
          </p:nvSpPr>
          <p:spPr bwMode="auto">
            <a:xfrm>
              <a:off x="6092825" y="5227639"/>
              <a:ext cx="12700" cy="6350"/>
            </a:xfrm>
            <a:custGeom>
              <a:avLst/>
              <a:gdLst>
                <a:gd name="T0" fmla="*/ 0 w 7"/>
                <a:gd name="T1" fmla="*/ 2 h 4"/>
                <a:gd name="T2" fmla="*/ 2 w 7"/>
                <a:gd name="T3" fmla="*/ 4 h 4"/>
                <a:gd name="T4" fmla="*/ 5 w 7"/>
                <a:gd name="T5" fmla="*/ 4 h 4"/>
                <a:gd name="T6" fmla="*/ 7 w 7"/>
                <a:gd name="T7" fmla="*/ 2 h 4"/>
                <a:gd name="T8" fmla="*/ 7 w 7"/>
                <a:gd name="T9" fmla="*/ 2 h 4"/>
                <a:gd name="T10" fmla="*/ 5 w 7"/>
                <a:gd name="T11" fmla="*/ 0 h 4"/>
                <a:gd name="T12" fmla="*/ 2 w 7"/>
                <a:gd name="T13" fmla="*/ 0 h 4"/>
                <a:gd name="T14" fmla="*/ 0 w 7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4">
                  <a:moveTo>
                    <a:pt x="0" y="2"/>
                  </a:moveTo>
                  <a:cubicBezTo>
                    <a:pt x="0" y="3"/>
                    <a:pt x="1" y="4"/>
                    <a:pt x="2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4"/>
                    <a:pt x="7" y="3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1"/>
                    <a:pt x="6" y="0"/>
                    <a:pt x="5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91" name="Freeform 6564"/>
            <p:cNvSpPr>
              <a:spLocks/>
            </p:cNvSpPr>
            <p:nvPr/>
          </p:nvSpPr>
          <p:spPr bwMode="auto">
            <a:xfrm>
              <a:off x="6092825" y="5233989"/>
              <a:ext cx="12700" cy="6350"/>
            </a:xfrm>
            <a:custGeom>
              <a:avLst/>
              <a:gdLst>
                <a:gd name="T0" fmla="*/ 0 w 7"/>
                <a:gd name="T1" fmla="*/ 1 h 3"/>
                <a:gd name="T2" fmla="*/ 2 w 7"/>
                <a:gd name="T3" fmla="*/ 3 h 3"/>
                <a:gd name="T4" fmla="*/ 5 w 7"/>
                <a:gd name="T5" fmla="*/ 3 h 3"/>
                <a:gd name="T6" fmla="*/ 7 w 7"/>
                <a:gd name="T7" fmla="*/ 1 h 3"/>
                <a:gd name="T8" fmla="*/ 7 w 7"/>
                <a:gd name="T9" fmla="*/ 1 h 3"/>
                <a:gd name="T10" fmla="*/ 5 w 7"/>
                <a:gd name="T11" fmla="*/ 0 h 3"/>
                <a:gd name="T12" fmla="*/ 2 w 7"/>
                <a:gd name="T13" fmla="*/ 0 h 3"/>
                <a:gd name="T14" fmla="*/ 0 w 7"/>
                <a:gd name="T1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3">
                  <a:moveTo>
                    <a:pt x="0" y="1"/>
                  </a:moveTo>
                  <a:cubicBezTo>
                    <a:pt x="0" y="2"/>
                    <a:pt x="1" y="3"/>
                    <a:pt x="2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6" y="3"/>
                    <a:pt x="7" y="2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6" y="0"/>
                    <a:pt x="5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92" name="Freeform 6565"/>
            <p:cNvSpPr>
              <a:spLocks/>
            </p:cNvSpPr>
            <p:nvPr/>
          </p:nvSpPr>
          <p:spPr bwMode="auto">
            <a:xfrm>
              <a:off x="5873750" y="5335589"/>
              <a:ext cx="11113" cy="6350"/>
            </a:xfrm>
            <a:custGeom>
              <a:avLst/>
              <a:gdLst>
                <a:gd name="T0" fmla="*/ 0 w 6"/>
                <a:gd name="T1" fmla="*/ 1 h 3"/>
                <a:gd name="T2" fmla="*/ 1 w 6"/>
                <a:gd name="T3" fmla="*/ 3 h 3"/>
                <a:gd name="T4" fmla="*/ 5 w 6"/>
                <a:gd name="T5" fmla="*/ 3 h 3"/>
                <a:gd name="T6" fmla="*/ 6 w 6"/>
                <a:gd name="T7" fmla="*/ 1 h 3"/>
                <a:gd name="T8" fmla="*/ 6 w 6"/>
                <a:gd name="T9" fmla="*/ 1 h 3"/>
                <a:gd name="T10" fmla="*/ 5 w 6"/>
                <a:gd name="T11" fmla="*/ 0 h 3"/>
                <a:gd name="T12" fmla="*/ 1 w 6"/>
                <a:gd name="T13" fmla="*/ 0 h 3"/>
                <a:gd name="T14" fmla="*/ 0 w 6"/>
                <a:gd name="T1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3">
                  <a:moveTo>
                    <a:pt x="0" y="1"/>
                  </a:moveTo>
                  <a:cubicBezTo>
                    <a:pt x="0" y="2"/>
                    <a:pt x="1" y="3"/>
                    <a:pt x="1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6" y="3"/>
                    <a:pt x="6" y="2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93" name="Freeform 6566"/>
            <p:cNvSpPr>
              <a:spLocks/>
            </p:cNvSpPr>
            <p:nvPr/>
          </p:nvSpPr>
          <p:spPr bwMode="auto">
            <a:xfrm>
              <a:off x="5873750" y="5341939"/>
              <a:ext cx="11113" cy="4763"/>
            </a:xfrm>
            <a:custGeom>
              <a:avLst/>
              <a:gdLst>
                <a:gd name="T0" fmla="*/ 0 w 6"/>
                <a:gd name="T1" fmla="*/ 2 h 3"/>
                <a:gd name="T2" fmla="*/ 1 w 6"/>
                <a:gd name="T3" fmla="*/ 3 h 3"/>
                <a:gd name="T4" fmla="*/ 5 w 6"/>
                <a:gd name="T5" fmla="*/ 3 h 3"/>
                <a:gd name="T6" fmla="*/ 6 w 6"/>
                <a:gd name="T7" fmla="*/ 2 h 3"/>
                <a:gd name="T8" fmla="*/ 6 w 6"/>
                <a:gd name="T9" fmla="*/ 2 h 3"/>
                <a:gd name="T10" fmla="*/ 5 w 6"/>
                <a:gd name="T11" fmla="*/ 0 h 3"/>
                <a:gd name="T12" fmla="*/ 1 w 6"/>
                <a:gd name="T13" fmla="*/ 0 h 3"/>
                <a:gd name="T14" fmla="*/ 0 w 6"/>
                <a:gd name="T15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3">
                  <a:moveTo>
                    <a:pt x="0" y="2"/>
                  </a:moveTo>
                  <a:cubicBezTo>
                    <a:pt x="0" y="3"/>
                    <a:pt x="1" y="3"/>
                    <a:pt x="1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6" y="3"/>
                    <a:pt x="6" y="3"/>
                    <a:pt x="6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1"/>
                    <a:pt x="6" y="0"/>
                    <a:pt x="5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94" name="Freeform 6567"/>
            <p:cNvSpPr>
              <a:spLocks/>
            </p:cNvSpPr>
            <p:nvPr/>
          </p:nvSpPr>
          <p:spPr bwMode="auto">
            <a:xfrm>
              <a:off x="5873750" y="5346701"/>
              <a:ext cx="11113" cy="7938"/>
            </a:xfrm>
            <a:custGeom>
              <a:avLst/>
              <a:gdLst>
                <a:gd name="T0" fmla="*/ 0 w 6"/>
                <a:gd name="T1" fmla="*/ 2 h 4"/>
                <a:gd name="T2" fmla="*/ 1 w 6"/>
                <a:gd name="T3" fmla="*/ 4 h 4"/>
                <a:gd name="T4" fmla="*/ 5 w 6"/>
                <a:gd name="T5" fmla="*/ 4 h 4"/>
                <a:gd name="T6" fmla="*/ 6 w 6"/>
                <a:gd name="T7" fmla="*/ 2 h 4"/>
                <a:gd name="T8" fmla="*/ 6 w 6"/>
                <a:gd name="T9" fmla="*/ 2 h 4"/>
                <a:gd name="T10" fmla="*/ 5 w 6"/>
                <a:gd name="T11" fmla="*/ 0 h 4"/>
                <a:gd name="T12" fmla="*/ 1 w 6"/>
                <a:gd name="T13" fmla="*/ 0 h 4"/>
                <a:gd name="T14" fmla="*/ 0 w 6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4">
                  <a:moveTo>
                    <a:pt x="0" y="2"/>
                  </a:moveTo>
                  <a:cubicBezTo>
                    <a:pt x="0" y="3"/>
                    <a:pt x="1" y="4"/>
                    <a:pt x="1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4"/>
                    <a:pt x="6" y="3"/>
                    <a:pt x="6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1"/>
                    <a:pt x="6" y="0"/>
                    <a:pt x="5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95" name="Freeform 6568"/>
            <p:cNvSpPr>
              <a:spLocks/>
            </p:cNvSpPr>
            <p:nvPr/>
          </p:nvSpPr>
          <p:spPr bwMode="auto">
            <a:xfrm>
              <a:off x="5873750" y="5354639"/>
              <a:ext cx="11113" cy="4763"/>
            </a:xfrm>
            <a:custGeom>
              <a:avLst/>
              <a:gdLst>
                <a:gd name="T0" fmla="*/ 0 w 6"/>
                <a:gd name="T1" fmla="*/ 1 h 3"/>
                <a:gd name="T2" fmla="*/ 1 w 6"/>
                <a:gd name="T3" fmla="*/ 3 h 3"/>
                <a:gd name="T4" fmla="*/ 5 w 6"/>
                <a:gd name="T5" fmla="*/ 3 h 3"/>
                <a:gd name="T6" fmla="*/ 6 w 6"/>
                <a:gd name="T7" fmla="*/ 1 h 3"/>
                <a:gd name="T8" fmla="*/ 6 w 6"/>
                <a:gd name="T9" fmla="*/ 1 h 3"/>
                <a:gd name="T10" fmla="*/ 5 w 6"/>
                <a:gd name="T11" fmla="*/ 0 h 3"/>
                <a:gd name="T12" fmla="*/ 1 w 6"/>
                <a:gd name="T13" fmla="*/ 0 h 3"/>
                <a:gd name="T14" fmla="*/ 0 w 6"/>
                <a:gd name="T1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3">
                  <a:moveTo>
                    <a:pt x="0" y="1"/>
                  </a:moveTo>
                  <a:cubicBezTo>
                    <a:pt x="0" y="2"/>
                    <a:pt x="1" y="3"/>
                    <a:pt x="1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6" y="3"/>
                    <a:pt x="6" y="2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96" name="Freeform 6569"/>
            <p:cNvSpPr>
              <a:spLocks/>
            </p:cNvSpPr>
            <p:nvPr/>
          </p:nvSpPr>
          <p:spPr bwMode="auto">
            <a:xfrm>
              <a:off x="5873750" y="5359401"/>
              <a:ext cx="11113" cy="6350"/>
            </a:xfrm>
            <a:custGeom>
              <a:avLst/>
              <a:gdLst>
                <a:gd name="T0" fmla="*/ 0 w 6"/>
                <a:gd name="T1" fmla="*/ 2 h 3"/>
                <a:gd name="T2" fmla="*/ 1 w 6"/>
                <a:gd name="T3" fmla="*/ 3 h 3"/>
                <a:gd name="T4" fmla="*/ 5 w 6"/>
                <a:gd name="T5" fmla="*/ 3 h 3"/>
                <a:gd name="T6" fmla="*/ 6 w 6"/>
                <a:gd name="T7" fmla="*/ 2 h 3"/>
                <a:gd name="T8" fmla="*/ 6 w 6"/>
                <a:gd name="T9" fmla="*/ 2 h 3"/>
                <a:gd name="T10" fmla="*/ 5 w 6"/>
                <a:gd name="T11" fmla="*/ 0 h 3"/>
                <a:gd name="T12" fmla="*/ 1 w 6"/>
                <a:gd name="T13" fmla="*/ 0 h 3"/>
                <a:gd name="T14" fmla="*/ 0 w 6"/>
                <a:gd name="T15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3">
                  <a:moveTo>
                    <a:pt x="0" y="2"/>
                  </a:moveTo>
                  <a:cubicBezTo>
                    <a:pt x="0" y="2"/>
                    <a:pt x="1" y="3"/>
                    <a:pt x="1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1"/>
                    <a:pt x="6" y="0"/>
                    <a:pt x="5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97" name="Freeform 6570"/>
            <p:cNvSpPr>
              <a:spLocks/>
            </p:cNvSpPr>
            <p:nvPr/>
          </p:nvSpPr>
          <p:spPr bwMode="auto">
            <a:xfrm>
              <a:off x="5873750" y="5365751"/>
              <a:ext cx="11113" cy="6350"/>
            </a:xfrm>
            <a:custGeom>
              <a:avLst/>
              <a:gdLst>
                <a:gd name="T0" fmla="*/ 0 w 6"/>
                <a:gd name="T1" fmla="*/ 2 h 4"/>
                <a:gd name="T2" fmla="*/ 1 w 6"/>
                <a:gd name="T3" fmla="*/ 4 h 4"/>
                <a:gd name="T4" fmla="*/ 5 w 6"/>
                <a:gd name="T5" fmla="*/ 4 h 4"/>
                <a:gd name="T6" fmla="*/ 6 w 6"/>
                <a:gd name="T7" fmla="*/ 2 h 4"/>
                <a:gd name="T8" fmla="*/ 6 w 6"/>
                <a:gd name="T9" fmla="*/ 2 h 4"/>
                <a:gd name="T10" fmla="*/ 5 w 6"/>
                <a:gd name="T11" fmla="*/ 0 h 4"/>
                <a:gd name="T12" fmla="*/ 1 w 6"/>
                <a:gd name="T13" fmla="*/ 0 h 4"/>
                <a:gd name="T14" fmla="*/ 0 w 6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4">
                  <a:moveTo>
                    <a:pt x="0" y="2"/>
                  </a:moveTo>
                  <a:cubicBezTo>
                    <a:pt x="0" y="3"/>
                    <a:pt x="1" y="4"/>
                    <a:pt x="1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4"/>
                    <a:pt x="6" y="3"/>
                    <a:pt x="6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1"/>
                    <a:pt x="6" y="0"/>
                    <a:pt x="5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98" name="Freeform 6571"/>
            <p:cNvSpPr>
              <a:spLocks/>
            </p:cNvSpPr>
            <p:nvPr/>
          </p:nvSpPr>
          <p:spPr bwMode="auto">
            <a:xfrm>
              <a:off x="6169025" y="5335589"/>
              <a:ext cx="9525" cy="6350"/>
            </a:xfrm>
            <a:custGeom>
              <a:avLst/>
              <a:gdLst>
                <a:gd name="T0" fmla="*/ 0 w 6"/>
                <a:gd name="T1" fmla="*/ 1 h 3"/>
                <a:gd name="T2" fmla="*/ 1 w 6"/>
                <a:gd name="T3" fmla="*/ 3 h 3"/>
                <a:gd name="T4" fmla="*/ 5 w 6"/>
                <a:gd name="T5" fmla="*/ 3 h 3"/>
                <a:gd name="T6" fmla="*/ 6 w 6"/>
                <a:gd name="T7" fmla="*/ 1 h 3"/>
                <a:gd name="T8" fmla="*/ 6 w 6"/>
                <a:gd name="T9" fmla="*/ 1 h 3"/>
                <a:gd name="T10" fmla="*/ 5 w 6"/>
                <a:gd name="T11" fmla="*/ 0 h 3"/>
                <a:gd name="T12" fmla="*/ 1 w 6"/>
                <a:gd name="T13" fmla="*/ 0 h 3"/>
                <a:gd name="T14" fmla="*/ 0 w 6"/>
                <a:gd name="T1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3">
                  <a:moveTo>
                    <a:pt x="0" y="1"/>
                  </a:moveTo>
                  <a:cubicBezTo>
                    <a:pt x="0" y="2"/>
                    <a:pt x="0" y="3"/>
                    <a:pt x="1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6" y="3"/>
                    <a:pt x="6" y="2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99" name="Freeform 6572"/>
            <p:cNvSpPr>
              <a:spLocks/>
            </p:cNvSpPr>
            <p:nvPr/>
          </p:nvSpPr>
          <p:spPr bwMode="auto">
            <a:xfrm>
              <a:off x="6169025" y="5341939"/>
              <a:ext cx="9525" cy="4763"/>
            </a:xfrm>
            <a:custGeom>
              <a:avLst/>
              <a:gdLst>
                <a:gd name="T0" fmla="*/ 0 w 6"/>
                <a:gd name="T1" fmla="*/ 2 h 3"/>
                <a:gd name="T2" fmla="*/ 1 w 6"/>
                <a:gd name="T3" fmla="*/ 3 h 3"/>
                <a:gd name="T4" fmla="*/ 5 w 6"/>
                <a:gd name="T5" fmla="*/ 3 h 3"/>
                <a:gd name="T6" fmla="*/ 6 w 6"/>
                <a:gd name="T7" fmla="*/ 2 h 3"/>
                <a:gd name="T8" fmla="*/ 6 w 6"/>
                <a:gd name="T9" fmla="*/ 2 h 3"/>
                <a:gd name="T10" fmla="*/ 5 w 6"/>
                <a:gd name="T11" fmla="*/ 0 h 3"/>
                <a:gd name="T12" fmla="*/ 1 w 6"/>
                <a:gd name="T13" fmla="*/ 0 h 3"/>
                <a:gd name="T14" fmla="*/ 0 w 6"/>
                <a:gd name="T15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3">
                  <a:moveTo>
                    <a:pt x="0" y="2"/>
                  </a:moveTo>
                  <a:cubicBezTo>
                    <a:pt x="0" y="3"/>
                    <a:pt x="0" y="3"/>
                    <a:pt x="1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6" y="3"/>
                    <a:pt x="6" y="3"/>
                    <a:pt x="6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1"/>
                    <a:pt x="6" y="0"/>
                    <a:pt x="5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600" name="Freeform 6573"/>
            <p:cNvSpPr>
              <a:spLocks/>
            </p:cNvSpPr>
            <p:nvPr/>
          </p:nvSpPr>
          <p:spPr bwMode="auto">
            <a:xfrm>
              <a:off x="6169025" y="5346701"/>
              <a:ext cx="9525" cy="7938"/>
            </a:xfrm>
            <a:custGeom>
              <a:avLst/>
              <a:gdLst>
                <a:gd name="T0" fmla="*/ 0 w 6"/>
                <a:gd name="T1" fmla="*/ 2 h 4"/>
                <a:gd name="T2" fmla="*/ 1 w 6"/>
                <a:gd name="T3" fmla="*/ 4 h 4"/>
                <a:gd name="T4" fmla="*/ 5 w 6"/>
                <a:gd name="T5" fmla="*/ 4 h 4"/>
                <a:gd name="T6" fmla="*/ 6 w 6"/>
                <a:gd name="T7" fmla="*/ 2 h 4"/>
                <a:gd name="T8" fmla="*/ 6 w 6"/>
                <a:gd name="T9" fmla="*/ 2 h 4"/>
                <a:gd name="T10" fmla="*/ 5 w 6"/>
                <a:gd name="T11" fmla="*/ 0 h 4"/>
                <a:gd name="T12" fmla="*/ 1 w 6"/>
                <a:gd name="T13" fmla="*/ 0 h 4"/>
                <a:gd name="T14" fmla="*/ 0 w 6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4">
                  <a:moveTo>
                    <a:pt x="0" y="2"/>
                  </a:moveTo>
                  <a:cubicBezTo>
                    <a:pt x="0" y="3"/>
                    <a:pt x="0" y="4"/>
                    <a:pt x="1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4"/>
                    <a:pt x="6" y="3"/>
                    <a:pt x="6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1"/>
                    <a:pt x="6" y="0"/>
                    <a:pt x="5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601" name="Freeform 6574"/>
            <p:cNvSpPr>
              <a:spLocks/>
            </p:cNvSpPr>
            <p:nvPr/>
          </p:nvSpPr>
          <p:spPr bwMode="auto">
            <a:xfrm>
              <a:off x="6169025" y="5354639"/>
              <a:ext cx="9525" cy="4763"/>
            </a:xfrm>
            <a:custGeom>
              <a:avLst/>
              <a:gdLst>
                <a:gd name="T0" fmla="*/ 0 w 6"/>
                <a:gd name="T1" fmla="*/ 1 h 3"/>
                <a:gd name="T2" fmla="*/ 1 w 6"/>
                <a:gd name="T3" fmla="*/ 3 h 3"/>
                <a:gd name="T4" fmla="*/ 5 w 6"/>
                <a:gd name="T5" fmla="*/ 3 h 3"/>
                <a:gd name="T6" fmla="*/ 6 w 6"/>
                <a:gd name="T7" fmla="*/ 1 h 3"/>
                <a:gd name="T8" fmla="*/ 6 w 6"/>
                <a:gd name="T9" fmla="*/ 1 h 3"/>
                <a:gd name="T10" fmla="*/ 5 w 6"/>
                <a:gd name="T11" fmla="*/ 0 h 3"/>
                <a:gd name="T12" fmla="*/ 1 w 6"/>
                <a:gd name="T13" fmla="*/ 0 h 3"/>
                <a:gd name="T14" fmla="*/ 0 w 6"/>
                <a:gd name="T1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3">
                  <a:moveTo>
                    <a:pt x="0" y="1"/>
                  </a:moveTo>
                  <a:cubicBezTo>
                    <a:pt x="0" y="2"/>
                    <a:pt x="0" y="3"/>
                    <a:pt x="1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6" y="3"/>
                    <a:pt x="6" y="2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602" name="Freeform 6575"/>
            <p:cNvSpPr>
              <a:spLocks/>
            </p:cNvSpPr>
            <p:nvPr/>
          </p:nvSpPr>
          <p:spPr bwMode="auto">
            <a:xfrm>
              <a:off x="6169025" y="5359401"/>
              <a:ext cx="9525" cy="6350"/>
            </a:xfrm>
            <a:custGeom>
              <a:avLst/>
              <a:gdLst>
                <a:gd name="T0" fmla="*/ 0 w 6"/>
                <a:gd name="T1" fmla="*/ 2 h 3"/>
                <a:gd name="T2" fmla="*/ 1 w 6"/>
                <a:gd name="T3" fmla="*/ 3 h 3"/>
                <a:gd name="T4" fmla="*/ 5 w 6"/>
                <a:gd name="T5" fmla="*/ 3 h 3"/>
                <a:gd name="T6" fmla="*/ 6 w 6"/>
                <a:gd name="T7" fmla="*/ 2 h 3"/>
                <a:gd name="T8" fmla="*/ 6 w 6"/>
                <a:gd name="T9" fmla="*/ 2 h 3"/>
                <a:gd name="T10" fmla="*/ 5 w 6"/>
                <a:gd name="T11" fmla="*/ 0 h 3"/>
                <a:gd name="T12" fmla="*/ 1 w 6"/>
                <a:gd name="T13" fmla="*/ 0 h 3"/>
                <a:gd name="T14" fmla="*/ 0 w 6"/>
                <a:gd name="T15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3">
                  <a:moveTo>
                    <a:pt x="0" y="2"/>
                  </a:moveTo>
                  <a:cubicBezTo>
                    <a:pt x="0" y="2"/>
                    <a:pt x="0" y="3"/>
                    <a:pt x="1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1"/>
                    <a:pt x="6" y="0"/>
                    <a:pt x="5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603" name="Freeform 6576"/>
            <p:cNvSpPr>
              <a:spLocks/>
            </p:cNvSpPr>
            <p:nvPr/>
          </p:nvSpPr>
          <p:spPr bwMode="auto">
            <a:xfrm>
              <a:off x="6169025" y="5365751"/>
              <a:ext cx="9525" cy="6350"/>
            </a:xfrm>
            <a:custGeom>
              <a:avLst/>
              <a:gdLst>
                <a:gd name="T0" fmla="*/ 0 w 6"/>
                <a:gd name="T1" fmla="*/ 2 h 4"/>
                <a:gd name="T2" fmla="*/ 1 w 6"/>
                <a:gd name="T3" fmla="*/ 4 h 4"/>
                <a:gd name="T4" fmla="*/ 5 w 6"/>
                <a:gd name="T5" fmla="*/ 4 h 4"/>
                <a:gd name="T6" fmla="*/ 6 w 6"/>
                <a:gd name="T7" fmla="*/ 2 h 4"/>
                <a:gd name="T8" fmla="*/ 6 w 6"/>
                <a:gd name="T9" fmla="*/ 2 h 4"/>
                <a:gd name="T10" fmla="*/ 5 w 6"/>
                <a:gd name="T11" fmla="*/ 0 h 4"/>
                <a:gd name="T12" fmla="*/ 1 w 6"/>
                <a:gd name="T13" fmla="*/ 0 h 4"/>
                <a:gd name="T14" fmla="*/ 0 w 6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4">
                  <a:moveTo>
                    <a:pt x="0" y="2"/>
                  </a:moveTo>
                  <a:cubicBezTo>
                    <a:pt x="0" y="3"/>
                    <a:pt x="0" y="4"/>
                    <a:pt x="1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4"/>
                    <a:pt x="6" y="3"/>
                    <a:pt x="6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1"/>
                    <a:pt x="6" y="0"/>
                    <a:pt x="5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10874" name="Group 10873"/>
          <p:cNvGrpSpPr/>
          <p:nvPr/>
        </p:nvGrpSpPr>
        <p:grpSpPr>
          <a:xfrm>
            <a:off x="5444151" y="4931735"/>
            <a:ext cx="3386138" cy="454025"/>
            <a:chOff x="5456057" y="4951893"/>
            <a:chExt cx="3386138" cy="454025"/>
          </a:xfrm>
        </p:grpSpPr>
        <p:sp>
          <p:nvSpPr>
            <p:cNvPr id="8647" name="Freeform 6620"/>
            <p:cNvSpPr>
              <a:spLocks/>
            </p:cNvSpPr>
            <p:nvPr/>
          </p:nvSpPr>
          <p:spPr bwMode="auto">
            <a:xfrm>
              <a:off x="6633982" y="5021743"/>
              <a:ext cx="477838" cy="346075"/>
            </a:xfrm>
            <a:custGeom>
              <a:avLst/>
              <a:gdLst>
                <a:gd name="T0" fmla="*/ 151 w 301"/>
                <a:gd name="T1" fmla="*/ 0 h 218"/>
                <a:gd name="T2" fmla="*/ 301 w 301"/>
                <a:gd name="T3" fmla="*/ 156 h 218"/>
                <a:gd name="T4" fmla="*/ 291 w 301"/>
                <a:gd name="T5" fmla="*/ 156 h 218"/>
                <a:gd name="T6" fmla="*/ 291 w 301"/>
                <a:gd name="T7" fmla="*/ 218 h 218"/>
                <a:gd name="T8" fmla="*/ 8 w 301"/>
                <a:gd name="T9" fmla="*/ 218 h 218"/>
                <a:gd name="T10" fmla="*/ 8 w 301"/>
                <a:gd name="T11" fmla="*/ 156 h 218"/>
                <a:gd name="T12" fmla="*/ 0 w 301"/>
                <a:gd name="T13" fmla="*/ 156 h 218"/>
                <a:gd name="T14" fmla="*/ 151 w 301"/>
                <a:gd name="T15" fmla="*/ 0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1" h="218">
                  <a:moveTo>
                    <a:pt x="151" y="0"/>
                  </a:moveTo>
                  <a:lnTo>
                    <a:pt x="301" y="156"/>
                  </a:lnTo>
                  <a:lnTo>
                    <a:pt x="291" y="156"/>
                  </a:lnTo>
                  <a:lnTo>
                    <a:pt x="291" y="218"/>
                  </a:lnTo>
                  <a:lnTo>
                    <a:pt x="8" y="218"/>
                  </a:lnTo>
                  <a:lnTo>
                    <a:pt x="8" y="156"/>
                  </a:lnTo>
                  <a:lnTo>
                    <a:pt x="0" y="156"/>
                  </a:lnTo>
                  <a:lnTo>
                    <a:pt x="151" y="0"/>
                  </a:lnTo>
                  <a:close/>
                </a:path>
              </a:pathLst>
            </a:custGeom>
            <a:solidFill>
              <a:srgbClr val="E65A6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648" name="Rectangle 6621"/>
            <p:cNvSpPr>
              <a:spLocks noChangeArrowheads="1"/>
            </p:cNvSpPr>
            <p:nvPr/>
          </p:nvSpPr>
          <p:spPr bwMode="auto">
            <a:xfrm>
              <a:off x="6646682" y="5367818"/>
              <a:ext cx="449263" cy="38100"/>
            </a:xfrm>
            <a:prstGeom prst="rect">
              <a:avLst/>
            </a:prstGeom>
            <a:solidFill>
              <a:srgbClr val="6B71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649" name="Rectangle 6622"/>
            <p:cNvSpPr>
              <a:spLocks noChangeArrowheads="1"/>
            </p:cNvSpPr>
            <p:nvPr/>
          </p:nvSpPr>
          <p:spPr bwMode="auto">
            <a:xfrm>
              <a:off x="6332357" y="5269393"/>
              <a:ext cx="314325" cy="98425"/>
            </a:xfrm>
            <a:prstGeom prst="rect">
              <a:avLst/>
            </a:prstGeom>
            <a:solidFill>
              <a:srgbClr val="EF9A9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650" name="Rectangle 6623"/>
            <p:cNvSpPr>
              <a:spLocks noChangeArrowheads="1"/>
            </p:cNvSpPr>
            <p:nvPr/>
          </p:nvSpPr>
          <p:spPr bwMode="auto">
            <a:xfrm>
              <a:off x="6332357" y="5367818"/>
              <a:ext cx="314325" cy="38100"/>
            </a:xfrm>
            <a:prstGeom prst="rect">
              <a:avLst/>
            </a:prstGeom>
            <a:solidFill>
              <a:srgbClr val="9C9C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651" name="Freeform 6624"/>
            <p:cNvSpPr>
              <a:spLocks/>
            </p:cNvSpPr>
            <p:nvPr/>
          </p:nvSpPr>
          <p:spPr bwMode="auto">
            <a:xfrm>
              <a:off x="6332357" y="5021743"/>
              <a:ext cx="541338" cy="247650"/>
            </a:xfrm>
            <a:custGeom>
              <a:avLst/>
              <a:gdLst>
                <a:gd name="T0" fmla="*/ 0 w 341"/>
                <a:gd name="T1" fmla="*/ 156 h 156"/>
                <a:gd name="T2" fmla="*/ 190 w 341"/>
                <a:gd name="T3" fmla="*/ 156 h 156"/>
                <a:gd name="T4" fmla="*/ 341 w 341"/>
                <a:gd name="T5" fmla="*/ 0 h 156"/>
                <a:gd name="T6" fmla="*/ 152 w 341"/>
                <a:gd name="T7" fmla="*/ 0 h 156"/>
                <a:gd name="T8" fmla="*/ 0 w 341"/>
                <a:gd name="T9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1" h="156">
                  <a:moveTo>
                    <a:pt x="0" y="156"/>
                  </a:moveTo>
                  <a:lnTo>
                    <a:pt x="190" y="156"/>
                  </a:lnTo>
                  <a:lnTo>
                    <a:pt x="341" y="0"/>
                  </a:lnTo>
                  <a:lnTo>
                    <a:pt x="152" y="0"/>
                  </a:lnTo>
                  <a:lnTo>
                    <a:pt x="0" y="156"/>
                  </a:lnTo>
                  <a:close/>
                </a:path>
              </a:pathLst>
            </a:custGeom>
            <a:solidFill>
              <a:srgbClr val="2D36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652" name="Rectangle 6625"/>
            <p:cNvSpPr>
              <a:spLocks noChangeArrowheads="1"/>
            </p:cNvSpPr>
            <p:nvPr/>
          </p:nvSpPr>
          <p:spPr bwMode="auto">
            <a:xfrm>
              <a:off x="6714945" y="4951893"/>
              <a:ext cx="42863" cy="103188"/>
            </a:xfrm>
            <a:prstGeom prst="rect">
              <a:avLst/>
            </a:prstGeom>
            <a:solidFill>
              <a:srgbClr val="7D8D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653" name="Rectangle 6626"/>
            <p:cNvSpPr>
              <a:spLocks noChangeArrowheads="1"/>
            </p:cNvSpPr>
            <p:nvPr/>
          </p:nvSpPr>
          <p:spPr bwMode="auto">
            <a:xfrm>
              <a:off x="6900682" y="5129693"/>
              <a:ext cx="38100" cy="53975"/>
            </a:xfrm>
            <a:prstGeom prst="rect">
              <a:avLst/>
            </a:prstGeom>
            <a:solidFill>
              <a:srgbClr val="1E34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654" name="Freeform 6627"/>
            <p:cNvSpPr>
              <a:spLocks noEditPoints="1"/>
            </p:cNvSpPr>
            <p:nvPr/>
          </p:nvSpPr>
          <p:spPr bwMode="auto">
            <a:xfrm>
              <a:off x="6897507" y="5126518"/>
              <a:ext cx="44450" cy="60325"/>
            </a:xfrm>
            <a:custGeom>
              <a:avLst/>
              <a:gdLst>
                <a:gd name="T0" fmla="*/ 0 w 28"/>
                <a:gd name="T1" fmla="*/ 38 h 38"/>
                <a:gd name="T2" fmla="*/ 28 w 28"/>
                <a:gd name="T3" fmla="*/ 38 h 38"/>
                <a:gd name="T4" fmla="*/ 28 w 28"/>
                <a:gd name="T5" fmla="*/ 0 h 38"/>
                <a:gd name="T6" fmla="*/ 0 w 28"/>
                <a:gd name="T7" fmla="*/ 0 h 38"/>
                <a:gd name="T8" fmla="*/ 0 w 28"/>
                <a:gd name="T9" fmla="*/ 38 h 38"/>
                <a:gd name="T10" fmla="*/ 22 w 28"/>
                <a:gd name="T11" fmla="*/ 34 h 38"/>
                <a:gd name="T12" fmla="*/ 5 w 28"/>
                <a:gd name="T13" fmla="*/ 34 h 38"/>
                <a:gd name="T14" fmla="*/ 5 w 28"/>
                <a:gd name="T15" fmla="*/ 4 h 38"/>
                <a:gd name="T16" fmla="*/ 22 w 28"/>
                <a:gd name="T17" fmla="*/ 4 h 38"/>
                <a:gd name="T18" fmla="*/ 22 w 28"/>
                <a:gd name="T19" fmla="*/ 34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38">
                  <a:moveTo>
                    <a:pt x="0" y="38"/>
                  </a:moveTo>
                  <a:lnTo>
                    <a:pt x="28" y="38"/>
                  </a:lnTo>
                  <a:lnTo>
                    <a:pt x="28" y="0"/>
                  </a:lnTo>
                  <a:lnTo>
                    <a:pt x="0" y="0"/>
                  </a:lnTo>
                  <a:lnTo>
                    <a:pt x="0" y="38"/>
                  </a:lnTo>
                  <a:close/>
                  <a:moveTo>
                    <a:pt x="22" y="34"/>
                  </a:moveTo>
                  <a:lnTo>
                    <a:pt x="5" y="34"/>
                  </a:lnTo>
                  <a:lnTo>
                    <a:pt x="5" y="4"/>
                  </a:lnTo>
                  <a:lnTo>
                    <a:pt x="22" y="4"/>
                  </a:lnTo>
                  <a:lnTo>
                    <a:pt x="22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655" name="Rectangle 6628"/>
            <p:cNvSpPr>
              <a:spLocks noChangeArrowheads="1"/>
            </p:cNvSpPr>
            <p:nvPr/>
          </p:nvSpPr>
          <p:spPr bwMode="auto">
            <a:xfrm>
              <a:off x="6810195" y="5129693"/>
              <a:ext cx="36513" cy="53975"/>
            </a:xfrm>
            <a:prstGeom prst="rect">
              <a:avLst/>
            </a:prstGeom>
            <a:solidFill>
              <a:srgbClr val="1E34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56" name="Freeform 6630"/>
            <p:cNvSpPr>
              <a:spLocks noEditPoints="1"/>
            </p:cNvSpPr>
            <p:nvPr/>
          </p:nvSpPr>
          <p:spPr bwMode="auto">
            <a:xfrm>
              <a:off x="6805432" y="5126518"/>
              <a:ext cx="46038" cy="60325"/>
            </a:xfrm>
            <a:custGeom>
              <a:avLst/>
              <a:gdLst>
                <a:gd name="T0" fmla="*/ 0 w 29"/>
                <a:gd name="T1" fmla="*/ 38 h 38"/>
                <a:gd name="T2" fmla="*/ 29 w 29"/>
                <a:gd name="T3" fmla="*/ 38 h 38"/>
                <a:gd name="T4" fmla="*/ 29 w 29"/>
                <a:gd name="T5" fmla="*/ 0 h 38"/>
                <a:gd name="T6" fmla="*/ 0 w 29"/>
                <a:gd name="T7" fmla="*/ 0 h 38"/>
                <a:gd name="T8" fmla="*/ 0 w 29"/>
                <a:gd name="T9" fmla="*/ 38 h 38"/>
                <a:gd name="T10" fmla="*/ 23 w 29"/>
                <a:gd name="T11" fmla="*/ 34 h 38"/>
                <a:gd name="T12" fmla="*/ 5 w 29"/>
                <a:gd name="T13" fmla="*/ 34 h 38"/>
                <a:gd name="T14" fmla="*/ 5 w 29"/>
                <a:gd name="T15" fmla="*/ 4 h 38"/>
                <a:gd name="T16" fmla="*/ 23 w 29"/>
                <a:gd name="T17" fmla="*/ 4 h 38"/>
                <a:gd name="T18" fmla="*/ 23 w 29"/>
                <a:gd name="T19" fmla="*/ 34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38">
                  <a:moveTo>
                    <a:pt x="0" y="38"/>
                  </a:moveTo>
                  <a:lnTo>
                    <a:pt x="29" y="38"/>
                  </a:lnTo>
                  <a:lnTo>
                    <a:pt x="29" y="0"/>
                  </a:lnTo>
                  <a:lnTo>
                    <a:pt x="0" y="0"/>
                  </a:lnTo>
                  <a:lnTo>
                    <a:pt x="0" y="38"/>
                  </a:lnTo>
                  <a:close/>
                  <a:moveTo>
                    <a:pt x="23" y="34"/>
                  </a:moveTo>
                  <a:lnTo>
                    <a:pt x="5" y="34"/>
                  </a:lnTo>
                  <a:lnTo>
                    <a:pt x="5" y="4"/>
                  </a:lnTo>
                  <a:lnTo>
                    <a:pt x="23" y="4"/>
                  </a:lnTo>
                  <a:lnTo>
                    <a:pt x="23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57" name="Rectangle 6631"/>
            <p:cNvSpPr>
              <a:spLocks noChangeArrowheads="1"/>
            </p:cNvSpPr>
            <p:nvPr/>
          </p:nvSpPr>
          <p:spPr bwMode="auto">
            <a:xfrm>
              <a:off x="6826070" y="5280505"/>
              <a:ext cx="38100" cy="53975"/>
            </a:xfrm>
            <a:prstGeom prst="rect">
              <a:avLst/>
            </a:prstGeom>
            <a:solidFill>
              <a:srgbClr val="1E34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58" name="Freeform 6632"/>
            <p:cNvSpPr>
              <a:spLocks noEditPoints="1"/>
            </p:cNvSpPr>
            <p:nvPr/>
          </p:nvSpPr>
          <p:spPr bwMode="auto">
            <a:xfrm>
              <a:off x="6822895" y="5277330"/>
              <a:ext cx="44450" cy="63500"/>
            </a:xfrm>
            <a:custGeom>
              <a:avLst/>
              <a:gdLst>
                <a:gd name="T0" fmla="*/ 0 w 28"/>
                <a:gd name="T1" fmla="*/ 40 h 40"/>
                <a:gd name="T2" fmla="*/ 28 w 28"/>
                <a:gd name="T3" fmla="*/ 40 h 40"/>
                <a:gd name="T4" fmla="*/ 28 w 28"/>
                <a:gd name="T5" fmla="*/ 0 h 40"/>
                <a:gd name="T6" fmla="*/ 0 w 28"/>
                <a:gd name="T7" fmla="*/ 0 h 40"/>
                <a:gd name="T8" fmla="*/ 0 w 28"/>
                <a:gd name="T9" fmla="*/ 40 h 40"/>
                <a:gd name="T10" fmla="*/ 24 w 28"/>
                <a:gd name="T11" fmla="*/ 34 h 40"/>
                <a:gd name="T12" fmla="*/ 5 w 28"/>
                <a:gd name="T13" fmla="*/ 34 h 40"/>
                <a:gd name="T14" fmla="*/ 5 w 28"/>
                <a:gd name="T15" fmla="*/ 5 h 40"/>
                <a:gd name="T16" fmla="*/ 24 w 28"/>
                <a:gd name="T17" fmla="*/ 5 h 40"/>
                <a:gd name="T18" fmla="*/ 24 w 28"/>
                <a:gd name="T19" fmla="*/ 3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40">
                  <a:moveTo>
                    <a:pt x="0" y="40"/>
                  </a:moveTo>
                  <a:lnTo>
                    <a:pt x="28" y="40"/>
                  </a:lnTo>
                  <a:lnTo>
                    <a:pt x="28" y="0"/>
                  </a:lnTo>
                  <a:lnTo>
                    <a:pt x="0" y="0"/>
                  </a:lnTo>
                  <a:lnTo>
                    <a:pt x="0" y="40"/>
                  </a:lnTo>
                  <a:close/>
                  <a:moveTo>
                    <a:pt x="24" y="34"/>
                  </a:moveTo>
                  <a:lnTo>
                    <a:pt x="5" y="34"/>
                  </a:lnTo>
                  <a:lnTo>
                    <a:pt x="5" y="5"/>
                  </a:lnTo>
                  <a:lnTo>
                    <a:pt x="24" y="5"/>
                  </a:lnTo>
                  <a:lnTo>
                    <a:pt x="24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59" name="Rectangle 6633"/>
            <p:cNvSpPr>
              <a:spLocks noChangeArrowheads="1"/>
            </p:cNvSpPr>
            <p:nvPr/>
          </p:nvSpPr>
          <p:spPr bwMode="auto">
            <a:xfrm>
              <a:off x="6880045" y="5280505"/>
              <a:ext cx="38100" cy="53975"/>
            </a:xfrm>
            <a:prstGeom prst="rect">
              <a:avLst/>
            </a:prstGeom>
            <a:solidFill>
              <a:srgbClr val="1E34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60" name="Freeform 6634"/>
            <p:cNvSpPr>
              <a:spLocks noEditPoints="1"/>
            </p:cNvSpPr>
            <p:nvPr/>
          </p:nvSpPr>
          <p:spPr bwMode="auto">
            <a:xfrm>
              <a:off x="6876870" y="5277330"/>
              <a:ext cx="46038" cy="63500"/>
            </a:xfrm>
            <a:custGeom>
              <a:avLst/>
              <a:gdLst>
                <a:gd name="T0" fmla="*/ 0 w 29"/>
                <a:gd name="T1" fmla="*/ 40 h 40"/>
                <a:gd name="T2" fmla="*/ 29 w 29"/>
                <a:gd name="T3" fmla="*/ 40 h 40"/>
                <a:gd name="T4" fmla="*/ 29 w 29"/>
                <a:gd name="T5" fmla="*/ 0 h 40"/>
                <a:gd name="T6" fmla="*/ 0 w 29"/>
                <a:gd name="T7" fmla="*/ 0 h 40"/>
                <a:gd name="T8" fmla="*/ 0 w 29"/>
                <a:gd name="T9" fmla="*/ 40 h 40"/>
                <a:gd name="T10" fmla="*/ 23 w 29"/>
                <a:gd name="T11" fmla="*/ 34 h 40"/>
                <a:gd name="T12" fmla="*/ 5 w 29"/>
                <a:gd name="T13" fmla="*/ 34 h 40"/>
                <a:gd name="T14" fmla="*/ 5 w 29"/>
                <a:gd name="T15" fmla="*/ 5 h 40"/>
                <a:gd name="T16" fmla="*/ 23 w 29"/>
                <a:gd name="T17" fmla="*/ 5 h 40"/>
                <a:gd name="T18" fmla="*/ 23 w 29"/>
                <a:gd name="T19" fmla="*/ 3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40">
                  <a:moveTo>
                    <a:pt x="0" y="40"/>
                  </a:moveTo>
                  <a:lnTo>
                    <a:pt x="29" y="40"/>
                  </a:lnTo>
                  <a:lnTo>
                    <a:pt x="29" y="0"/>
                  </a:lnTo>
                  <a:lnTo>
                    <a:pt x="0" y="0"/>
                  </a:lnTo>
                  <a:lnTo>
                    <a:pt x="0" y="40"/>
                  </a:lnTo>
                  <a:close/>
                  <a:moveTo>
                    <a:pt x="23" y="34"/>
                  </a:moveTo>
                  <a:lnTo>
                    <a:pt x="5" y="34"/>
                  </a:lnTo>
                  <a:lnTo>
                    <a:pt x="5" y="5"/>
                  </a:lnTo>
                  <a:lnTo>
                    <a:pt x="23" y="5"/>
                  </a:lnTo>
                  <a:lnTo>
                    <a:pt x="23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61" name="Rectangle 6635"/>
            <p:cNvSpPr>
              <a:spLocks noChangeArrowheads="1"/>
            </p:cNvSpPr>
            <p:nvPr/>
          </p:nvSpPr>
          <p:spPr bwMode="auto">
            <a:xfrm>
              <a:off x="6524445" y="5280505"/>
              <a:ext cx="38100" cy="53975"/>
            </a:xfrm>
            <a:prstGeom prst="rect">
              <a:avLst/>
            </a:prstGeom>
            <a:solidFill>
              <a:srgbClr val="1E34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62" name="Freeform 6636"/>
            <p:cNvSpPr>
              <a:spLocks noEditPoints="1"/>
            </p:cNvSpPr>
            <p:nvPr/>
          </p:nvSpPr>
          <p:spPr bwMode="auto">
            <a:xfrm>
              <a:off x="6521270" y="5277330"/>
              <a:ext cx="46038" cy="63500"/>
            </a:xfrm>
            <a:custGeom>
              <a:avLst/>
              <a:gdLst>
                <a:gd name="T0" fmla="*/ 0 w 29"/>
                <a:gd name="T1" fmla="*/ 40 h 40"/>
                <a:gd name="T2" fmla="*/ 29 w 29"/>
                <a:gd name="T3" fmla="*/ 40 h 40"/>
                <a:gd name="T4" fmla="*/ 29 w 29"/>
                <a:gd name="T5" fmla="*/ 0 h 40"/>
                <a:gd name="T6" fmla="*/ 0 w 29"/>
                <a:gd name="T7" fmla="*/ 0 h 40"/>
                <a:gd name="T8" fmla="*/ 0 w 29"/>
                <a:gd name="T9" fmla="*/ 40 h 40"/>
                <a:gd name="T10" fmla="*/ 23 w 29"/>
                <a:gd name="T11" fmla="*/ 34 h 40"/>
                <a:gd name="T12" fmla="*/ 6 w 29"/>
                <a:gd name="T13" fmla="*/ 34 h 40"/>
                <a:gd name="T14" fmla="*/ 6 w 29"/>
                <a:gd name="T15" fmla="*/ 5 h 40"/>
                <a:gd name="T16" fmla="*/ 23 w 29"/>
                <a:gd name="T17" fmla="*/ 5 h 40"/>
                <a:gd name="T18" fmla="*/ 23 w 29"/>
                <a:gd name="T19" fmla="*/ 3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40">
                  <a:moveTo>
                    <a:pt x="0" y="40"/>
                  </a:moveTo>
                  <a:lnTo>
                    <a:pt x="29" y="40"/>
                  </a:lnTo>
                  <a:lnTo>
                    <a:pt x="29" y="0"/>
                  </a:lnTo>
                  <a:lnTo>
                    <a:pt x="0" y="0"/>
                  </a:lnTo>
                  <a:lnTo>
                    <a:pt x="0" y="40"/>
                  </a:lnTo>
                  <a:close/>
                  <a:moveTo>
                    <a:pt x="23" y="34"/>
                  </a:moveTo>
                  <a:lnTo>
                    <a:pt x="6" y="34"/>
                  </a:lnTo>
                  <a:lnTo>
                    <a:pt x="6" y="5"/>
                  </a:lnTo>
                  <a:lnTo>
                    <a:pt x="23" y="5"/>
                  </a:lnTo>
                  <a:lnTo>
                    <a:pt x="23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63" name="Rectangle 6637"/>
            <p:cNvSpPr>
              <a:spLocks noChangeArrowheads="1"/>
            </p:cNvSpPr>
            <p:nvPr/>
          </p:nvSpPr>
          <p:spPr bwMode="auto">
            <a:xfrm>
              <a:off x="6580007" y="5280505"/>
              <a:ext cx="34925" cy="53975"/>
            </a:xfrm>
            <a:prstGeom prst="rect">
              <a:avLst/>
            </a:prstGeom>
            <a:solidFill>
              <a:srgbClr val="1E34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64" name="Freeform 6638"/>
            <p:cNvSpPr>
              <a:spLocks noEditPoints="1"/>
            </p:cNvSpPr>
            <p:nvPr/>
          </p:nvSpPr>
          <p:spPr bwMode="auto">
            <a:xfrm>
              <a:off x="6575245" y="5277330"/>
              <a:ext cx="46038" cy="63500"/>
            </a:xfrm>
            <a:custGeom>
              <a:avLst/>
              <a:gdLst>
                <a:gd name="T0" fmla="*/ 0 w 29"/>
                <a:gd name="T1" fmla="*/ 40 h 40"/>
                <a:gd name="T2" fmla="*/ 29 w 29"/>
                <a:gd name="T3" fmla="*/ 40 h 40"/>
                <a:gd name="T4" fmla="*/ 29 w 29"/>
                <a:gd name="T5" fmla="*/ 0 h 40"/>
                <a:gd name="T6" fmla="*/ 0 w 29"/>
                <a:gd name="T7" fmla="*/ 0 h 40"/>
                <a:gd name="T8" fmla="*/ 0 w 29"/>
                <a:gd name="T9" fmla="*/ 40 h 40"/>
                <a:gd name="T10" fmla="*/ 23 w 29"/>
                <a:gd name="T11" fmla="*/ 34 h 40"/>
                <a:gd name="T12" fmla="*/ 5 w 29"/>
                <a:gd name="T13" fmla="*/ 34 h 40"/>
                <a:gd name="T14" fmla="*/ 5 w 29"/>
                <a:gd name="T15" fmla="*/ 5 h 40"/>
                <a:gd name="T16" fmla="*/ 23 w 29"/>
                <a:gd name="T17" fmla="*/ 5 h 40"/>
                <a:gd name="T18" fmla="*/ 23 w 29"/>
                <a:gd name="T19" fmla="*/ 3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40">
                  <a:moveTo>
                    <a:pt x="0" y="40"/>
                  </a:moveTo>
                  <a:lnTo>
                    <a:pt x="29" y="40"/>
                  </a:lnTo>
                  <a:lnTo>
                    <a:pt x="29" y="0"/>
                  </a:lnTo>
                  <a:lnTo>
                    <a:pt x="0" y="0"/>
                  </a:lnTo>
                  <a:lnTo>
                    <a:pt x="0" y="40"/>
                  </a:lnTo>
                  <a:close/>
                  <a:moveTo>
                    <a:pt x="23" y="34"/>
                  </a:moveTo>
                  <a:lnTo>
                    <a:pt x="5" y="34"/>
                  </a:lnTo>
                  <a:lnTo>
                    <a:pt x="5" y="5"/>
                  </a:lnTo>
                  <a:lnTo>
                    <a:pt x="23" y="5"/>
                  </a:lnTo>
                  <a:lnTo>
                    <a:pt x="23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65" name="Rectangle 6639"/>
            <p:cNvSpPr>
              <a:spLocks noChangeArrowheads="1"/>
            </p:cNvSpPr>
            <p:nvPr/>
          </p:nvSpPr>
          <p:spPr bwMode="auto">
            <a:xfrm>
              <a:off x="6359345" y="5280505"/>
              <a:ext cx="38100" cy="53975"/>
            </a:xfrm>
            <a:prstGeom prst="rect">
              <a:avLst/>
            </a:prstGeom>
            <a:solidFill>
              <a:srgbClr val="1E34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66" name="Freeform 6640"/>
            <p:cNvSpPr>
              <a:spLocks noEditPoints="1"/>
            </p:cNvSpPr>
            <p:nvPr/>
          </p:nvSpPr>
          <p:spPr bwMode="auto">
            <a:xfrm>
              <a:off x="6356170" y="5277330"/>
              <a:ext cx="46038" cy="63500"/>
            </a:xfrm>
            <a:custGeom>
              <a:avLst/>
              <a:gdLst>
                <a:gd name="T0" fmla="*/ 0 w 29"/>
                <a:gd name="T1" fmla="*/ 40 h 40"/>
                <a:gd name="T2" fmla="*/ 29 w 29"/>
                <a:gd name="T3" fmla="*/ 40 h 40"/>
                <a:gd name="T4" fmla="*/ 29 w 29"/>
                <a:gd name="T5" fmla="*/ 0 h 40"/>
                <a:gd name="T6" fmla="*/ 0 w 29"/>
                <a:gd name="T7" fmla="*/ 0 h 40"/>
                <a:gd name="T8" fmla="*/ 0 w 29"/>
                <a:gd name="T9" fmla="*/ 40 h 40"/>
                <a:gd name="T10" fmla="*/ 23 w 29"/>
                <a:gd name="T11" fmla="*/ 34 h 40"/>
                <a:gd name="T12" fmla="*/ 5 w 29"/>
                <a:gd name="T13" fmla="*/ 34 h 40"/>
                <a:gd name="T14" fmla="*/ 5 w 29"/>
                <a:gd name="T15" fmla="*/ 5 h 40"/>
                <a:gd name="T16" fmla="*/ 23 w 29"/>
                <a:gd name="T17" fmla="*/ 5 h 40"/>
                <a:gd name="T18" fmla="*/ 23 w 29"/>
                <a:gd name="T19" fmla="*/ 3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40">
                  <a:moveTo>
                    <a:pt x="0" y="40"/>
                  </a:moveTo>
                  <a:lnTo>
                    <a:pt x="29" y="40"/>
                  </a:lnTo>
                  <a:lnTo>
                    <a:pt x="29" y="0"/>
                  </a:lnTo>
                  <a:lnTo>
                    <a:pt x="0" y="0"/>
                  </a:lnTo>
                  <a:lnTo>
                    <a:pt x="0" y="40"/>
                  </a:lnTo>
                  <a:close/>
                  <a:moveTo>
                    <a:pt x="23" y="34"/>
                  </a:moveTo>
                  <a:lnTo>
                    <a:pt x="5" y="34"/>
                  </a:lnTo>
                  <a:lnTo>
                    <a:pt x="5" y="5"/>
                  </a:lnTo>
                  <a:lnTo>
                    <a:pt x="23" y="5"/>
                  </a:lnTo>
                  <a:lnTo>
                    <a:pt x="23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67" name="Rectangle 6641"/>
            <p:cNvSpPr>
              <a:spLocks noChangeArrowheads="1"/>
            </p:cNvSpPr>
            <p:nvPr/>
          </p:nvSpPr>
          <p:spPr bwMode="auto">
            <a:xfrm>
              <a:off x="6414907" y="5280505"/>
              <a:ext cx="34925" cy="53975"/>
            </a:xfrm>
            <a:prstGeom prst="rect">
              <a:avLst/>
            </a:prstGeom>
            <a:solidFill>
              <a:srgbClr val="1E34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68" name="Freeform 6642"/>
            <p:cNvSpPr>
              <a:spLocks noEditPoints="1"/>
            </p:cNvSpPr>
            <p:nvPr/>
          </p:nvSpPr>
          <p:spPr bwMode="auto">
            <a:xfrm>
              <a:off x="6408557" y="5277330"/>
              <a:ext cx="46038" cy="63500"/>
            </a:xfrm>
            <a:custGeom>
              <a:avLst/>
              <a:gdLst>
                <a:gd name="T0" fmla="*/ 0 w 29"/>
                <a:gd name="T1" fmla="*/ 40 h 40"/>
                <a:gd name="T2" fmla="*/ 29 w 29"/>
                <a:gd name="T3" fmla="*/ 40 h 40"/>
                <a:gd name="T4" fmla="*/ 29 w 29"/>
                <a:gd name="T5" fmla="*/ 0 h 40"/>
                <a:gd name="T6" fmla="*/ 0 w 29"/>
                <a:gd name="T7" fmla="*/ 0 h 40"/>
                <a:gd name="T8" fmla="*/ 0 w 29"/>
                <a:gd name="T9" fmla="*/ 40 h 40"/>
                <a:gd name="T10" fmla="*/ 24 w 29"/>
                <a:gd name="T11" fmla="*/ 34 h 40"/>
                <a:gd name="T12" fmla="*/ 6 w 29"/>
                <a:gd name="T13" fmla="*/ 34 h 40"/>
                <a:gd name="T14" fmla="*/ 6 w 29"/>
                <a:gd name="T15" fmla="*/ 5 h 40"/>
                <a:gd name="T16" fmla="*/ 24 w 29"/>
                <a:gd name="T17" fmla="*/ 5 h 40"/>
                <a:gd name="T18" fmla="*/ 24 w 29"/>
                <a:gd name="T19" fmla="*/ 3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40">
                  <a:moveTo>
                    <a:pt x="0" y="40"/>
                  </a:moveTo>
                  <a:lnTo>
                    <a:pt x="29" y="40"/>
                  </a:lnTo>
                  <a:lnTo>
                    <a:pt x="29" y="0"/>
                  </a:lnTo>
                  <a:lnTo>
                    <a:pt x="0" y="0"/>
                  </a:lnTo>
                  <a:lnTo>
                    <a:pt x="0" y="40"/>
                  </a:lnTo>
                  <a:close/>
                  <a:moveTo>
                    <a:pt x="24" y="34"/>
                  </a:moveTo>
                  <a:lnTo>
                    <a:pt x="6" y="34"/>
                  </a:lnTo>
                  <a:lnTo>
                    <a:pt x="6" y="5"/>
                  </a:lnTo>
                  <a:lnTo>
                    <a:pt x="24" y="5"/>
                  </a:lnTo>
                  <a:lnTo>
                    <a:pt x="24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69" name="Freeform 6643"/>
            <p:cNvSpPr>
              <a:spLocks/>
            </p:cNvSpPr>
            <p:nvPr/>
          </p:nvSpPr>
          <p:spPr bwMode="auto">
            <a:xfrm>
              <a:off x="7502345" y="5021743"/>
              <a:ext cx="477838" cy="346075"/>
            </a:xfrm>
            <a:custGeom>
              <a:avLst/>
              <a:gdLst>
                <a:gd name="T0" fmla="*/ 150 w 301"/>
                <a:gd name="T1" fmla="*/ 0 h 218"/>
                <a:gd name="T2" fmla="*/ 301 w 301"/>
                <a:gd name="T3" fmla="*/ 156 h 218"/>
                <a:gd name="T4" fmla="*/ 292 w 301"/>
                <a:gd name="T5" fmla="*/ 156 h 218"/>
                <a:gd name="T6" fmla="*/ 292 w 301"/>
                <a:gd name="T7" fmla="*/ 218 h 218"/>
                <a:gd name="T8" fmla="*/ 8 w 301"/>
                <a:gd name="T9" fmla="*/ 218 h 218"/>
                <a:gd name="T10" fmla="*/ 8 w 301"/>
                <a:gd name="T11" fmla="*/ 156 h 218"/>
                <a:gd name="T12" fmla="*/ 0 w 301"/>
                <a:gd name="T13" fmla="*/ 156 h 218"/>
                <a:gd name="T14" fmla="*/ 150 w 301"/>
                <a:gd name="T15" fmla="*/ 0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1" h="218">
                  <a:moveTo>
                    <a:pt x="150" y="0"/>
                  </a:moveTo>
                  <a:lnTo>
                    <a:pt x="301" y="156"/>
                  </a:lnTo>
                  <a:lnTo>
                    <a:pt x="292" y="156"/>
                  </a:lnTo>
                  <a:lnTo>
                    <a:pt x="292" y="218"/>
                  </a:lnTo>
                  <a:lnTo>
                    <a:pt x="8" y="218"/>
                  </a:lnTo>
                  <a:lnTo>
                    <a:pt x="8" y="156"/>
                  </a:lnTo>
                  <a:lnTo>
                    <a:pt x="0" y="156"/>
                  </a:lnTo>
                  <a:lnTo>
                    <a:pt x="15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70" name="Rectangle 6644"/>
            <p:cNvSpPr>
              <a:spLocks noChangeArrowheads="1"/>
            </p:cNvSpPr>
            <p:nvPr/>
          </p:nvSpPr>
          <p:spPr bwMode="auto">
            <a:xfrm>
              <a:off x="7515045" y="5367818"/>
              <a:ext cx="450850" cy="38100"/>
            </a:xfrm>
            <a:prstGeom prst="rect">
              <a:avLst/>
            </a:prstGeom>
            <a:solidFill>
              <a:srgbClr val="6B71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71" name="Rectangle 6645"/>
            <p:cNvSpPr>
              <a:spLocks noChangeArrowheads="1"/>
            </p:cNvSpPr>
            <p:nvPr/>
          </p:nvSpPr>
          <p:spPr bwMode="auto">
            <a:xfrm>
              <a:off x="7200720" y="5269393"/>
              <a:ext cx="314325" cy="98425"/>
            </a:xfrm>
            <a:prstGeom prst="rect">
              <a:avLst/>
            </a:prstGeom>
            <a:solidFill>
              <a:srgbClr val="69A2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72" name="Rectangle 6646"/>
            <p:cNvSpPr>
              <a:spLocks noChangeArrowheads="1"/>
            </p:cNvSpPr>
            <p:nvPr/>
          </p:nvSpPr>
          <p:spPr bwMode="auto">
            <a:xfrm>
              <a:off x="7200720" y="5367818"/>
              <a:ext cx="314325" cy="38100"/>
            </a:xfrm>
            <a:prstGeom prst="rect">
              <a:avLst/>
            </a:prstGeom>
            <a:solidFill>
              <a:srgbClr val="9C9C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73" name="Freeform 6647"/>
            <p:cNvSpPr>
              <a:spLocks/>
            </p:cNvSpPr>
            <p:nvPr/>
          </p:nvSpPr>
          <p:spPr bwMode="auto">
            <a:xfrm>
              <a:off x="7200720" y="5021743"/>
              <a:ext cx="539750" cy="247650"/>
            </a:xfrm>
            <a:custGeom>
              <a:avLst/>
              <a:gdLst>
                <a:gd name="T0" fmla="*/ 0 w 340"/>
                <a:gd name="T1" fmla="*/ 156 h 156"/>
                <a:gd name="T2" fmla="*/ 190 w 340"/>
                <a:gd name="T3" fmla="*/ 156 h 156"/>
                <a:gd name="T4" fmla="*/ 340 w 340"/>
                <a:gd name="T5" fmla="*/ 0 h 156"/>
                <a:gd name="T6" fmla="*/ 153 w 340"/>
                <a:gd name="T7" fmla="*/ 0 h 156"/>
                <a:gd name="T8" fmla="*/ 0 w 340"/>
                <a:gd name="T9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0" h="156">
                  <a:moveTo>
                    <a:pt x="0" y="156"/>
                  </a:moveTo>
                  <a:lnTo>
                    <a:pt x="190" y="156"/>
                  </a:lnTo>
                  <a:lnTo>
                    <a:pt x="340" y="0"/>
                  </a:lnTo>
                  <a:lnTo>
                    <a:pt x="153" y="0"/>
                  </a:lnTo>
                  <a:lnTo>
                    <a:pt x="0" y="156"/>
                  </a:lnTo>
                  <a:close/>
                </a:path>
              </a:pathLst>
            </a:custGeom>
            <a:solidFill>
              <a:srgbClr val="2D36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74" name="Rectangle 6648"/>
            <p:cNvSpPr>
              <a:spLocks noChangeArrowheads="1"/>
            </p:cNvSpPr>
            <p:nvPr/>
          </p:nvSpPr>
          <p:spPr bwMode="auto">
            <a:xfrm>
              <a:off x="7584895" y="4951893"/>
              <a:ext cx="41275" cy="103188"/>
            </a:xfrm>
            <a:prstGeom prst="rect">
              <a:avLst/>
            </a:prstGeom>
            <a:solidFill>
              <a:srgbClr val="7D8D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75" name="Rectangle 6649"/>
            <p:cNvSpPr>
              <a:spLocks noChangeArrowheads="1"/>
            </p:cNvSpPr>
            <p:nvPr/>
          </p:nvSpPr>
          <p:spPr bwMode="auto">
            <a:xfrm>
              <a:off x="7769045" y="5129693"/>
              <a:ext cx="36513" cy="53975"/>
            </a:xfrm>
            <a:prstGeom prst="rect">
              <a:avLst/>
            </a:prstGeom>
            <a:solidFill>
              <a:srgbClr val="1E34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76" name="Freeform 6650"/>
            <p:cNvSpPr>
              <a:spLocks noEditPoints="1"/>
            </p:cNvSpPr>
            <p:nvPr/>
          </p:nvSpPr>
          <p:spPr bwMode="auto">
            <a:xfrm>
              <a:off x="7765870" y="5126518"/>
              <a:ext cx="46038" cy="60325"/>
            </a:xfrm>
            <a:custGeom>
              <a:avLst/>
              <a:gdLst>
                <a:gd name="T0" fmla="*/ 0 w 29"/>
                <a:gd name="T1" fmla="*/ 38 h 38"/>
                <a:gd name="T2" fmla="*/ 29 w 29"/>
                <a:gd name="T3" fmla="*/ 38 h 38"/>
                <a:gd name="T4" fmla="*/ 29 w 29"/>
                <a:gd name="T5" fmla="*/ 0 h 38"/>
                <a:gd name="T6" fmla="*/ 0 w 29"/>
                <a:gd name="T7" fmla="*/ 0 h 38"/>
                <a:gd name="T8" fmla="*/ 0 w 29"/>
                <a:gd name="T9" fmla="*/ 38 h 38"/>
                <a:gd name="T10" fmla="*/ 23 w 29"/>
                <a:gd name="T11" fmla="*/ 34 h 38"/>
                <a:gd name="T12" fmla="*/ 5 w 29"/>
                <a:gd name="T13" fmla="*/ 34 h 38"/>
                <a:gd name="T14" fmla="*/ 5 w 29"/>
                <a:gd name="T15" fmla="*/ 4 h 38"/>
                <a:gd name="T16" fmla="*/ 23 w 29"/>
                <a:gd name="T17" fmla="*/ 4 h 38"/>
                <a:gd name="T18" fmla="*/ 23 w 29"/>
                <a:gd name="T19" fmla="*/ 34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38">
                  <a:moveTo>
                    <a:pt x="0" y="38"/>
                  </a:moveTo>
                  <a:lnTo>
                    <a:pt x="29" y="38"/>
                  </a:lnTo>
                  <a:lnTo>
                    <a:pt x="29" y="0"/>
                  </a:lnTo>
                  <a:lnTo>
                    <a:pt x="0" y="0"/>
                  </a:lnTo>
                  <a:lnTo>
                    <a:pt x="0" y="38"/>
                  </a:lnTo>
                  <a:close/>
                  <a:moveTo>
                    <a:pt x="23" y="34"/>
                  </a:moveTo>
                  <a:lnTo>
                    <a:pt x="5" y="34"/>
                  </a:lnTo>
                  <a:lnTo>
                    <a:pt x="5" y="4"/>
                  </a:lnTo>
                  <a:lnTo>
                    <a:pt x="23" y="4"/>
                  </a:lnTo>
                  <a:lnTo>
                    <a:pt x="23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77" name="Rectangle 6651"/>
            <p:cNvSpPr>
              <a:spLocks noChangeArrowheads="1"/>
            </p:cNvSpPr>
            <p:nvPr/>
          </p:nvSpPr>
          <p:spPr bwMode="auto">
            <a:xfrm>
              <a:off x="7678557" y="5129693"/>
              <a:ext cx="36513" cy="53975"/>
            </a:xfrm>
            <a:prstGeom prst="rect">
              <a:avLst/>
            </a:prstGeom>
            <a:solidFill>
              <a:srgbClr val="1E34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78" name="Freeform 6652"/>
            <p:cNvSpPr>
              <a:spLocks noEditPoints="1"/>
            </p:cNvSpPr>
            <p:nvPr/>
          </p:nvSpPr>
          <p:spPr bwMode="auto">
            <a:xfrm>
              <a:off x="7673795" y="5126518"/>
              <a:ext cx="44450" cy="60325"/>
            </a:xfrm>
            <a:custGeom>
              <a:avLst/>
              <a:gdLst>
                <a:gd name="T0" fmla="*/ 0 w 28"/>
                <a:gd name="T1" fmla="*/ 38 h 38"/>
                <a:gd name="T2" fmla="*/ 28 w 28"/>
                <a:gd name="T3" fmla="*/ 38 h 38"/>
                <a:gd name="T4" fmla="*/ 28 w 28"/>
                <a:gd name="T5" fmla="*/ 0 h 38"/>
                <a:gd name="T6" fmla="*/ 0 w 28"/>
                <a:gd name="T7" fmla="*/ 0 h 38"/>
                <a:gd name="T8" fmla="*/ 0 w 28"/>
                <a:gd name="T9" fmla="*/ 38 h 38"/>
                <a:gd name="T10" fmla="*/ 24 w 28"/>
                <a:gd name="T11" fmla="*/ 34 h 38"/>
                <a:gd name="T12" fmla="*/ 6 w 28"/>
                <a:gd name="T13" fmla="*/ 34 h 38"/>
                <a:gd name="T14" fmla="*/ 6 w 28"/>
                <a:gd name="T15" fmla="*/ 4 h 38"/>
                <a:gd name="T16" fmla="*/ 24 w 28"/>
                <a:gd name="T17" fmla="*/ 4 h 38"/>
                <a:gd name="T18" fmla="*/ 24 w 28"/>
                <a:gd name="T19" fmla="*/ 34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38">
                  <a:moveTo>
                    <a:pt x="0" y="38"/>
                  </a:moveTo>
                  <a:lnTo>
                    <a:pt x="28" y="38"/>
                  </a:lnTo>
                  <a:lnTo>
                    <a:pt x="28" y="0"/>
                  </a:lnTo>
                  <a:lnTo>
                    <a:pt x="0" y="0"/>
                  </a:lnTo>
                  <a:lnTo>
                    <a:pt x="0" y="38"/>
                  </a:lnTo>
                  <a:close/>
                  <a:moveTo>
                    <a:pt x="24" y="34"/>
                  </a:moveTo>
                  <a:lnTo>
                    <a:pt x="6" y="34"/>
                  </a:lnTo>
                  <a:lnTo>
                    <a:pt x="6" y="4"/>
                  </a:lnTo>
                  <a:lnTo>
                    <a:pt x="24" y="4"/>
                  </a:lnTo>
                  <a:lnTo>
                    <a:pt x="24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79" name="Rectangle 6653"/>
            <p:cNvSpPr>
              <a:spLocks noChangeArrowheads="1"/>
            </p:cNvSpPr>
            <p:nvPr/>
          </p:nvSpPr>
          <p:spPr bwMode="auto">
            <a:xfrm>
              <a:off x="7696020" y="5280505"/>
              <a:ext cx="38100" cy="53975"/>
            </a:xfrm>
            <a:prstGeom prst="rect">
              <a:avLst/>
            </a:prstGeom>
            <a:solidFill>
              <a:srgbClr val="1E34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80" name="Freeform 6654"/>
            <p:cNvSpPr>
              <a:spLocks noEditPoints="1"/>
            </p:cNvSpPr>
            <p:nvPr/>
          </p:nvSpPr>
          <p:spPr bwMode="auto">
            <a:xfrm>
              <a:off x="7691257" y="5277330"/>
              <a:ext cx="46038" cy="63500"/>
            </a:xfrm>
            <a:custGeom>
              <a:avLst/>
              <a:gdLst>
                <a:gd name="T0" fmla="*/ 0 w 29"/>
                <a:gd name="T1" fmla="*/ 40 h 40"/>
                <a:gd name="T2" fmla="*/ 29 w 29"/>
                <a:gd name="T3" fmla="*/ 40 h 40"/>
                <a:gd name="T4" fmla="*/ 29 w 29"/>
                <a:gd name="T5" fmla="*/ 0 h 40"/>
                <a:gd name="T6" fmla="*/ 0 w 29"/>
                <a:gd name="T7" fmla="*/ 0 h 40"/>
                <a:gd name="T8" fmla="*/ 0 w 29"/>
                <a:gd name="T9" fmla="*/ 40 h 40"/>
                <a:gd name="T10" fmla="*/ 23 w 29"/>
                <a:gd name="T11" fmla="*/ 34 h 40"/>
                <a:gd name="T12" fmla="*/ 6 w 29"/>
                <a:gd name="T13" fmla="*/ 34 h 40"/>
                <a:gd name="T14" fmla="*/ 6 w 29"/>
                <a:gd name="T15" fmla="*/ 5 h 40"/>
                <a:gd name="T16" fmla="*/ 23 w 29"/>
                <a:gd name="T17" fmla="*/ 5 h 40"/>
                <a:gd name="T18" fmla="*/ 23 w 29"/>
                <a:gd name="T19" fmla="*/ 3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40">
                  <a:moveTo>
                    <a:pt x="0" y="40"/>
                  </a:moveTo>
                  <a:lnTo>
                    <a:pt x="29" y="40"/>
                  </a:lnTo>
                  <a:lnTo>
                    <a:pt x="29" y="0"/>
                  </a:lnTo>
                  <a:lnTo>
                    <a:pt x="0" y="0"/>
                  </a:lnTo>
                  <a:lnTo>
                    <a:pt x="0" y="40"/>
                  </a:lnTo>
                  <a:close/>
                  <a:moveTo>
                    <a:pt x="23" y="34"/>
                  </a:moveTo>
                  <a:lnTo>
                    <a:pt x="6" y="34"/>
                  </a:lnTo>
                  <a:lnTo>
                    <a:pt x="6" y="5"/>
                  </a:lnTo>
                  <a:lnTo>
                    <a:pt x="23" y="5"/>
                  </a:lnTo>
                  <a:lnTo>
                    <a:pt x="23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81" name="Rectangle 6655"/>
            <p:cNvSpPr>
              <a:spLocks noChangeArrowheads="1"/>
            </p:cNvSpPr>
            <p:nvPr/>
          </p:nvSpPr>
          <p:spPr bwMode="auto">
            <a:xfrm>
              <a:off x="7749995" y="5280505"/>
              <a:ext cx="36513" cy="53975"/>
            </a:xfrm>
            <a:prstGeom prst="rect">
              <a:avLst/>
            </a:prstGeom>
            <a:solidFill>
              <a:srgbClr val="1E34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82" name="Freeform 6656"/>
            <p:cNvSpPr>
              <a:spLocks noEditPoints="1"/>
            </p:cNvSpPr>
            <p:nvPr/>
          </p:nvSpPr>
          <p:spPr bwMode="auto">
            <a:xfrm>
              <a:off x="7746820" y="5277330"/>
              <a:ext cx="44450" cy="63500"/>
            </a:xfrm>
            <a:custGeom>
              <a:avLst/>
              <a:gdLst>
                <a:gd name="T0" fmla="*/ 0 w 28"/>
                <a:gd name="T1" fmla="*/ 40 h 40"/>
                <a:gd name="T2" fmla="*/ 28 w 28"/>
                <a:gd name="T3" fmla="*/ 40 h 40"/>
                <a:gd name="T4" fmla="*/ 28 w 28"/>
                <a:gd name="T5" fmla="*/ 0 h 40"/>
                <a:gd name="T6" fmla="*/ 0 w 28"/>
                <a:gd name="T7" fmla="*/ 0 h 40"/>
                <a:gd name="T8" fmla="*/ 0 w 28"/>
                <a:gd name="T9" fmla="*/ 40 h 40"/>
                <a:gd name="T10" fmla="*/ 22 w 28"/>
                <a:gd name="T11" fmla="*/ 34 h 40"/>
                <a:gd name="T12" fmla="*/ 4 w 28"/>
                <a:gd name="T13" fmla="*/ 34 h 40"/>
                <a:gd name="T14" fmla="*/ 4 w 28"/>
                <a:gd name="T15" fmla="*/ 5 h 40"/>
                <a:gd name="T16" fmla="*/ 22 w 28"/>
                <a:gd name="T17" fmla="*/ 5 h 40"/>
                <a:gd name="T18" fmla="*/ 22 w 28"/>
                <a:gd name="T19" fmla="*/ 3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40">
                  <a:moveTo>
                    <a:pt x="0" y="40"/>
                  </a:moveTo>
                  <a:lnTo>
                    <a:pt x="28" y="40"/>
                  </a:lnTo>
                  <a:lnTo>
                    <a:pt x="28" y="0"/>
                  </a:lnTo>
                  <a:lnTo>
                    <a:pt x="0" y="0"/>
                  </a:lnTo>
                  <a:lnTo>
                    <a:pt x="0" y="40"/>
                  </a:lnTo>
                  <a:close/>
                  <a:moveTo>
                    <a:pt x="22" y="34"/>
                  </a:moveTo>
                  <a:lnTo>
                    <a:pt x="4" y="34"/>
                  </a:lnTo>
                  <a:lnTo>
                    <a:pt x="4" y="5"/>
                  </a:lnTo>
                  <a:lnTo>
                    <a:pt x="22" y="5"/>
                  </a:lnTo>
                  <a:lnTo>
                    <a:pt x="22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83" name="Rectangle 6657"/>
            <p:cNvSpPr>
              <a:spLocks noChangeArrowheads="1"/>
            </p:cNvSpPr>
            <p:nvPr/>
          </p:nvSpPr>
          <p:spPr bwMode="auto">
            <a:xfrm>
              <a:off x="7394395" y="5280505"/>
              <a:ext cx="38100" cy="53975"/>
            </a:xfrm>
            <a:prstGeom prst="rect">
              <a:avLst/>
            </a:prstGeom>
            <a:solidFill>
              <a:srgbClr val="1E34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84" name="Freeform 6658"/>
            <p:cNvSpPr>
              <a:spLocks noEditPoints="1"/>
            </p:cNvSpPr>
            <p:nvPr/>
          </p:nvSpPr>
          <p:spPr bwMode="auto">
            <a:xfrm>
              <a:off x="7391220" y="5277330"/>
              <a:ext cx="44450" cy="63500"/>
            </a:xfrm>
            <a:custGeom>
              <a:avLst/>
              <a:gdLst>
                <a:gd name="T0" fmla="*/ 0 w 28"/>
                <a:gd name="T1" fmla="*/ 40 h 40"/>
                <a:gd name="T2" fmla="*/ 28 w 28"/>
                <a:gd name="T3" fmla="*/ 40 h 40"/>
                <a:gd name="T4" fmla="*/ 28 w 28"/>
                <a:gd name="T5" fmla="*/ 0 h 40"/>
                <a:gd name="T6" fmla="*/ 0 w 28"/>
                <a:gd name="T7" fmla="*/ 0 h 40"/>
                <a:gd name="T8" fmla="*/ 0 w 28"/>
                <a:gd name="T9" fmla="*/ 40 h 40"/>
                <a:gd name="T10" fmla="*/ 22 w 28"/>
                <a:gd name="T11" fmla="*/ 34 h 40"/>
                <a:gd name="T12" fmla="*/ 4 w 28"/>
                <a:gd name="T13" fmla="*/ 34 h 40"/>
                <a:gd name="T14" fmla="*/ 4 w 28"/>
                <a:gd name="T15" fmla="*/ 5 h 40"/>
                <a:gd name="T16" fmla="*/ 22 w 28"/>
                <a:gd name="T17" fmla="*/ 5 h 40"/>
                <a:gd name="T18" fmla="*/ 22 w 28"/>
                <a:gd name="T19" fmla="*/ 3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40">
                  <a:moveTo>
                    <a:pt x="0" y="40"/>
                  </a:moveTo>
                  <a:lnTo>
                    <a:pt x="28" y="40"/>
                  </a:lnTo>
                  <a:lnTo>
                    <a:pt x="28" y="0"/>
                  </a:lnTo>
                  <a:lnTo>
                    <a:pt x="0" y="0"/>
                  </a:lnTo>
                  <a:lnTo>
                    <a:pt x="0" y="40"/>
                  </a:lnTo>
                  <a:close/>
                  <a:moveTo>
                    <a:pt x="22" y="34"/>
                  </a:moveTo>
                  <a:lnTo>
                    <a:pt x="4" y="34"/>
                  </a:lnTo>
                  <a:lnTo>
                    <a:pt x="4" y="5"/>
                  </a:lnTo>
                  <a:lnTo>
                    <a:pt x="22" y="5"/>
                  </a:lnTo>
                  <a:lnTo>
                    <a:pt x="22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85" name="Rectangle 6659"/>
            <p:cNvSpPr>
              <a:spLocks noChangeArrowheads="1"/>
            </p:cNvSpPr>
            <p:nvPr/>
          </p:nvSpPr>
          <p:spPr bwMode="auto">
            <a:xfrm>
              <a:off x="7448370" y="5280505"/>
              <a:ext cx="36513" cy="53975"/>
            </a:xfrm>
            <a:prstGeom prst="rect">
              <a:avLst/>
            </a:prstGeom>
            <a:solidFill>
              <a:srgbClr val="1E34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86" name="Freeform 6660"/>
            <p:cNvSpPr>
              <a:spLocks noEditPoints="1"/>
            </p:cNvSpPr>
            <p:nvPr/>
          </p:nvSpPr>
          <p:spPr bwMode="auto">
            <a:xfrm>
              <a:off x="7443607" y="5277330"/>
              <a:ext cx="44450" cy="63500"/>
            </a:xfrm>
            <a:custGeom>
              <a:avLst/>
              <a:gdLst>
                <a:gd name="T0" fmla="*/ 0 w 28"/>
                <a:gd name="T1" fmla="*/ 40 h 40"/>
                <a:gd name="T2" fmla="*/ 28 w 28"/>
                <a:gd name="T3" fmla="*/ 40 h 40"/>
                <a:gd name="T4" fmla="*/ 28 w 28"/>
                <a:gd name="T5" fmla="*/ 0 h 40"/>
                <a:gd name="T6" fmla="*/ 0 w 28"/>
                <a:gd name="T7" fmla="*/ 0 h 40"/>
                <a:gd name="T8" fmla="*/ 0 w 28"/>
                <a:gd name="T9" fmla="*/ 40 h 40"/>
                <a:gd name="T10" fmla="*/ 24 w 28"/>
                <a:gd name="T11" fmla="*/ 34 h 40"/>
                <a:gd name="T12" fmla="*/ 5 w 28"/>
                <a:gd name="T13" fmla="*/ 34 h 40"/>
                <a:gd name="T14" fmla="*/ 5 w 28"/>
                <a:gd name="T15" fmla="*/ 5 h 40"/>
                <a:gd name="T16" fmla="*/ 24 w 28"/>
                <a:gd name="T17" fmla="*/ 5 h 40"/>
                <a:gd name="T18" fmla="*/ 24 w 28"/>
                <a:gd name="T19" fmla="*/ 3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40">
                  <a:moveTo>
                    <a:pt x="0" y="40"/>
                  </a:moveTo>
                  <a:lnTo>
                    <a:pt x="28" y="40"/>
                  </a:lnTo>
                  <a:lnTo>
                    <a:pt x="28" y="0"/>
                  </a:lnTo>
                  <a:lnTo>
                    <a:pt x="0" y="0"/>
                  </a:lnTo>
                  <a:lnTo>
                    <a:pt x="0" y="40"/>
                  </a:lnTo>
                  <a:close/>
                  <a:moveTo>
                    <a:pt x="24" y="34"/>
                  </a:moveTo>
                  <a:lnTo>
                    <a:pt x="5" y="34"/>
                  </a:lnTo>
                  <a:lnTo>
                    <a:pt x="5" y="5"/>
                  </a:lnTo>
                  <a:lnTo>
                    <a:pt x="24" y="5"/>
                  </a:lnTo>
                  <a:lnTo>
                    <a:pt x="24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87" name="Rectangle 6661"/>
            <p:cNvSpPr>
              <a:spLocks noChangeArrowheads="1"/>
            </p:cNvSpPr>
            <p:nvPr/>
          </p:nvSpPr>
          <p:spPr bwMode="auto">
            <a:xfrm>
              <a:off x="7229295" y="5280505"/>
              <a:ext cx="36513" cy="53975"/>
            </a:xfrm>
            <a:prstGeom prst="rect">
              <a:avLst/>
            </a:prstGeom>
            <a:solidFill>
              <a:srgbClr val="1E34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88" name="Freeform 6662"/>
            <p:cNvSpPr>
              <a:spLocks noEditPoints="1"/>
            </p:cNvSpPr>
            <p:nvPr/>
          </p:nvSpPr>
          <p:spPr bwMode="auto">
            <a:xfrm>
              <a:off x="7226120" y="5277330"/>
              <a:ext cx="44450" cy="63500"/>
            </a:xfrm>
            <a:custGeom>
              <a:avLst/>
              <a:gdLst>
                <a:gd name="T0" fmla="*/ 0 w 28"/>
                <a:gd name="T1" fmla="*/ 40 h 40"/>
                <a:gd name="T2" fmla="*/ 28 w 28"/>
                <a:gd name="T3" fmla="*/ 40 h 40"/>
                <a:gd name="T4" fmla="*/ 28 w 28"/>
                <a:gd name="T5" fmla="*/ 0 h 40"/>
                <a:gd name="T6" fmla="*/ 0 w 28"/>
                <a:gd name="T7" fmla="*/ 0 h 40"/>
                <a:gd name="T8" fmla="*/ 0 w 28"/>
                <a:gd name="T9" fmla="*/ 40 h 40"/>
                <a:gd name="T10" fmla="*/ 22 w 28"/>
                <a:gd name="T11" fmla="*/ 34 h 40"/>
                <a:gd name="T12" fmla="*/ 4 w 28"/>
                <a:gd name="T13" fmla="*/ 34 h 40"/>
                <a:gd name="T14" fmla="*/ 4 w 28"/>
                <a:gd name="T15" fmla="*/ 5 h 40"/>
                <a:gd name="T16" fmla="*/ 22 w 28"/>
                <a:gd name="T17" fmla="*/ 5 h 40"/>
                <a:gd name="T18" fmla="*/ 22 w 28"/>
                <a:gd name="T19" fmla="*/ 3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40">
                  <a:moveTo>
                    <a:pt x="0" y="40"/>
                  </a:moveTo>
                  <a:lnTo>
                    <a:pt x="28" y="40"/>
                  </a:lnTo>
                  <a:lnTo>
                    <a:pt x="28" y="0"/>
                  </a:lnTo>
                  <a:lnTo>
                    <a:pt x="0" y="0"/>
                  </a:lnTo>
                  <a:lnTo>
                    <a:pt x="0" y="40"/>
                  </a:lnTo>
                  <a:close/>
                  <a:moveTo>
                    <a:pt x="22" y="34"/>
                  </a:moveTo>
                  <a:lnTo>
                    <a:pt x="4" y="34"/>
                  </a:lnTo>
                  <a:lnTo>
                    <a:pt x="4" y="5"/>
                  </a:lnTo>
                  <a:lnTo>
                    <a:pt x="22" y="5"/>
                  </a:lnTo>
                  <a:lnTo>
                    <a:pt x="22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89" name="Rectangle 6663"/>
            <p:cNvSpPr>
              <a:spLocks noChangeArrowheads="1"/>
            </p:cNvSpPr>
            <p:nvPr/>
          </p:nvSpPr>
          <p:spPr bwMode="auto">
            <a:xfrm>
              <a:off x="7283270" y="5280505"/>
              <a:ext cx="36513" cy="53975"/>
            </a:xfrm>
            <a:prstGeom prst="rect">
              <a:avLst/>
            </a:prstGeom>
            <a:solidFill>
              <a:srgbClr val="1E34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90" name="Freeform 6664"/>
            <p:cNvSpPr>
              <a:spLocks noEditPoints="1"/>
            </p:cNvSpPr>
            <p:nvPr/>
          </p:nvSpPr>
          <p:spPr bwMode="auto">
            <a:xfrm>
              <a:off x="7278507" y="5277330"/>
              <a:ext cx="44450" cy="63500"/>
            </a:xfrm>
            <a:custGeom>
              <a:avLst/>
              <a:gdLst>
                <a:gd name="T0" fmla="*/ 0 w 28"/>
                <a:gd name="T1" fmla="*/ 40 h 40"/>
                <a:gd name="T2" fmla="*/ 28 w 28"/>
                <a:gd name="T3" fmla="*/ 40 h 40"/>
                <a:gd name="T4" fmla="*/ 28 w 28"/>
                <a:gd name="T5" fmla="*/ 0 h 40"/>
                <a:gd name="T6" fmla="*/ 0 w 28"/>
                <a:gd name="T7" fmla="*/ 0 h 40"/>
                <a:gd name="T8" fmla="*/ 0 w 28"/>
                <a:gd name="T9" fmla="*/ 40 h 40"/>
                <a:gd name="T10" fmla="*/ 24 w 28"/>
                <a:gd name="T11" fmla="*/ 34 h 40"/>
                <a:gd name="T12" fmla="*/ 5 w 28"/>
                <a:gd name="T13" fmla="*/ 34 h 40"/>
                <a:gd name="T14" fmla="*/ 5 w 28"/>
                <a:gd name="T15" fmla="*/ 5 h 40"/>
                <a:gd name="T16" fmla="*/ 24 w 28"/>
                <a:gd name="T17" fmla="*/ 5 h 40"/>
                <a:gd name="T18" fmla="*/ 24 w 28"/>
                <a:gd name="T19" fmla="*/ 3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40">
                  <a:moveTo>
                    <a:pt x="0" y="40"/>
                  </a:moveTo>
                  <a:lnTo>
                    <a:pt x="28" y="40"/>
                  </a:lnTo>
                  <a:lnTo>
                    <a:pt x="28" y="0"/>
                  </a:lnTo>
                  <a:lnTo>
                    <a:pt x="0" y="0"/>
                  </a:lnTo>
                  <a:lnTo>
                    <a:pt x="0" y="40"/>
                  </a:lnTo>
                  <a:close/>
                  <a:moveTo>
                    <a:pt x="24" y="34"/>
                  </a:moveTo>
                  <a:lnTo>
                    <a:pt x="5" y="34"/>
                  </a:lnTo>
                  <a:lnTo>
                    <a:pt x="5" y="5"/>
                  </a:lnTo>
                  <a:lnTo>
                    <a:pt x="24" y="5"/>
                  </a:lnTo>
                  <a:lnTo>
                    <a:pt x="24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91" name="Freeform 6665"/>
            <p:cNvSpPr>
              <a:spLocks/>
            </p:cNvSpPr>
            <p:nvPr/>
          </p:nvSpPr>
          <p:spPr bwMode="auto">
            <a:xfrm>
              <a:off x="8364357" y="5021743"/>
              <a:ext cx="477838" cy="346075"/>
            </a:xfrm>
            <a:custGeom>
              <a:avLst/>
              <a:gdLst>
                <a:gd name="T0" fmla="*/ 151 w 301"/>
                <a:gd name="T1" fmla="*/ 0 h 218"/>
                <a:gd name="T2" fmla="*/ 301 w 301"/>
                <a:gd name="T3" fmla="*/ 156 h 218"/>
                <a:gd name="T4" fmla="*/ 292 w 301"/>
                <a:gd name="T5" fmla="*/ 156 h 218"/>
                <a:gd name="T6" fmla="*/ 292 w 301"/>
                <a:gd name="T7" fmla="*/ 218 h 218"/>
                <a:gd name="T8" fmla="*/ 8 w 301"/>
                <a:gd name="T9" fmla="*/ 218 h 218"/>
                <a:gd name="T10" fmla="*/ 8 w 301"/>
                <a:gd name="T11" fmla="*/ 156 h 218"/>
                <a:gd name="T12" fmla="*/ 0 w 301"/>
                <a:gd name="T13" fmla="*/ 156 h 218"/>
                <a:gd name="T14" fmla="*/ 151 w 301"/>
                <a:gd name="T15" fmla="*/ 0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1" h="218">
                  <a:moveTo>
                    <a:pt x="151" y="0"/>
                  </a:moveTo>
                  <a:lnTo>
                    <a:pt x="301" y="156"/>
                  </a:lnTo>
                  <a:lnTo>
                    <a:pt x="292" y="156"/>
                  </a:lnTo>
                  <a:lnTo>
                    <a:pt x="292" y="218"/>
                  </a:lnTo>
                  <a:lnTo>
                    <a:pt x="8" y="218"/>
                  </a:lnTo>
                  <a:lnTo>
                    <a:pt x="8" y="156"/>
                  </a:lnTo>
                  <a:lnTo>
                    <a:pt x="0" y="156"/>
                  </a:lnTo>
                  <a:lnTo>
                    <a:pt x="151" y="0"/>
                  </a:lnTo>
                  <a:close/>
                </a:path>
              </a:pathLst>
            </a:custGeom>
            <a:solidFill>
              <a:srgbClr val="09B89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92" name="Rectangle 6666"/>
            <p:cNvSpPr>
              <a:spLocks noChangeArrowheads="1"/>
            </p:cNvSpPr>
            <p:nvPr/>
          </p:nvSpPr>
          <p:spPr bwMode="auto">
            <a:xfrm>
              <a:off x="8377057" y="5367818"/>
              <a:ext cx="450850" cy="38100"/>
            </a:xfrm>
            <a:prstGeom prst="rect">
              <a:avLst/>
            </a:prstGeom>
            <a:solidFill>
              <a:srgbClr val="6B71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93" name="Rectangle 6667"/>
            <p:cNvSpPr>
              <a:spLocks noChangeArrowheads="1"/>
            </p:cNvSpPr>
            <p:nvPr/>
          </p:nvSpPr>
          <p:spPr bwMode="auto">
            <a:xfrm>
              <a:off x="8064320" y="5269393"/>
              <a:ext cx="312738" cy="98425"/>
            </a:xfrm>
            <a:prstGeom prst="rect">
              <a:avLst/>
            </a:prstGeom>
            <a:solidFill>
              <a:srgbClr val="8AD0B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94" name="Rectangle 6668"/>
            <p:cNvSpPr>
              <a:spLocks noChangeArrowheads="1"/>
            </p:cNvSpPr>
            <p:nvPr/>
          </p:nvSpPr>
          <p:spPr bwMode="auto">
            <a:xfrm>
              <a:off x="8064320" y="5367818"/>
              <a:ext cx="312738" cy="38100"/>
            </a:xfrm>
            <a:prstGeom prst="rect">
              <a:avLst/>
            </a:prstGeom>
            <a:solidFill>
              <a:srgbClr val="9C9C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95" name="Freeform 6669"/>
            <p:cNvSpPr>
              <a:spLocks/>
            </p:cNvSpPr>
            <p:nvPr/>
          </p:nvSpPr>
          <p:spPr bwMode="auto">
            <a:xfrm>
              <a:off x="8064320" y="5021743"/>
              <a:ext cx="539750" cy="247650"/>
            </a:xfrm>
            <a:custGeom>
              <a:avLst/>
              <a:gdLst>
                <a:gd name="T0" fmla="*/ 0 w 340"/>
                <a:gd name="T1" fmla="*/ 156 h 156"/>
                <a:gd name="T2" fmla="*/ 189 w 340"/>
                <a:gd name="T3" fmla="*/ 156 h 156"/>
                <a:gd name="T4" fmla="*/ 340 w 340"/>
                <a:gd name="T5" fmla="*/ 0 h 156"/>
                <a:gd name="T6" fmla="*/ 152 w 340"/>
                <a:gd name="T7" fmla="*/ 0 h 156"/>
                <a:gd name="T8" fmla="*/ 0 w 340"/>
                <a:gd name="T9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0" h="156">
                  <a:moveTo>
                    <a:pt x="0" y="156"/>
                  </a:moveTo>
                  <a:lnTo>
                    <a:pt x="189" y="156"/>
                  </a:lnTo>
                  <a:lnTo>
                    <a:pt x="340" y="0"/>
                  </a:lnTo>
                  <a:lnTo>
                    <a:pt x="152" y="0"/>
                  </a:lnTo>
                  <a:lnTo>
                    <a:pt x="0" y="156"/>
                  </a:lnTo>
                  <a:close/>
                </a:path>
              </a:pathLst>
            </a:custGeom>
            <a:solidFill>
              <a:srgbClr val="2D36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96" name="Rectangle 6670"/>
            <p:cNvSpPr>
              <a:spLocks noChangeArrowheads="1"/>
            </p:cNvSpPr>
            <p:nvPr/>
          </p:nvSpPr>
          <p:spPr bwMode="auto">
            <a:xfrm>
              <a:off x="8446907" y="4951893"/>
              <a:ext cx="42863" cy="103188"/>
            </a:xfrm>
            <a:prstGeom prst="rect">
              <a:avLst/>
            </a:prstGeom>
            <a:solidFill>
              <a:srgbClr val="7D8D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97" name="Rectangle 6671"/>
            <p:cNvSpPr>
              <a:spLocks noChangeArrowheads="1"/>
            </p:cNvSpPr>
            <p:nvPr/>
          </p:nvSpPr>
          <p:spPr bwMode="auto">
            <a:xfrm>
              <a:off x="8631057" y="5129693"/>
              <a:ext cx="38100" cy="53975"/>
            </a:xfrm>
            <a:prstGeom prst="rect">
              <a:avLst/>
            </a:prstGeom>
            <a:solidFill>
              <a:srgbClr val="1E34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98" name="Freeform 6672"/>
            <p:cNvSpPr>
              <a:spLocks noEditPoints="1"/>
            </p:cNvSpPr>
            <p:nvPr/>
          </p:nvSpPr>
          <p:spPr bwMode="auto">
            <a:xfrm>
              <a:off x="8627882" y="5126518"/>
              <a:ext cx="46038" cy="60325"/>
            </a:xfrm>
            <a:custGeom>
              <a:avLst/>
              <a:gdLst>
                <a:gd name="T0" fmla="*/ 0 w 29"/>
                <a:gd name="T1" fmla="*/ 38 h 38"/>
                <a:gd name="T2" fmla="*/ 29 w 29"/>
                <a:gd name="T3" fmla="*/ 38 h 38"/>
                <a:gd name="T4" fmla="*/ 29 w 29"/>
                <a:gd name="T5" fmla="*/ 0 h 38"/>
                <a:gd name="T6" fmla="*/ 0 w 29"/>
                <a:gd name="T7" fmla="*/ 0 h 38"/>
                <a:gd name="T8" fmla="*/ 0 w 29"/>
                <a:gd name="T9" fmla="*/ 38 h 38"/>
                <a:gd name="T10" fmla="*/ 24 w 29"/>
                <a:gd name="T11" fmla="*/ 34 h 38"/>
                <a:gd name="T12" fmla="*/ 6 w 29"/>
                <a:gd name="T13" fmla="*/ 34 h 38"/>
                <a:gd name="T14" fmla="*/ 6 w 29"/>
                <a:gd name="T15" fmla="*/ 4 h 38"/>
                <a:gd name="T16" fmla="*/ 24 w 29"/>
                <a:gd name="T17" fmla="*/ 4 h 38"/>
                <a:gd name="T18" fmla="*/ 24 w 29"/>
                <a:gd name="T19" fmla="*/ 34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38">
                  <a:moveTo>
                    <a:pt x="0" y="38"/>
                  </a:moveTo>
                  <a:lnTo>
                    <a:pt x="29" y="38"/>
                  </a:lnTo>
                  <a:lnTo>
                    <a:pt x="29" y="0"/>
                  </a:lnTo>
                  <a:lnTo>
                    <a:pt x="0" y="0"/>
                  </a:lnTo>
                  <a:lnTo>
                    <a:pt x="0" y="38"/>
                  </a:lnTo>
                  <a:close/>
                  <a:moveTo>
                    <a:pt x="24" y="34"/>
                  </a:moveTo>
                  <a:lnTo>
                    <a:pt x="6" y="34"/>
                  </a:lnTo>
                  <a:lnTo>
                    <a:pt x="6" y="4"/>
                  </a:lnTo>
                  <a:lnTo>
                    <a:pt x="24" y="4"/>
                  </a:lnTo>
                  <a:lnTo>
                    <a:pt x="24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99" name="Rectangle 6673"/>
            <p:cNvSpPr>
              <a:spLocks noChangeArrowheads="1"/>
            </p:cNvSpPr>
            <p:nvPr/>
          </p:nvSpPr>
          <p:spPr bwMode="auto">
            <a:xfrm>
              <a:off x="8540570" y="5129693"/>
              <a:ext cx="38100" cy="53975"/>
            </a:xfrm>
            <a:prstGeom prst="rect">
              <a:avLst/>
            </a:prstGeom>
            <a:solidFill>
              <a:srgbClr val="1E34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00" name="Freeform 6674"/>
            <p:cNvSpPr>
              <a:spLocks noEditPoints="1"/>
            </p:cNvSpPr>
            <p:nvPr/>
          </p:nvSpPr>
          <p:spPr bwMode="auto">
            <a:xfrm>
              <a:off x="8537395" y="5126518"/>
              <a:ext cx="46038" cy="60325"/>
            </a:xfrm>
            <a:custGeom>
              <a:avLst/>
              <a:gdLst>
                <a:gd name="T0" fmla="*/ 0 w 29"/>
                <a:gd name="T1" fmla="*/ 38 h 38"/>
                <a:gd name="T2" fmla="*/ 29 w 29"/>
                <a:gd name="T3" fmla="*/ 38 h 38"/>
                <a:gd name="T4" fmla="*/ 29 w 29"/>
                <a:gd name="T5" fmla="*/ 0 h 38"/>
                <a:gd name="T6" fmla="*/ 0 w 29"/>
                <a:gd name="T7" fmla="*/ 0 h 38"/>
                <a:gd name="T8" fmla="*/ 0 w 29"/>
                <a:gd name="T9" fmla="*/ 38 h 38"/>
                <a:gd name="T10" fmla="*/ 23 w 29"/>
                <a:gd name="T11" fmla="*/ 34 h 38"/>
                <a:gd name="T12" fmla="*/ 5 w 29"/>
                <a:gd name="T13" fmla="*/ 34 h 38"/>
                <a:gd name="T14" fmla="*/ 5 w 29"/>
                <a:gd name="T15" fmla="*/ 4 h 38"/>
                <a:gd name="T16" fmla="*/ 23 w 29"/>
                <a:gd name="T17" fmla="*/ 4 h 38"/>
                <a:gd name="T18" fmla="*/ 23 w 29"/>
                <a:gd name="T19" fmla="*/ 34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38">
                  <a:moveTo>
                    <a:pt x="0" y="38"/>
                  </a:moveTo>
                  <a:lnTo>
                    <a:pt x="29" y="38"/>
                  </a:lnTo>
                  <a:lnTo>
                    <a:pt x="29" y="0"/>
                  </a:lnTo>
                  <a:lnTo>
                    <a:pt x="0" y="0"/>
                  </a:lnTo>
                  <a:lnTo>
                    <a:pt x="0" y="38"/>
                  </a:lnTo>
                  <a:close/>
                  <a:moveTo>
                    <a:pt x="23" y="34"/>
                  </a:moveTo>
                  <a:lnTo>
                    <a:pt x="5" y="34"/>
                  </a:lnTo>
                  <a:lnTo>
                    <a:pt x="5" y="4"/>
                  </a:lnTo>
                  <a:lnTo>
                    <a:pt x="23" y="4"/>
                  </a:lnTo>
                  <a:lnTo>
                    <a:pt x="23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01" name="Rectangle 6675"/>
            <p:cNvSpPr>
              <a:spLocks noChangeArrowheads="1"/>
            </p:cNvSpPr>
            <p:nvPr/>
          </p:nvSpPr>
          <p:spPr bwMode="auto">
            <a:xfrm>
              <a:off x="8559620" y="5280505"/>
              <a:ext cx="36513" cy="53975"/>
            </a:xfrm>
            <a:prstGeom prst="rect">
              <a:avLst/>
            </a:prstGeom>
            <a:solidFill>
              <a:srgbClr val="1E34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02" name="Freeform 6676"/>
            <p:cNvSpPr>
              <a:spLocks noEditPoints="1"/>
            </p:cNvSpPr>
            <p:nvPr/>
          </p:nvSpPr>
          <p:spPr bwMode="auto">
            <a:xfrm>
              <a:off x="8553270" y="5277330"/>
              <a:ext cx="47625" cy="63500"/>
            </a:xfrm>
            <a:custGeom>
              <a:avLst/>
              <a:gdLst>
                <a:gd name="T0" fmla="*/ 0 w 30"/>
                <a:gd name="T1" fmla="*/ 40 h 40"/>
                <a:gd name="T2" fmla="*/ 30 w 30"/>
                <a:gd name="T3" fmla="*/ 40 h 40"/>
                <a:gd name="T4" fmla="*/ 30 w 30"/>
                <a:gd name="T5" fmla="*/ 0 h 40"/>
                <a:gd name="T6" fmla="*/ 0 w 30"/>
                <a:gd name="T7" fmla="*/ 0 h 40"/>
                <a:gd name="T8" fmla="*/ 0 w 30"/>
                <a:gd name="T9" fmla="*/ 40 h 40"/>
                <a:gd name="T10" fmla="*/ 24 w 30"/>
                <a:gd name="T11" fmla="*/ 34 h 40"/>
                <a:gd name="T12" fmla="*/ 6 w 30"/>
                <a:gd name="T13" fmla="*/ 34 h 40"/>
                <a:gd name="T14" fmla="*/ 6 w 30"/>
                <a:gd name="T15" fmla="*/ 5 h 40"/>
                <a:gd name="T16" fmla="*/ 24 w 30"/>
                <a:gd name="T17" fmla="*/ 5 h 40"/>
                <a:gd name="T18" fmla="*/ 24 w 30"/>
                <a:gd name="T19" fmla="*/ 3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" h="40">
                  <a:moveTo>
                    <a:pt x="0" y="40"/>
                  </a:moveTo>
                  <a:lnTo>
                    <a:pt x="30" y="40"/>
                  </a:lnTo>
                  <a:lnTo>
                    <a:pt x="30" y="0"/>
                  </a:lnTo>
                  <a:lnTo>
                    <a:pt x="0" y="0"/>
                  </a:lnTo>
                  <a:lnTo>
                    <a:pt x="0" y="40"/>
                  </a:lnTo>
                  <a:close/>
                  <a:moveTo>
                    <a:pt x="24" y="34"/>
                  </a:moveTo>
                  <a:lnTo>
                    <a:pt x="6" y="34"/>
                  </a:lnTo>
                  <a:lnTo>
                    <a:pt x="6" y="5"/>
                  </a:lnTo>
                  <a:lnTo>
                    <a:pt x="24" y="5"/>
                  </a:lnTo>
                  <a:lnTo>
                    <a:pt x="24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03" name="Rectangle 6677"/>
            <p:cNvSpPr>
              <a:spLocks noChangeArrowheads="1"/>
            </p:cNvSpPr>
            <p:nvPr/>
          </p:nvSpPr>
          <p:spPr bwMode="auto">
            <a:xfrm>
              <a:off x="8612007" y="5280505"/>
              <a:ext cx="38100" cy="53975"/>
            </a:xfrm>
            <a:prstGeom prst="rect">
              <a:avLst/>
            </a:prstGeom>
            <a:solidFill>
              <a:srgbClr val="1E34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04" name="Freeform 6678"/>
            <p:cNvSpPr>
              <a:spLocks noEditPoints="1"/>
            </p:cNvSpPr>
            <p:nvPr/>
          </p:nvSpPr>
          <p:spPr bwMode="auto">
            <a:xfrm>
              <a:off x="8608832" y="5277330"/>
              <a:ext cx="44450" cy="63500"/>
            </a:xfrm>
            <a:custGeom>
              <a:avLst/>
              <a:gdLst>
                <a:gd name="T0" fmla="*/ 0 w 28"/>
                <a:gd name="T1" fmla="*/ 40 h 40"/>
                <a:gd name="T2" fmla="*/ 28 w 28"/>
                <a:gd name="T3" fmla="*/ 40 h 40"/>
                <a:gd name="T4" fmla="*/ 28 w 28"/>
                <a:gd name="T5" fmla="*/ 0 h 40"/>
                <a:gd name="T6" fmla="*/ 0 w 28"/>
                <a:gd name="T7" fmla="*/ 0 h 40"/>
                <a:gd name="T8" fmla="*/ 0 w 28"/>
                <a:gd name="T9" fmla="*/ 40 h 40"/>
                <a:gd name="T10" fmla="*/ 24 w 28"/>
                <a:gd name="T11" fmla="*/ 34 h 40"/>
                <a:gd name="T12" fmla="*/ 5 w 28"/>
                <a:gd name="T13" fmla="*/ 34 h 40"/>
                <a:gd name="T14" fmla="*/ 5 w 28"/>
                <a:gd name="T15" fmla="*/ 5 h 40"/>
                <a:gd name="T16" fmla="*/ 24 w 28"/>
                <a:gd name="T17" fmla="*/ 5 h 40"/>
                <a:gd name="T18" fmla="*/ 24 w 28"/>
                <a:gd name="T19" fmla="*/ 3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40">
                  <a:moveTo>
                    <a:pt x="0" y="40"/>
                  </a:moveTo>
                  <a:lnTo>
                    <a:pt x="28" y="40"/>
                  </a:lnTo>
                  <a:lnTo>
                    <a:pt x="28" y="0"/>
                  </a:lnTo>
                  <a:lnTo>
                    <a:pt x="0" y="0"/>
                  </a:lnTo>
                  <a:lnTo>
                    <a:pt x="0" y="40"/>
                  </a:lnTo>
                  <a:close/>
                  <a:moveTo>
                    <a:pt x="24" y="34"/>
                  </a:moveTo>
                  <a:lnTo>
                    <a:pt x="5" y="34"/>
                  </a:lnTo>
                  <a:lnTo>
                    <a:pt x="5" y="5"/>
                  </a:lnTo>
                  <a:lnTo>
                    <a:pt x="24" y="5"/>
                  </a:lnTo>
                  <a:lnTo>
                    <a:pt x="24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05" name="Rectangle 6679"/>
            <p:cNvSpPr>
              <a:spLocks noChangeArrowheads="1"/>
            </p:cNvSpPr>
            <p:nvPr/>
          </p:nvSpPr>
          <p:spPr bwMode="auto">
            <a:xfrm>
              <a:off x="8257995" y="5280505"/>
              <a:ext cx="36513" cy="53975"/>
            </a:xfrm>
            <a:prstGeom prst="rect">
              <a:avLst/>
            </a:prstGeom>
            <a:solidFill>
              <a:srgbClr val="1E34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06" name="Freeform 6680"/>
            <p:cNvSpPr>
              <a:spLocks noEditPoints="1"/>
            </p:cNvSpPr>
            <p:nvPr/>
          </p:nvSpPr>
          <p:spPr bwMode="auto">
            <a:xfrm>
              <a:off x="8251645" y="5277330"/>
              <a:ext cx="46038" cy="63500"/>
            </a:xfrm>
            <a:custGeom>
              <a:avLst/>
              <a:gdLst>
                <a:gd name="T0" fmla="*/ 0 w 29"/>
                <a:gd name="T1" fmla="*/ 40 h 40"/>
                <a:gd name="T2" fmla="*/ 29 w 29"/>
                <a:gd name="T3" fmla="*/ 40 h 40"/>
                <a:gd name="T4" fmla="*/ 29 w 29"/>
                <a:gd name="T5" fmla="*/ 0 h 40"/>
                <a:gd name="T6" fmla="*/ 0 w 29"/>
                <a:gd name="T7" fmla="*/ 0 h 40"/>
                <a:gd name="T8" fmla="*/ 0 w 29"/>
                <a:gd name="T9" fmla="*/ 40 h 40"/>
                <a:gd name="T10" fmla="*/ 25 w 29"/>
                <a:gd name="T11" fmla="*/ 34 h 40"/>
                <a:gd name="T12" fmla="*/ 6 w 29"/>
                <a:gd name="T13" fmla="*/ 34 h 40"/>
                <a:gd name="T14" fmla="*/ 6 w 29"/>
                <a:gd name="T15" fmla="*/ 5 h 40"/>
                <a:gd name="T16" fmla="*/ 25 w 29"/>
                <a:gd name="T17" fmla="*/ 5 h 40"/>
                <a:gd name="T18" fmla="*/ 25 w 29"/>
                <a:gd name="T19" fmla="*/ 3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40">
                  <a:moveTo>
                    <a:pt x="0" y="40"/>
                  </a:moveTo>
                  <a:lnTo>
                    <a:pt x="29" y="40"/>
                  </a:lnTo>
                  <a:lnTo>
                    <a:pt x="29" y="0"/>
                  </a:lnTo>
                  <a:lnTo>
                    <a:pt x="0" y="0"/>
                  </a:lnTo>
                  <a:lnTo>
                    <a:pt x="0" y="40"/>
                  </a:lnTo>
                  <a:close/>
                  <a:moveTo>
                    <a:pt x="25" y="34"/>
                  </a:moveTo>
                  <a:lnTo>
                    <a:pt x="6" y="34"/>
                  </a:lnTo>
                  <a:lnTo>
                    <a:pt x="6" y="5"/>
                  </a:lnTo>
                  <a:lnTo>
                    <a:pt x="25" y="5"/>
                  </a:lnTo>
                  <a:lnTo>
                    <a:pt x="25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07" name="Rectangle 6681"/>
            <p:cNvSpPr>
              <a:spLocks noChangeArrowheads="1"/>
            </p:cNvSpPr>
            <p:nvPr/>
          </p:nvSpPr>
          <p:spPr bwMode="auto">
            <a:xfrm>
              <a:off x="8310382" y="5280505"/>
              <a:ext cx="38100" cy="53975"/>
            </a:xfrm>
            <a:prstGeom prst="rect">
              <a:avLst/>
            </a:prstGeom>
            <a:solidFill>
              <a:srgbClr val="1E34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08" name="Freeform 6682"/>
            <p:cNvSpPr>
              <a:spLocks noEditPoints="1"/>
            </p:cNvSpPr>
            <p:nvPr/>
          </p:nvSpPr>
          <p:spPr bwMode="auto">
            <a:xfrm>
              <a:off x="8307207" y="5277330"/>
              <a:ext cx="44450" cy="63500"/>
            </a:xfrm>
            <a:custGeom>
              <a:avLst/>
              <a:gdLst>
                <a:gd name="T0" fmla="*/ 0 w 28"/>
                <a:gd name="T1" fmla="*/ 40 h 40"/>
                <a:gd name="T2" fmla="*/ 28 w 28"/>
                <a:gd name="T3" fmla="*/ 40 h 40"/>
                <a:gd name="T4" fmla="*/ 28 w 28"/>
                <a:gd name="T5" fmla="*/ 0 h 40"/>
                <a:gd name="T6" fmla="*/ 0 w 28"/>
                <a:gd name="T7" fmla="*/ 0 h 40"/>
                <a:gd name="T8" fmla="*/ 0 w 28"/>
                <a:gd name="T9" fmla="*/ 40 h 40"/>
                <a:gd name="T10" fmla="*/ 23 w 28"/>
                <a:gd name="T11" fmla="*/ 34 h 40"/>
                <a:gd name="T12" fmla="*/ 4 w 28"/>
                <a:gd name="T13" fmla="*/ 34 h 40"/>
                <a:gd name="T14" fmla="*/ 4 w 28"/>
                <a:gd name="T15" fmla="*/ 5 h 40"/>
                <a:gd name="T16" fmla="*/ 23 w 28"/>
                <a:gd name="T17" fmla="*/ 5 h 40"/>
                <a:gd name="T18" fmla="*/ 23 w 28"/>
                <a:gd name="T19" fmla="*/ 3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40">
                  <a:moveTo>
                    <a:pt x="0" y="40"/>
                  </a:moveTo>
                  <a:lnTo>
                    <a:pt x="28" y="40"/>
                  </a:lnTo>
                  <a:lnTo>
                    <a:pt x="28" y="0"/>
                  </a:lnTo>
                  <a:lnTo>
                    <a:pt x="0" y="0"/>
                  </a:lnTo>
                  <a:lnTo>
                    <a:pt x="0" y="40"/>
                  </a:lnTo>
                  <a:close/>
                  <a:moveTo>
                    <a:pt x="23" y="34"/>
                  </a:moveTo>
                  <a:lnTo>
                    <a:pt x="4" y="34"/>
                  </a:lnTo>
                  <a:lnTo>
                    <a:pt x="4" y="5"/>
                  </a:lnTo>
                  <a:lnTo>
                    <a:pt x="23" y="5"/>
                  </a:lnTo>
                  <a:lnTo>
                    <a:pt x="23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09" name="Rectangle 6683"/>
            <p:cNvSpPr>
              <a:spLocks noChangeArrowheads="1"/>
            </p:cNvSpPr>
            <p:nvPr/>
          </p:nvSpPr>
          <p:spPr bwMode="auto">
            <a:xfrm>
              <a:off x="8091307" y="5280505"/>
              <a:ext cx="38100" cy="53975"/>
            </a:xfrm>
            <a:prstGeom prst="rect">
              <a:avLst/>
            </a:prstGeom>
            <a:solidFill>
              <a:srgbClr val="1E34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10" name="Freeform 6684"/>
            <p:cNvSpPr>
              <a:spLocks noEditPoints="1"/>
            </p:cNvSpPr>
            <p:nvPr/>
          </p:nvSpPr>
          <p:spPr bwMode="auto">
            <a:xfrm>
              <a:off x="8086545" y="5277330"/>
              <a:ext cx="46038" cy="63500"/>
            </a:xfrm>
            <a:custGeom>
              <a:avLst/>
              <a:gdLst>
                <a:gd name="T0" fmla="*/ 0 w 29"/>
                <a:gd name="T1" fmla="*/ 40 h 40"/>
                <a:gd name="T2" fmla="*/ 29 w 29"/>
                <a:gd name="T3" fmla="*/ 40 h 40"/>
                <a:gd name="T4" fmla="*/ 29 w 29"/>
                <a:gd name="T5" fmla="*/ 0 h 40"/>
                <a:gd name="T6" fmla="*/ 0 w 29"/>
                <a:gd name="T7" fmla="*/ 0 h 40"/>
                <a:gd name="T8" fmla="*/ 0 w 29"/>
                <a:gd name="T9" fmla="*/ 40 h 40"/>
                <a:gd name="T10" fmla="*/ 24 w 29"/>
                <a:gd name="T11" fmla="*/ 34 h 40"/>
                <a:gd name="T12" fmla="*/ 6 w 29"/>
                <a:gd name="T13" fmla="*/ 34 h 40"/>
                <a:gd name="T14" fmla="*/ 6 w 29"/>
                <a:gd name="T15" fmla="*/ 5 h 40"/>
                <a:gd name="T16" fmla="*/ 24 w 29"/>
                <a:gd name="T17" fmla="*/ 5 h 40"/>
                <a:gd name="T18" fmla="*/ 24 w 29"/>
                <a:gd name="T19" fmla="*/ 3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40">
                  <a:moveTo>
                    <a:pt x="0" y="40"/>
                  </a:moveTo>
                  <a:lnTo>
                    <a:pt x="29" y="40"/>
                  </a:lnTo>
                  <a:lnTo>
                    <a:pt x="29" y="0"/>
                  </a:lnTo>
                  <a:lnTo>
                    <a:pt x="0" y="0"/>
                  </a:lnTo>
                  <a:lnTo>
                    <a:pt x="0" y="40"/>
                  </a:lnTo>
                  <a:close/>
                  <a:moveTo>
                    <a:pt x="24" y="34"/>
                  </a:moveTo>
                  <a:lnTo>
                    <a:pt x="6" y="34"/>
                  </a:lnTo>
                  <a:lnTo>
                    <a:pt x="6" y="5"/>
                  </a:lnTo>
                  <a:lnTo>
                    <a:pt x="24" y="5"/>
                  </a:lnTo>
                  <a:lnTo>
                    <a:pt x="24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11" name="Rectangle 6685"/>
            <p:cNvSpPr>
              <a:spLocks noChangeArrowheads="1"/>
            </p:cNvSpPr>
            <p:nvPr/>
          </p:nvSpPr>
          <p:spPr bwMode="auto">
            <a:xfrm>
              <a:off x="8145282" y="5280505"/>
              <a:ext cx="36513" cy="53975"/>
            </a:xfrm>
            <a:prstGeom prst="rect">
              <a:avLst/>
            </a:prstGeom>
            <a:solidFill>
              <a:srgbClr val="1E34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12" name="Freeform 6686"/>
            <p:cNvSpPr>
              <a:spLocks noEditPoints="1"/>
            </p:cNvSpPr>
            <p:nvPr/>
          </p:nvSpPr>
          <p:spPr bwMode="auto">
            <a:xfrm>
              <a:off x="8142107" y="5277330"/>
              <a:ext cx="44450" cy="63500"/>
            </a:xfrm>
            <a:custGeom>
              <a:avLst/>
              <a:gdLst>
                <a:gd name="T0" fmla="*/ 0 w 28"/>
                <a:gd name="T1" fmla="*/ 40 h 40"/>
                <a:gd name="T2" fmla="*/ 28 w 28"/>
                <a:gd name="T3" fmla="*/ 40 h 40"/>
                <a:gd name="T4" fmla="*/ 28 w 28"/>
                <a:gd name="T5" fmla="*/ 0 h 40"/>
                <a:gd name="T6" fmla="*/ 0 w 28"/>
                <a:gd name="T7" fmla="*/ 0 h 40"/>
                <a:gd name="T8" fmla="*/ 0 w 28"/>
                <a:gd name="T9" fmla="*/ 40 h 40"/>
                <a:gd name="T10" fmla="*/ 23 w 28"/>
                <a:gd name="T11" fmla="*/ 34 h 40"/>
                <a:gd name="T12" fmla="*/ 4 w 28"/>
                <a:gd name="T13" fmla="*/ 34 h 40"/>
                <a:gd name="T14" fmla="*/ 4 w 28"/>
                <a:gd name="T15" fmla="*/ 5 h 40"/>
                <a:gd name="T16" fmla="*/ 23 w 28"/>
                <a:gd name="T17" fmla="*/ 5 h 40"/>
                <a:gd name="T18" fmla="*/ 23 w 28"/>
                <a:gd name="T19" fmla="*/ 3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40">
                  <a:moveTo>
                    <a:pt x="0" y="40"/>
                  </a:moveTo>
                  <a:lnTo>
                    <a:pt x="28" y="40"/>
                  </a:lnTo>
                  <a:lnTo>
                    <a:pt x="28" y="0"/>
                  </a:lnTo>
                  <a:lnTo>
                    <a:pt x="0" y="0"/>
                  </a:lnTo>
                  <a:lnTo>
                    <a:pt x="0" y="40"/>
                  </a:lnTo>
                  <a:close/>
                  <a:moveTo>
                    <a:pt x="23" y="34"/>
                  </a:moveTo>
                  <a:lnTo>
                    <a:pt x="4" y="34"/>
                  </a:lnTo>
                  <a:lnTo>
                    <a:pt x="4" y="5"/>
                  </a:lnTo>
                  <a:lnTo>
                    <a:pt x="23" y="5"/>
                  </a:lnTo>
                  <a:lnTo>
                    <a:pt x="23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13" name="Freeform 6687"/>
            <p:cNvSpPr>
              <a:spLocks/>
            </p:cNvSpPr>
            <p:nvPr/>
          </p:nvSpPr>
          <p:spPr bwMode="auto">
            <a:xfrm>
              <a:off x="5759270" y="5021743"/>
              <a:ext cx="477838" cy="346075"/>
            </a:xfrm>
            <a:custGeom>
              <a:avLst/>
              <a:gdLst>
                <a:gd name="T0" fmla="*/ 150 w 301"/>
                <a:gd name="T1" fmla="*/ 0 h 218"/>
                <a:gd name="T2" fmla="*/ 301 w 301"/>
                <a:gd name="T3" fmla="*/ 156 h 218"/>
                <a:gd name="T4" fmla="*/ 291 w 301"/>
                <a:gd name="T5" fmla="*/ 156 h 218"/>
                <a:gd name="T6" fmla="*/ 291 w 301"/>
                <a:gd name="T7" fmla="*/ 218 h 218"/>
                <a:gd name="T8" fmla="*/ 8 w 301"/>
                <a:gd name="T9" fmla="*/ 218 h 218"/>
                <a:gd name="T10" fmla="*/ 8 w 301"/>
                <a:gd name="T11" fmla="*/ 156 h 218"/>
                <a:gd name="T12" fmla="*/ 0 w 301"/>
                <a:gd name="T13" fmla="*/ 156 h 218"/>
                <a:gd name="T14" fmla="*/ 150 w 301"/>
                <a:gd name="T15" fmla="*/ 0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1" h="218">
                  <a:moveTo>
                    <a:pt x="150" y="0"/>
                  </a:moveTo>
                  <a:lnTo>
                    <a:pt x="301" y="156"/>
                  </a:lnTo>
                  <a:lnTo>
                    <a:pt x="291" y="156"/>
                  </a:lnTo>
                  <a:lnTo>
                    <a:pt x="291" y="218"/>
                  </a:lnTo>
                  <a:lnTo>
                    <a:pt x="8" y="218"/>
                  </a:lnTo>
                  <a:lnTo>
                    <a:pt x="8" y="156"/>
                  </a:lnTo>
                  <a:lnTo>
                    <a:pt x="0" y="156"/>
                  </a:lnTo>
                  <a:lnTo>
                    <a:pt x="150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14" name="Rectangle 6688"/>
            <p:cNvSpPr>
              <a:spLocks noChangeArrowheads="1"/>
            </p:cNvSpPr>
            <p:nvPr/>
          </p:nvSpPr>
          <p:spPr bwMode="auto">
            <a:xfrm>
              <a:off x="5771970" y="5367818"/>
              <a:ext cx="449263" cy="38100"/>
            </a:xfrm>
            <a:prstGeom prst="rect">
              <a:avLst/>
            </a:prstGeom>
            <a:solidFill>
              <a:srgbClr val="6B71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15" name="Rectangle 6689"/>
            <p:cNvSpPr>
              <a:spLocks noChangeArrowheads="1"/>
            </p:cNvSpPr>
            <p:nvPr/>
          </p:nvSpPr>
          <p:spPr bwMode="auto">
            <a:xfrm>
              <a:off x="5456057" y="5269393"/>
              <a:ext cx="315913" cy="98425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16" name="Rectangle 6690"/>
            <p:cNvSpPr>
              <a:spLocks noChangeArrowheads="1"/>
            </p:cNvSpPr>
            <p:nvPr/>
          </p:nvSpPr>
          <p:spPr bwMode="auto">
            <a:xfrm>
              <a:off x="5456057" y="5367818"/>
              <a:ext cx="315913" cy="38100"/>
            </a:xfrm>
            <a:prstGeom prst="rect">
              <a:avLst/>
            </a:prstGeom>
            <a:solidFill>
              <a:srgbClr val="9C9C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17" name="Freeform 6691"/>
            <p:cNvSpPr>
              <a:spLocks/>
            </p:cNvSpPr>
            <p:nvPr/>
          </p:nvSpPr>
          <p:spPr bwMode="auto">
            <a:xfrm>
              <a:off x="5456057" y="5021743"/>
              <a:ext cx="541338" cy="247650"/>
            </a:xfrm>
            <a:custGeom>
              <a:avLst/>
              <a:gdLst>
                <a:gd name="T0" fmla="*/ 0 w 341"/>
                <a:gd name="T1" fmla="*/ 156 h 156"/>
                <a:gd name="T2" fmla="*/ 191 w 341"/>
                <a:gd name="T3" fmla="*/ 156 h 156"/>
                <a:gd name="T4" fmla="*/ 341 w 341"/>
                <a:gd name="T5" fmla="*/ 0 h 156"/>
                <a:gd name="T6" fmla="*/ 153 w 341"/>
                <a:gd name="T7" fmla="*/ 0 h 156"/>
                <a:gd name="T8" fmla="*/ 0 w 341"/>
                <a:gd name="T9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1" h="156">
                  <a:moveTo>
                    <a:pt x="0" y="156"/>
                  </a:moveTo>
                  <a:lnTo>
                    <a:pt x="191" y="156"/>
                  </a:lnTo>
                  <a:lnTo>
                    <a:pt x="341" y="0"/>
                  </a:lnTo>
                  <a:lnTo>
                    <a:pt x="153" y="0"/>
                  </a:lnTo>
                  <a:lnTo>
                    <a:pt x="0" y="156"/>
                  </a:lnTo>
                  <a:close/>
                </a:path>
              </a:pathLst>
            </a:custGeom>
            <a:solidFill>
              <a:srgbClr val="2D36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18" name="Rectangle 6692"/>
            <p:cNvSpPr>
              <a:spLocks noChangeArrowheads="1"/>
            </p:cNvSpPr>
            <p:nvPr/>
          </p:nvSpPr>
          <p:spPr bwMode="auto">
            <a:xfrm>
              <a:off x="5840232" y="4951893"/>
              <a:ext cx="42863" cy="103188"/>
            </a:xfrm>
            <a:prstGeom prst="rect">
              <a:avLst/>
            </a:prstGeom>
            <a:solidFill>
              <a:srgbClr val="7D8D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19" name="Rectangle 6693"/>
            <p:cNvSpPr>
              <a:spLocks noChangeArrowheads="1"/>
            </p:cNvSpPr>
            <p:nvPr/>
          </p:nvSpPr>
          <p:spPr bwMode="auto">
            <a:xfrm>
              <a:off x="6025970" y="5129693"/>
              <a:ext cx="36513" cy="53975"/>
            </a:xfrm>
            <a:prstGeom prst="rect">
              <a:avLst/>
            </a:prstGeom>
            <a:solidFill>
              <a:srgbClr val="1E34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20" name="Freeform 6694"/>
            <p:cNvSpPr>
              <a:spLocks noEditPoints="1"/>
            </p:cNvSpPr>
            <p:nvPr/>
          </p:nvSpPr>
          <p:spPr bwMode="auto">
            <a:xfrm>
              <a:off x="6022795" y="5126518"/>
              <a:ext cx="44450" cy="60325"/>
            </a:xfrm>
            <a:custGeom>
              <a:avLst/>
              <a:gdLst>
                <a:gd name="T0" fmla="*/ 0 w 28"/>
                <a:gd name="T1" fmla="*/ 38 h 38"/>
                <a:gd name="T2" fmla="*/ 28 w 28"/>
                <a:gd name="T3" fmla="*/ 38 h 38"/>
                <a:gd name="T4" fmla="*/ 28 w 28"/>
                <a:gd name="T5" fmla="*/ 0 h 38"/>
                <a:gd name="T6" fmla="*/ 0 w 28"/>
                <a:gd name="T7" fmla="*/ 0 h 38"/>
                <a:gd name="T8" fmla="*/ 0 w 28"/>
                <a:gd name="T9" fmla="*/ 38 h 38"/>
                <a:gd name="T10" fmla="*/ 23 w 28"/>
                <a:gd name="T11" fmla="*/ 34 h 38"/>
                <a:gd name="T12" fmla="*/ 4 w 28"/>
                <a:gd name="T13" fmla="*/ 34 h 38"/>
                <a:gd name="T14" fmla="*/ 4 w 28"/>
                <a:gd name="T15" fmla="*/ 4 h 38"/>
                <a:gd name="T16" fmla="*/ 23 w 28"/>
                <a:gd name="T17" fmla="*/ 4 h 38"/>
                <a:gd name="T18" fmla="*/ 23 w 28"/>
                <a:gd name="T19" fmla="*/ 34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38">
                  <a:moveTo>
                    <a:pt x="0" y="38"/>
                  </a:moveTo>
                  <a:lnTo>
                    <a:pt x="28" y="38"/>
                  </a:lnTo>
                  <a:lnTo>
                    <a:pt x="28" y="0"/>
                  </a:lnTo>
                  <a:lnTo>
                    <a:pt x="0" y="0"/>
                  </a:lnTo>
                  <a:lnTo>
                    <a:pt x="0" y="38"/>
                  </a:lnTo>
                  <a:close/>
                  <a:moveTo>
                    <a:pt x="23" y="34"/>
                  </a:moveTo>
                  <a:lnTo>
                    <a:pt x="4" y="34"/>
                  </a:lnTo>
                  <a:lnTo>
                    <a:pt x="4" y="4"/>
                  </a:lnTo>
                  <a:lnTo>
                    <a:pt x="23" y="4"/>
                  </a:lnTo>
                  <a:lnTo>
                    <a:pt x="23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21" name="Rectangle 6695"/>
            <p:cNvSpPr>
              <a:spLocks noChangeArrowheads="1"/>
            </p:cNvSpPr>
            <p:nvPr/>
          </p:nvSpPr>
          <p:spPr bwMode="auto">
            <a:xfrm>
              <a:off x="5933895" y="5129693"/>
              <a:ext cx="38100" cy="53975"/>
            </a:xfrm>
            <a:prstGeom prst="rect">
              <a:avLst/>
            </a:prstGeom>
            <a:solidFill>
              <a:srgbClr val="1E34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22" name="Freeform 6696"/>
            <p:cNvSpPr>
              <a:spLocks noEditPoints="1"/>
            </p:cNvSpPr>
            <p:nvPr/>
          </p:nvSpPr>
          <p:spPr bwMode="auto">
            <a:xfrm>
              <a:off x="5929132" y="5126518"/>
              <a:ext cx="46038" cy="60325"/>
            </a:xfrm>
            <a:custGeom>
              <a:avLst/>
              <a:gdLst>
                <a:gd name="T0" fmla="*/ 0 w 29"/>
                <a:gd name="T1" fmla="*/ 38 h 38"/>
                <a:gd name="T2" fmla="*/ 29 w 29"/>
                <a:gd name="T3" fmla="*/ 38 h 38"/>
                <a:gd name="T4" fmla="*/ 29 w 29"/>
                <a:gd name="T5" fmla="*/ 0 h 38"/>
                <a:gd name="T6" fmla="*/ 0 w 29"/>
                <a:gd name="T7" fmla="*/ 0 h 38"/>
                <a:gd name="T8" fmla="*/ 0 w 29"/>
                <a:gd name="T9" fmla="*/ 38 h 38"/>
                <a:gd name="T10" fmla="*/ 24 w 29"/>
                <a:gd name="T11" fmla="*/ 34 h 38"/>
                <a:gd name="T12" fmla="*/ 6 w 29"/>
                <a:gd name="T13" fmla="*/ 34 h 38"/>
                <a:gd name="T14" fmla="*/ 6 w 29"/>
                <a:gd name="T15" fmla="*/ 4 h 38"/>
                <a:gd name="T16" fmla="*/ 24 w 29"/>
                <a:gd name="T17" fmla="*/ 4 h 38"/>
                <a:gd name="T18" fmla="*/ 24 w 29"/>
                <a:gd name="T19" fmla="*/ 34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38">
                  <a:moveTo>
                    <a:pt x="0" y="38"/>
                  </a:moveTo>
                  <a:lnTo>
                    <a:pt x="29" y="38"/>
                  </a:lnTo>
                  <a:lnTo>
                    <a:pt x="29" y="0"/>
                  </a:lnTo>
                  <a:lnTo>
                    <a:pt x="0" y="0"/>
                  </a:lnTo>
                  <a:lnTo>
                    <a:pt x="0" y="38"/>
                  </a:lnTo>
                  <a:close/>
                  <a:moveTo>
                    <a:pt x="24" y="34"/>
                  </a:moveTo>
                  <a:lnTo>
                    <a:pt x="6" y="34"/>
                  </a:lnTo>
                  <a:lnTo>
                    <a:pt x="6" y="4"/>
                  </a:lnTo>
                  <a:lnTo>
                    <a:pt x="24" y="4"/>
                  </a:lnTo>
                  <a:lnTo>
                    <a:pt x="24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23" name="Rectangle 6697"/>
            <p:cNvSpPr>
              <a:spLocks noChangeArrowheads="1"/>
            </p:cNvSpPr>
            <p:nvPr/>
          </p:nvSpPr>
          <p:spPr bwMode="auto">
            <a:xfrm>
              <a:off x="5821182" y="5280505"/>
              <a:ext cx="36513" cy="53975"/>
            </a:xfrm>
            <a:prstGeom prst="rect">
              <a:avLst/>
            </a:prstGeom>
            <a:solidFill>
              <a:srgbClr val="1E34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24" name="Freeform 6698"/>
            <p:cNvSpPr>
              <a:spLocks noEditPoints="1"/>
            </p:cNvSpPr>
            <p:nvPr/>
          </p:nvSpPr>
          <p:spPr bwMode="auto">
            <a:xfrm>
              <a:off x="5814832" y="5277330"/>
              <a:ext cx="46038" cy="63500"/>
            </a:xfrm>
            <a:custGeom>
              <a:avLst/>
              <a:gdLst>
                <a:gd name="T0" fmla="*/ 0 w 29"/>
                <a:gd name="T1" fmla="*/ 40 h 40"/>
                <a:gd name="T2" fmla="*/ 29 w 29"/>
                <a:gd name="T3" fmla="*/ 40 h 40"/>
                <a:gd name="T4" fmla="*/ 29 w 29"/>
                <a:gd name="T5" fmla="*/ 0 h 40"/>
                <a:gd name="T6" fmla="*/ 0 w 29"/>
                <a:gd name="T7" fmla="*/ 0 h 40"/>
                <a:gd name="T8" fmla="*/ 0 w 29"/>
                <a:gd name="T9" fmla="*/ 40 h 40"/>
                <a:gd name="T10" fmla="*/ 24 w 29"/>
                <a:gd name="T11" fmla="*/ 34 h 40"/>
                <a:gd name="T12" fmla="*/ 6 w 29"/>
                <a:gd name="T13" fmla="*/ 34 h 40"/>
                <a:gd name="T14" fmla="*/ 6 w 29"/>
                <a:gd name="T15" fmla="*/ 5 h 40"/>
                <a:gd name="T16" fmla="*/ 24 w 29"/>
                <a:gd name="T17" fmla="*/ 5 h 40"/>
                <a:gd name="T18" fmla="*/ 24 w 29"/>
                <a:gd name="T19" fmla="*/ 3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40">
                  <a:moveTo>
                    <a:pt x="0" y="40"/>
                  </a:moveTo>
                  <a:lnTo>
                    <a:pt x="29" y="40"/>
                  </a:lnTo>
                  <a:lnTo>
                    <a:pt x="29" y="0"/>
                  </a:lnTo>
                  <a:lnTo>
                    <a:pt x="0" y="0"/>
                  </a:lnTo>
                  <a:lnTo>
                    <a:pt x="0" y="40"/>
                  </a:lnTo>
                  <a:close/>
                  <a:moveTo>
                    <a:pt x="24" y="34"/>
                  </a:moveTo>
                  <a:lnTo>
                    <a:pt x="6" y="34"/>
                  </a:lnTo>
                  <a:lnTo>
                    <a:pt x="6" y="5"/>
                  </a:lnTo>
                  <a:lnTo>
                    <a:pt x="24" y="5"/>
                  </a:lnTo>
                  <a:lnTo>
                    <a:pt x="24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25" name="Rectangle 6699"/>
            <p:cNvSpPr>
              <a:spLocks noChangeArrowheads="1"/>
            </p:cNvSpPr>
            <p:nvPr/>
          </p:nvSpPr>
          <p:spPr bwMode="auto">
            <a:xfrm>
              <a:off x="5873570" y="5280505"/>
              <a:ext cx="38100" cy="53975"/>
            </a:xfrm>
            <a:prstGeom prst="rect">
              <a:avLst/>
            </a:prstGeom>
            <a:solidFill>
              <a:srgbClr val="1E34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26" name="Freeform 6700"/>
            <p:cNvSpPr>
              <a:spLocks noEditPoints="1"/>
            </p:cNvSpPr>
            <p:nvPr/>
          </p:nvSpPr>
          <p:spPr bwMode="auto">
            <a:xfrm>
              <a:off x="5870395" y="5277330"/>
              <a:ext cx="44450" cy="63500"/>
            </a:xfrm>
            <a:custGeom>
              <a:avLst/>
              <a:gdLst>
                <a:gd name="T0" fmla="*/ 0 w 28"/>
                <a:gd name="T1" fmla="*/ 40 h 40"/>
                <a:gd name="T2" fmla="*/ 28 w 28"/>
                <a:gd name="T3" fmla="*/ 40 h 40"/>
                <a:gd name="T4" fmla="*/ 28 w 28"/>
                <a:gd name="T5" fmla="*/ 0 h 40"/>
                <a:gd name="T6" fmla="*/ 0 w 28"/>
                <a:gd name="T7" fmla="*/ 0 h 40"/>
                <a:gd name="T8" fmla="*/ 0 w 28"/>
                <a:gd name="T9" fmla="*/ 40 h 40"/>
                <a:gd name="T10" fmla="*/ 23 w 28"/>
                <a:gd name="T11" fmla="*/ 34 h 40"/>
                <a:gd name="T12" fmla="*/ 5 w 28"/>
                <a:gd name="T13" fmla="*/ 34 h 40"/>
                <a:gd name="T14" fmla="*/ 5 w 28"/>
                <a:gd name="T15" fmla="*/ 5 h 40"/>
                <a:gd name="T16" fmla="*/ 23 w 28"/>
                <a:gd name="T17" fmla="*/ 5 h 40"/>
                <a:gd name="T18" fmla="*/ 23 w 28"/>
                <a:gd name="T19" fmla="*/ 3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40">
                  <a:moveTo>
                    <a:pt x="0" y="40"/>
                  </a:moveTo>
                  <a:lnTo>
                    <a:pt x="28" y="40"/>
                  </a:lnTo>
                  <a:lnTo>
                    <a:pt x="28" y="0"/>
                  </a:lnTo>
                  <a:lnTo>
                    <a:pt x="0" y="0"/>
                  </a:lnTo>
                  <a:lnTo>
                    <a:pt x="0" y="40"/>
                  </a:lnTo>
                  <a:close/>
                  <a:moveTo>
                    <a:pt x="23" y="34"/>
                  </a:moveTo>
                  <a:lnTo>
                    <a:pt x="5" y="34"/>
                  </a:lnTo>
                  <a:lnTo>
                    <a:pt x="5" y="5"/>
                  </a:lnTo>
                  <a:lnTo>
                    <a:pt x="23" y="5"/>
                  </a:lnTo>
                  <a:lnTo>
                    <a:pt x="23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27" name="Rectangle 6701"/>
            <p:cNvSpPr>
              <a:spLocks noChangeArrowheads="1"/>
            </p:cNvSpPr>
            <p:nvPr/>
          </p:nvSpPr>
          <p:spPr bwMode="auto">
            <a:xfrm>
              <a:off x="5568770" y="5286855"/>
              <a:ext cx="36513" cy="55563"/>
            </a:xfrm>
            <a:prstGeom prst="rect">
              <a:avLst/>
            </a:prstGeom>
            <a:solidFill>
              <a:srgbClr val="1E34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28" name="Freeform 6702"/>
            <p:cNvSpPr>
              <a:spLocks noEditPoints="1"/>
            </p:cNvSpPr>
            <p:nvPr/>
          </p:nvSpPr>
          <p:spPr bwMode="auto">
            <a:xfrm>
              <a:off x="5565595" y="5283680"/>
              <a:ext cx="44450" cy="61913"/>
            </a:xfrm>
            <a:custGeom>
              <a:avLst/>
              <a:gdLst>
                <a:gd name="T0" fmla="*/ 0 w 28"/>
                <a:gd name="T1" fmla="*/ 39 h 39"/>
                <a:gd name="T2" fmla="*/ 28 w 28"/>
                <a:gd name="T3" fmla="*/ 39 h 39"/>
                <a:gd name="T4" fmla="*/ 28 w 28"/>
                <a:gd name="T5" fmla="*/ 0 h 39"/>
                <a:gd name="T6" fmla="*/ 0 w 28"/>
                <a:gd name="T7" fmla="*/ 0 h 39"/>
                <a:gd name="T8" fmla="*/ 0 w 28"/>
                <a:gd name="T9" fmla="*/ 39 h 39"/>
                <a:gd name="T10" fmla="*/ 22 w 28"/>
                <a:gd name="T11" fmla="*/ 35 h 39"/>
                <a:gd name="T12" fmla="*/ 4 w 28"/>
                <a:gd name="T13" fmla="*/ 35 h 39"/>
                <a:gd name="T14" fmla="*/ 4 w 28"/>
                <a:gd name="T15" fmla="*/ 5 h 39"/>
                <a:gd name="T16" fmla="*/ 22 w 28"/>
                <a:gd name="T17" fmla="*/ 5 h 39"/>
                <a:gd name="T18" fmla="*/ 22 w 28"/>
                <a:gd name="T19" fmla="*/ 35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39">
                  <a:moveTo>
                    <a:pt x="0" y="39"/>
                  </a:moveTo>
                  <a:lnTo>
                    <a:pt x="28" y="39"/>
                  </a:lnTo>
                  <a:lnTo>
                    <a:pt x="28" y="0"/>
                  </a:lnTo>
                  <a:lnTo>
                    <a:pt x="0" y="0"/>
                  </a:lnTo>
                  <a:lnTo>
                    <a:pt x="0" y="39"/>
                  </a:lnTo>
                  <a:close/>
                  <a:moveTo>
                    <a:pt x="22" y="35"/>
                  </a:moveTo>
                  <a:lnTo>
                    <a:pt x="4" y="35"/>
                  </a:lnTo>
                  <a:lnTo>
                    <a:pt x="4" y="5"/>
                  </a:lnTo>
                  <a:lnTo>
                    <a:pt x="22" y="5"/>
                  </a:lnTo>
                  <a:lnTo>
                    <a:pt x="22" y="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29" name="Rectangle 6703"/>
            <p:cNvSpPr>
              <a:spLocks noChangeArrowheads="1"/>
            </p:cNvSpPr>
            <p:nvPr/>
          </p:nvSpPr>
          <p:spPr bwMode="auto">
            <a:xfrm>
              <a:off x="5621157" y="5286855"/>
              <a:ext cx="38100" cy="55563"/>
            </a:xfrm>
            <a:prstGeom prst="rect">
              <a:avLst/>
            </a:prstGeom>
            <a:solidFill>
              <a:srgbClr val="1E34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30" name="Freeform 6704"/>
            <p:cNvSpPr>
              <a:spLocks noEditPoints="1"/>
            </p:cNvSpPr>
            <p:nvPr/>
          </p:nvSpPr>
          <p:spPr bwMode="auto">
            <a:xfrm>
              <a:off x="5617982" y="5283680"/>
              <a:ext cx="44450" cy="61913"/>
            </a:xfrm>
            <a:custGeom>
              <a:avLst/>
              <a:gdLst>
                <a:gd name="T0" fmla="*/ 0 w 28"/>
                <a:gd name="T1" fmla="*/ 39 h 39"/>
                <a:gd name="T2" fmla="*/ 28 w 28"/>
                <a:gd name="T3" fmla="*/ 39 h 39"/>
                <a:gd name="T4" fmla="*/ 28 w 28"/>
                <a:gd name="T5" fmla="*/ 0 h 39"/>
                <a:gd name="T6" fmla="*/ 0 w 28"/>
                <a:gd name="T7" fmla="*/ 0 h 39"/>
                <a:gd name="T8" fmla="*/ 0 w 28"/>
                <a:gd name="T9" fmla="*/ 39 h 39"/>
                <a:gd name="T10" fmla="*/ 24 w 28"/>
                <a:gd name="T11" fmla="*/ 35 h 39"/>
                <a:gd name="T12" fmla="*/ 5 w 28"/>
                <a:gd name="T13" fmla="*/ 35 h 39"/>
                <a:gd name="T14" fmla="*/ 5 w 28"/>
                <a:gd name="T15" fmla="*/ 5 h 39"/>
                <a:gd name="T16" fmla="*/ 24 w 28"/>
                <a:gd name="T17" fmla="*/ 5 h 39"/>
                <a:gd name="T18" fmla="*/ 24 w 28"/>
                <a:gd name="T19" fmla="*/ 35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39">
                  <a:moveTo>
                    <a:pt x="0" y="39"/>
                  </a:moveTo>
                  <a:lnTo>
                    <a:pt x="28" y="39"/>
                  </a:lnTo>
                  <a:lnTo>
                    <a:pt x="28" y="0"/>
                  </a:lnTo>
                  <a:lnTo>
                    <a:pt x="0" y="0"/>
                  </a:lnTo>
                  <a:lnTo>
                    <a:pt x="0" y="39"/>
                  </a:lnTo>
                  <a:close/>
                  <a:moveTo>
                    <a:pt x="24" y="35"/>
                  </a:moveTo>
                  <a:lnTo>
                    <a:pt x="5" y="35"/>
                  </a:lnTo>
                  <a:lnTo>
                    <a:pt x="5" y="5"/>
                  </a:lnTo>
                  <a:lnTo>
                    <a:pt x="24" y="5"/>
                  </a:lnTo>
                  <a:lnTo>
                    <a:pt x="24" y="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10875" name="Group 10874"/>
          <p:cNvGrpSpPr/>
          <p:nvPr/>
        </p:nvGrpSpPr>
        <p:grpSpPr>
          <a:xfrm>
            <a:off x="5559245" y="5431454"/>
            <a:ext cx="3113087" cy="444500"/>
            <a:chOff x="5587820" y="5258280"/>
            <a:chExt cx="3113087" cy="444500"/>
          </a:xfrm>
        </p:grpSpPr>
        <p:sp>
          <p:nvSpPr>
            <p:cNvPr id="8382" name="Freeform 6756"/>
            <p:cNvSpPr>
              <a:spLocks/>
            </p:cNvSpPr>
            <p:nvPr/>
          </p:nvSpPr>
          <p:spPr bwMode="auto">
            <a:xfrm>
              <a:off x="5592582" y="5274155"/>
              <a:ext cx="917575" cy="258763"/>
            </a:xfrm>
            <a:custGeom>
              <a:avLst/>
              <a:gdLst>
                <a:gd name="T0" fmla="*/ 578 w 578"/>
                <a:gd name="T1" fmla="*/ 163 h 163"/>
                <a:gd name="T2" fmla="*/ 289 w 578"/>
                <a:gd name="T3" fmla="*/ 0 h 163"/>
                <a:gd name="T4" fmla="*/ 0 w 578"/>
                <a:gd name="T5" fmla="*/ 163 h 163"/>
                <a:gd name="T6" fmla="*/ 578 w 578"/>
                <a:gd name="T7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78" h="163">
                  <a:moveTo>
                    <a:pt x="578" y="163"/>
                  </a:moveTo>
                  <a:lnTo>
                    <a:pt x="289" y="0"/>
                  </a:lnTo>
                  <a:lnTo>
                    <a:pt x="0" y="163"/>
                  </a:lnTo>
                  <a:lnTo>
                    <a:pt x="578" y="163"/>
                  </a:lnTo>
                  <a:close/>
                </a:path>
              </a:pathLst>
            </a:custGeom>
            <a:solidFill>
              <a:srgbClr val="FBB273"/>
            </a:solidFill>
            <a:ln w="4763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83" name="Rectangle 6757"/>
            <p:cNvSpPr>
              <a:spLocks noChangeArrowheads="1"/>
            </p:cNvSpPr>
            <p:nvPr/>
          </p:nvSpPr>
          <p:spPr bwMode="auto">
            <a:xfrm>
              <a:off x="5619570" y="5528155"/>
              <a:ext cx="863600" cy="174625"/>
            </a:xfrm>
            <a:prstGeom prst="rect">
              <a:avLst/>
            </a:prstGeom>
            <a:solidFill>
              <a:srgbClr val="FBB2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84" name="Rectangle 6758"/>
            <p:cNvSpPr>
              <a:spLocks noChangeArrowheads="1"/>
            </p:cNvSpPr>
            <p:nvPr/>
          </p:nvSpPr>
          <p:spPr bwMode="auto">
            <a:xfrm>
              <a:off x="5679895" y="5577368"/>
              <a:ext cx="109538" cy="76200"/>
            </a:xfrm>
            <a:prstGeom prst="rect">
              <a:avLst/>
            </a:prstGeom>
            <a:solidFill>
              <a:srgbClr val="1E34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85" name="Freeform 6759"/>
            <p:cNvSpPr>
              <a:spLocks noEditPoints="1"/>
            </p:cNvSpPr>
            <p:nvPr/>
          </p:nvSpPr>
          <p:spPr bwMode="auto">
            <a:xfrm>
              <a:off x="5675132" y="5572605"/>
              <a:ext cx="119063" cy="84138"/>
            </a:xfrm>
            <a:custGeom>
              <a:avLst/>
              <a:gdLst>
                <a:gd name="T0" fmla="*/ 0 w 75"/>
                <a:gd name="T1" fmla="*/ 53 h 53"/>
                <a:gd name="T2" fmla="*/ 75 w 75"/>
                <a:gd name="T3" fmla="*/ 53 h 53"/>
                <a:gd name="T4" fmla="*/ 75 w 75"/>
                <a:gd name="T5" fmla="*/ 0 h 53"/>
                <a:gd name="T6" fmla="*/ 0 w 75"/>
                <a:gd name="T7" fmla="*/ 0 h 53"/>
                <a:gd name="T8" fmla="*/ 0 w 75"/>
                <a:gd name="T9" fmla="*/ 53 h 53"/>
                <a:gd name="T10" fmla="*/ 69 w 75"/>
                <a:gd name="T11" fmla="*/ 48 h 53"/>
                <a:gd name="T12" fmla="*/ 5 w 75"/>
                <a:gd name="T13" fmla="*/ 48 h 53"/>
                <a:gd name="T14" fmla="*/ 5 w 75"/>
                <a:gd name="T15" fmla="*/ 5 h 53"/>
                <a:gd name="T16" fmla="*/ 69 w 75"/>
                <a:gd name="T17" fmla="*/ 5 h 53"/>
                <a:gd name="T18" fmla="*/ 69 w 75"/>
                <a:gd name="T19" fmla="*/ 48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5" h="53">
                  <a:moveTo>
                    <a:pt x="0" y="53"/>
                  </a:moveTo>
                  <a:lnTo>
                    <a:pt x="75" y="53"/>
                  </a:lnTo>
                  <a:lnTo>
                    <a:pt x="75" y="0"/>
                  </a:lnTo>
                  <a:lnTo>
                    <a:pt x="0" y="0"/>
                  </a:lnTo>
                  <a:lnTo>
                    <a:pt x="0" y="53"/>
                  </a:lnTo>
                  <a:close/>
                  <a:moveTo>
                    <a:pt x="69" y="48"/>
                  </a:moveTo>
                  <a:lnTo>
                    <a:pt x="5" y="48"/>
                  </a:lnTo>
                  <a:lnTo>
                    <a:pt x="5" y="5"/>
                  </a:lnTo>
                  <a:lnTo>
                    <a:pt x="69" y="5"/>
                  </a:lnTo>
                  <a:lnTo>
                    <a:pt x="69" y="4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86" name="Rectangle 6760"/>
            <p:cNvSpPr>
              <a:spLocks noChangeArrowheads="1"/>
            </p:cNvSpPr>
            <p:nvPr/>
          </p:nvSpPr>
          <p:spPr bwMode="auto">
            <a:xfrm>
              <a:off x="5837057" y="5577368"/>
              <a:ext cx="109538" cy="76200"/>
            </a:xfrm>
            <a:prstGeom prst="rect">
              <a:avLst/>
            </a:prstGeom>
            <a:solidFill>
              <a:srgbClr val="1E34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87" name="Freeform 6761"/>
            <p:cNvSpPr>
              <a:spLocks noEditPoints="1"/>
            </p:cNvSpPr>
            <p:nvPr/>
          </p:nvSpPr>
          <p:spPr bwMode="auto">
            <a:xfrm>
              <a:off x="5833882" y="5572605"/>
              <a:ext cx="115888" cy="84138"/>
            </a:xfrm>
            <a:custGeom>
              <a:avLst/>
              <a:gdLst>
                <a:gd name="T0" fmla="*/ 0 w 73"/>
                <a:gd name="T1" fmla="*/ 53 h 53"/>
                <a:gd name="T2" fmla="*/ 73 w 73"/>
                <a:gd name="T3" fmla="*/ 53 h 53"/>
                <a:gd name="T4" fmla="*/ 73 w 73"/>
                <a:gd name="T5" fmla="*/ 0 h 53"/>
                <a:gd name="T6" fmla="*/ 0 w 73"/>
                <a:gd name="T7" fmla="*/ 0 h 53"/>
                <a:gd name="T8" fmla="*/ 0 w 73"/>
                <a:gd name="T9" fmla="*/ 53 h 53"/>
                <a:gd name="T10" fmla="*/ 68 w 73"/>
                <a:gd name="T11" fmla="*/ 48 h 53"/>
                <a:gd name="T12" fmla="*/ 4 w 73"/>
                <a:gd name="T13" fmla="*/ 48 h 53"/>
                <a:gd name="T14" fmla="*/ 4 w 73"/>
                <a:gd name="T15" fmla="*/ 5 h 53"/>
                <a:gd name="T16" fmla="*/ 68 w 73"/>
                <a:gd name="T17" fmla="*/ 5 h 53"/>
                <a:gd name="T18" fmla="*/ 68 w 73"/>
                <a:gd name="T19" fmla="*/ 48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3" h="53">
                  <a:moveTo>
                    <a:pt x="0" y="53"/>
                  </a:moveTo>
                  <a:lnTo>
                    <a:pt x="73" y="53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53"/>
                  </a:lnTo>
                  <a:close/>
                  <a:moveTo>
                    <a:pt x="68" y="48"/>
                  </a:moveTo>
                  <a:lnTo>
                    <a:pt x="4" y="48"/>
                  </a:lnTo>
                  <a:lnTo>
                    <a:pt x="4" y="5"/>
                  </a:lnTo>
                  <a:lnTo>
                    <a:pt x="68" y="5"/>
                  </a:lnTo>
                  <a:lnTo>
                    <a:pt x="68" y="4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88" name="Rectangle 6762"/>
            <p:cNvSpPr>
              <a:spLocks noChangeArrowheads="1"/>
            </p:cNvSpPr>
            <p:nvPr/>
          </p:nvSpPr>
          <p:spPr bwMode="auto">
            <a:xfrm>
              <a:off x="6295845" y="5577368"/>
              <a:ext cx="109538" cy="76200"/>
            </a:xfrm>
            <a:prstGeom prst="rect">
              <a:avLst/>
            </a:prstGeom>
            <a:solidFill>
              <a:srgbClr val="1E34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89" name="Freeform 6763"/>
            <p:cNvSpPr>
              <a:spLocks noEditPoints="1"/>
            </p:cNvSpPr>
            <p:nvPr/>
          </p:nvSpPr>
          <p:spPr bwMode="auto">
            <a:xfrm>
              <a:off x="6292670" y="5571018"/>
              <a:ext cx="115888" cy="85725"/>
            </a:xfrm>
            <a:custGeom>
              <a:avLst/>
              <a:gdLst>
                <a:gd name="T0" fmla="*/ 0 w 73"/>
                <a:gd name="T1" fmla="*/ 54 h 54"/>
                <a:gd name="T2" fmla="*/ 73 w 73"/>
                <a:gd name="T3" fmla="*/ 54 h 54"/>
                <a:gd name="T4" fmla="*/ 73 w 73"/>
                <a:gd name="T5" fmla="*/ 0 h 54"/>
                <a:gd name="T6" fmla="*/ 0 w 73"/>
                <a:gd name="T7" fmla="*/ 0 h 54"/>
                <a:gd name="T8" fmla="*/ 0 w 73"/>
                <a:gd name="T9" fmla="*/ 54 h 54"/>
                <a:gd name="T10" fmla="*/ 69 w 73"/>
                <a:gd name="T11" fmla="*/ 49 h 54"/>
                <a:gd name="T12" fmla="*/ 5 w 73"/>
                <a:gd name="T13" fmla="*/ 49 h 54"/>
                <a:gd name="T14" fmla="*/ 5 w 73"/>
                <a:gd name="T15" fmla="*/ 6 h 54"/>
                <a:gd name="T16" fmla="*/ 69 w 73"/>
                <a:gd name="T17" fmla="*/ 6 h 54"/>
                <a:gd name="T18" fmla="*/ 69 w 73"/>
                <a:gd name="T19" fmla="*/ 49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3" h="54">
                  <a:moveTo>
                    <a:pt x="0" y="54"/>
                  </a:moveTo>
                  <a:lnTo>
                    <a:pt x="73" y="54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54"/>
                  </a:lnTo>
                  <a:close/>
                  <a:moveTo>
                    <a:pt x="69" y="49"/>
                  </a:moveTo>
                  <a:lnTo>
                    <a:pt x="5" y="49"/>
                  </a:lnTo>
                  <a:lnTo>
                    <a:pt x="5" y="6"/>
                  </a:lnTo>
                  <a:lnTo>
                    <a:pt x="69" y="6"/>
                  </a:lnTo>
                  <a:lnTo>
                    <a:pt x="69" y="4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90" name="Rectangle 6764"/>
            <p:cNvSpPr>
              <a:spLocks noChangeArrowheads="1"/>
            </p:cNvSpPr>
            <p:nvPr/>
          </p:nvSpPr>
          <p:spPr bwMode="auto">
            <a:xfrm>
              <a:off x="6037082" y="5509105"/>
              <a:ext cx="171450" cy="193675"/>
            </a:xfrm>
            <a:prstGeom prst="rect">
              <a:avLst/>
            </a:prstGeom>
            <a:solidFill>
              <a:srgbClr val="FDCFA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91" name="Rectangle 6765"/>
            <p:cNvSpPr>
              <a:spLocks noChangeArrowheads="1"/>
            </p:cNvSpPr>
            <p:nvPr/>
          </p:nvSpPr>
          <p:spPr bwMode="auto">
            <a:xfrm>
              <a:off x="6135507" y="5536093"/>
              <a:ext cx="31750" cy="136525"/>
            </a:xfrm>
            <a:prstGeom prst="rect">
              <a:avLst/>
            </a:prstGeom>
            <a:solidFill>
              <a:srgbClr val="1E34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92" name="Freeform 6766"/>
            <p:cNvSpPr>
              <a:spLocks noEditPoints="1"/>
            </p:cNvSpPr>
            <p:nvPr/>
          </p:nvSpPr>
          <p:spPr bwMode="auto">
            <a:xfrm>
              <a:off x="6130745" y="5532918"/>
              <a:ext cx="39688" cy="144463"/>
            </a:xfrm>
            <a:custGeom>
              <a:avLst/>
              <a:gdLst>
                <a:gd name="T0" fmla="*/ 0 w 25"/>
                <a:gd name="T1" fmla="*/ 91 h 91"/>
                <a:gd name="T2" fmla="*/ 25 w 25"/>
                <a:gd name="T3" fmla="*/ 91 h 91"/>
                <a:gd name="T4" fmla="*/ 25 w 25"/>
                <a:gd name="T5" fmla="*/ 0 h 91"/>
                <a:gd name="T6" fmla="*/ 0 w 25"/>
                <a:gd name="T7" fmla="*/ 0 h 91"/>
                <a:gd name="T8" fmla="*/ 0 w 25"/>
                <a:gd name="T9" fmla="*/ 91 h 91"/>
                <a:gd name="T10" fmla="*/ 21 w 25"/>
                <a:gd name="T11" fmla="*/ 86 h 91"/>
                <a:gd name="T12" fmla="*/ 5 w 25"/>
                <a:gd name="T13" fmla="*/ 86 h 91"/>
                <a:gd name="T14" fmla="*/ 5 w 25"/>
                <a:gd name="T15" fmla="*/ 5 h 91"/>
                <a:gd name="T16" fmla="*/ 21 w 25"/>
                <a:gd name="T17" fmla="*/ 5 h 91"/>
                <a:gd name="T18" fmla="*/ 21 w 25"/>
                <a:gd name="T19" fmla="*/ 86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91">
                  <a:moveTo>
                    <a:pt x="0" y="91"/>
                  </a:moveTo>
                  <a:lnTo>
                    <a:pt x="25" y="91"/>
                  </a:lnTo>
                  <a:lnTo>
                    <a:pt x="25" y="0"/>
                  </a:lnTo>
                  <a:lnTo>
                    <a:pt x="0" y="0"/>
                  </a:lnTo>
                  <a:lnTo>
                    <a:pt x="0" y="91"/>
                  </a:lnTo>
                  <a:close/>
                  <a:moveTo>
                    <a:pt x="21" y="86"/>
                  </a:moveTo>
                  <a:lnTo>
                    <a:pt x="5" y="86"/>
                  </a:lnTo>
                  <a:lnTo>
                    <a:pt x="5" y="5"/>
                  </a:lnTo>
                  <a:lnTo>
                    <a:pt x="21" y="5"/>
                  </a:lnTo>
                  <a:lnTo>
                    <a:pt x="21" y="8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93" name="Rectangle 6767"/>
            <p:cNvSpPr>
              <a:spLocks noChangeArrowheads="1"/>
            </p:cNvSpPr>
            <p:nvPr/>
          </p:nvSpPr>
          <p:spPr bwMode="auto">
            <a:xfrm>
              <a:off x="6102170" y="5536093"/>
              <a:ext cx="33338" cy="136525"/>
            </a:xfrm>
            <a:prstGeom prst="rect">
              <a:avLst/>
            </a:prstGeom>
            <a:solidFill>
              <a:srgbClr val="1E34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94" name="Freeform 6768"/>
            <p:cNvSpPr>
              <a:spLocks noEditPoints="1"/>
            </p:cNvSpPr>
            <p:nvPr/>
          </p:nvSpPr>
          <p:spPr bwMode="auto">
            <a:xfrm>
              <a:off x="6098995" y="5532918"/>
              <a:ext cx="39688" cy="144463"/>
            </a:xfrm>
            <a:custGeom>
              <a:avLst/>
              <a:gdLst>
                <a:gd name="T0" fmla="*/ 0 w 25"/>
                <a:gd name="T1" fmla="*/ 91 h 91"/>
                <a:gd name="T2" fmla="*/ 25 w 25"/>
                <a:gd name="T3" fmla="*/ 91 h 91"/>
                <a:gd name="T4" fmla="*/ 25 w 25"/>
                <a:gd name="T5" fmla="*/ 0 h 91"/>
                <a:gd name="T6" fmla="*/ 0 w 25"/>
                <a:gd name="T7" fmla="*/ 0 h 91"/>
                <a:gd name="T8" fmla="*/ 0 w 25"/>
                <a:gd name="T9" fmla="*/ 91 h 91"/>
                <a:gd name="T10" fmla="*/ 20 w 25"/>
                <a:gd name="T11" fmla="*/ 86 h 91"/>
                <a:gd name="T12" fmla="*/ 4 w 25"/>
                <a:gd name="T13" fmla="*/ 86 h 91"/>
                <a:gd name="T14" fmla="*/ 4 w 25"/>
                <a:gd name="T15" fmla="*/ 5 h 91"/>
                <a:gd name="T16" fmla="*/ 20 w 25"/>
                <a:gd name="T17" fmla="*/ 5 h 91"/>
                <a:gd name="T18" fmla="*/ 20 w 25"/>
                <a:gd name="T19" fmla="*/ 86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91">
                  <a:moveTo>
                    <a:pt x="0" y="91"/>
                  </a:moveTo>
                  <a:lnTo>
                    <a:pt x="25" y="91"/>
                  </a:lnTo>
                  <a:lnTo>
                    <a:pt x="25" y="0"/>
                  </a:lnTo>
                  <a:lnTo>
                    <a:pt x="0" y="0"/>
                  </a:lnTo>
                  <a:lnTo>
                    <a:pt x="0" y="91"/>
                  </a:lnTo>
                  <a:close/>
                  <a:moveTo>
                    <a:pt x="20" y="86"/>
                  </a:moveTo>
                  <a:lnTo>
                    <a:pt x="4" y="86"/>
                  </a:lnTo>
                  <a:lnTo>
                    <a:pt x="4" y="5"/>
                  </a:lnTo>
                  <a:lnTo>
                    <a:pt x="20" y="5"/>
                  </a:lnTo>
                  <a:lnTo>
                    <a:pt x="20" y="8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95" name="Rectangle 6769"/>
            <p:cNvSpPr>
              <a:spLocks noChangeArrowheads="1"/>
            </p:cNvSpPr>
            <p:nvPr/>
          </p:nvSpPr>
          <p:spPr bwMode="auto">
            <a:xfrm>
              <a:off x="6068832" y="5536093"/>
              <a:ext cx="33338" cy="136525"/>
            </a:xfrm>
            <a:prstGeom prst="rect">
              <a:avLst/>
            </a:prstGeom>
            <a:solidFill>
              <a:srgbClr val="1E34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96" name="Freeform 6770"/>
            <p:cNvSpPr>
              <a:spLocks noEditPoints="1"/>
            </p:cNvSpPr>
            <p:nvPr/>
          </p:nvSpPr>
          <p:spPr bwMode="auto">
            <a:xfrm>
              <a:off x="6065657" y="5532918"/>
              <a:ext cx="39688" cy="144463"/>
            </a:xfrm>
            <a:custGeom>
              <a:avLst/>
              <a:gdLst>
                <a:gd name="T0" fmla="*/ 0 w 25"/>
                <a:gd name="T1" fmla="*/ 91 h 91"/>
                <a:gd name="T2" fmla="*/ 25 w 25"/>
                <a:gd name="T3" fmla="*/ 91 h 91"/>
                <a:gd name="T4" fmla="*/ 25 w 25"/>
                <a:gd name="T5" fmla="*/ 0 h 91"/>
                <a:gd name="T6" fmla="*/ 0 w 25"/>
                <a:gd name="T7" fmla="*/ 0 h 91"/>
                <a:gd name="T8" fmla="*/ 0 w 25"/>
                <a:gd name="T9" fmla="*/ 91 h 91"/>
                <a:gd name="T10" fmla="*/ 21 w 25"/>
                <a:gd name="T11" fmla="*/ 86 h 91"/>
                <a:gd name="T12" fmla="*/ 5 w 25"/>
                <a:gd name="T13" fmla="*/ 86 h 91"/>
                <a:gd name="T14" fmla="*/ 5 w 25"/>
                <a:gd name="T15" fmla="*/ 5 h 91"/>
                <a:gd name="T16" fmla="*/ 21 w 25"/>
                <a:gd name="T17" fmla="*/ 5 h 91"/>
                <a:gd name="T18" fmla="*/ 21 w 25"/>
                <a:gd name="T19" fmla="*/ 86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91">
                  <a:moveTo>
                    <a:pt x="0" y="91"/>
                  </a:moveTo>
                  <a:lnTo>
                    <a:pt x="25" y="91"/>
                  </a:lnTo>
                  <a:lnTo>
                    <a:pt x="25" y="0"/>
                  </a:lnTo>
                  <a:lnTo>
                    <a:pt x="0" y="0"/>
                  </a:lnTo>
                  <a:lnTo>
                    <a:pt x="0" y="91"/>
                  </a:lnTo>
                  <a:close/>
                  <a:moveTo>
                    <a:pt x="21" y="86"/>
                  </a:moveTo>
                  <a:lnTo>
                    <a:pt x="5" y="86"/>
                  </a:lnTo>
                  <a:lnTo>
                    <a:pt x="5" y="5"/>
                  </a:lnTo>
                  <a:lnTo>
                    <a:pt x="21" y="5"/>
                  </a:lnTo>
                  <a:lnTo>
                    <a:pt x="21" y="8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97" name="Freeform 6771"/>
            <p:cNvSpPr>
              <a:spLocks/>
            </p:cNvSpPr>
            <p:nvPr/>
          </p:nvSpPr>
          <p:spPr bwMode="auto">
            <a:xfrm>
              <a:off x="6029145" y="5448780"/>
              <a:ext cx="188913" cy="60325"/>
            </a:xfrm>
            <a:custGeom>
              <a:avLst/>
              <a:gdLst>
                <a:gd name="T0" fmla="*/ 119 w 119"/>
                <a:gd name="T1" fmla="*/ 38 h 38"/>
                <a:gd name="T2" fmla="*/ 77 w 119"/>
                <a:gd name="T3" fmla="*/ 0 h 38"/>
                <a:gd name="T4" fmla="*/ 36 w 119"/>
                <a:gd name="T5" fmla="*/ 0 h 38"/>
                <a:gd name="T6" fmla="*/ 0 w 119"/>
                <a:gd name="T7" fmla="*/ 38 h 38"/>
                <a:gd name="T8" fmla="*/ 119 w 119"/>
                <a:gd name="T9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9" h="38">
                  <a:moveTo>
                    <a:pt x="119" y="38"/>
                  </a:moveTo>
                  <a:lnTo>
                    <a:pt x="77" y="0"/>
                  </a:lnTo>
                  <a:lnTo>
                    <a:pt x="36" y="0"/>
                  </a:lnTo>
                  <a:lnTo>
                    <a:pt x="0" y="38"/>
                  </a:lnTo>
                  <a:lnTo>
                    <a:pt x="119" y="38"/>
                  </a:lnTo>
                  <a:close/>
                </a:path>
              </a:pathLst>
            </a:custGeom>
            <a:solidFill>
              <a:srgbClr val="1E2A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98" name="Freeform 6772"/>
            <p:cNvSpPr>
              <a:spLocks/>
            </p:cNvSpPr>
            <p:nvPr/>
          </p:nvSpPr>
          <p:spPr bwMode="auto">
            <a:xfrm>
              <a:off x="5587820" y="5258280"/>
              <a:ext cx="923925" cy="274638"/>
            </a:xfrm>
            <a:custGeom>
              <a:avLst/>
              <a:gdLst>
                <a:gd name="T0" fmla="*/ 0 w 582"/>
                <a:gd name="T1" fmla="*/ 164 h 173"/>
                <a:gd name="T2" fmla="*/ 292 w 582"/>
                <a:gd name="T3" fmla="*/ 0 h 173"/>
                <a:gd name="T4" fmla="*/ 582 w 582"/>
                <a:gd name="T5" fmla="*/ 164 h 173"/>
                <a:gd name="T6" fmla="*/ 578 w 582"/>
                <a:gd name="T7" fmla="*/ 173 h 173"/>
                <a:gd name="T8" fmla="*/ 292 w 582"/>
                <a:gd name="T9" fmla="*/ 10 h 173"/>
                <a:gd name="T10" fmla="*/ 5 w 582"/>
                <a:gd name="T11" fmla="*/ 173 h 173"/>
                <a:gd name="T12" fmla="*/ 0 w 582"/>
                <a:gd name="T13" fmla="*/ 164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82" h="173">
                  <a:moveTo>
                    <a:pt x="0" y="164"/>
                  </a:moveTo>
                  <a:lnTo>
                    <a:pt x="292" y="0"/>
                  </a:lnTo>
                  <a:lnTo>
                    <a:pt x="582" y="164"/>
                  </a:lnTo>
                  <a:lnTo>
                    <a:pt x="578" y="173"/>
                  </a:lnTo>
                  <a:lnTo>
                    <a:pt x="292" y="10"/>
                  </a:lnTo>
                  <a:lnTo>
                    <a:pt x="5" y="173"/>
                  </a:lnTo>
                  <a:lnTo>
                    <a:pt x="0" y="164"/>
                  </a:lnTo>
                  <a:close/>
                </a:path>
              </a:pathLst>
            </a:custGeom>
            <a:solidFill>
              <a:srgbClr val="1E2A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99" name="Freeform 6773"/>
            <p:cNvSpPr>
              <a:spLocks/>
            </p:cNvSpPr>
            <p:nvPr/>
          </p:nvSpPr>
          <p:spPr bwMode="auto">
            <a:xfrm>
              <a:off x="6691132" y="5274155"/>
              <a:ext cx="919163" cy="258763"/>
            </a:xfrm>
            <a:custGeom>
              <a:avLst/>
              <a:gdLst>
                <a:gd name="T0" fmla="*/ 579 w 579"/>
                <a:gd name="T1" fmla="*/ 163 h 163"/>
                <a:gd name="T2" fmla="*/ 290 w 579"/>
                <a:gd name="T3" fmla="*/ 0 h 163"/>
                <a:gd name="T4" fmla="*/ 0 w 579"/>
                <a:gd name="T5" fmla="*/ 163 h 163"/>
                <a:gd name="T6" fmla="*/ 579 w 579"/>
                <a:gd name="T7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79" h="163">
                  <a:moveTo>
                    <a:pt x="579" y="163"/>
                  </a:moveTo>
                  <a:lnTo>
                    <a:pt x="290" y="0"/>
                  </a:lnTo>
                  <a:lnTo>
                    <a:pt x="0" y="163"/>
                  </a:lnTo>
                  <a:lnTo>
                    <a:pt x="579" y="163"/>
                  </a:lnTo>
                  <a:close/>
                </a:path>
              </a:pathLst>
            </a:custGeom>
            <a:solidFill>
              <a:srgbClr val="09B89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00" name="Rectangle 6774"/>
            <p:cNvSpPr>
              <a:spLocks noChangeArrowheads="1"/>
            </p:cNvSpPr>
            <p:nvPr/>
          </p:nvSpPr>
          <p:spPr bwMode="auto">
            <a:xfrm>
              <a:off x="6719707" y="5528155"/>
              <a:ext cx="863600" cy="174625"/>
            </a:xfrm>
            <a:prstGeom prst="rect">
              <a:avLst/>
            </a:prstGeom>
            <a:solidFill>
              <a:srgbClr val="09B89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01" name="Rectangle 6775"/>
            <p:cNvSpPr>
              <a:spLocks noChangeArrowheads="1"/>
            </p:cNvSpPr>
            <p:nvPr/>
          </p:nvSpPr>
          <p:spPr bwMode="auto">
            <a:xfrm>
              <a:off x="6778445" y="5577368"/>
              <a:ext cx="109538" cy="76200"/>
            </a:xfrm>
            <a:prstGeom prst="rect">
              <a:avLst/>
            </a:prstGeom>
            <a:solidFill>
              <a:srgbClr val="1E34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02" name="Freeform 6776"/>
            <p:cNvSpPr>
              <a:spLocks noEditPoints="1"/>
            </p:cNvSpPr>
            <p:nvPr/>
          </p:nvSpPr>
          <p:spPr bwMode="auto">
            <a:xfrm>
              <a:off x="6775270" y="5572605"/>
              <a:ext cx="115888" cy="84138"/>
            </a:xfrm>
            <a:custGeom>
              <a:avLst/>
              <a:gdLst>
                <a:gd name="T0" fmla="*/ 0 w 73"/>
                <a:gd name="T1" fmla="*/ 53 h 53"/>
                <a:gd name="T2" fmla="*/ 73 w 73"/>
                <a:gd name="T3" fmla="*/ 53 h 53"/>
                <a:gd name="T4" fmla="*/ 73 w 73"/>
                <a:gd name="T5" fmla="*/ 0 h 53"/>
                <a:gd name="T6" fmla="*/ 0 w 73"/>
                <a:gd name="T7" fmla="*/ 0 h 53"/>
                <a:gd name="T8" fmla="*/ 0 w 73"/>
                <a:gd name="T9" fmla="*/ 53 h 53"/>
                <a:gd name="T10" fmla="*/ 69 w 73"/>
                <a:gd name="T11" fmla="*/ 48 h 53"/>
                <a:gd name="T12" fmla="*/ 5 w 73"/>
                <a:gd name="T13" fmla="*/ 48 h 53"/>
                <a:gd name="T14" fmla="*/ 5 w 73"/>
                <a:gd name="T15" fmla="*/ 5 h 53"/>
                <a:gd name="T16" fmla="*/ 69 w 73"/>
                <a:gd name="T17" fmla="*/ 5 h 53"/>
                <a:gd name="T18" fmla="*/ 69 w 73"/>
                <a:gd name="T19" fmla="*/ 48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3" h="53">
                  <a:moveTo>
                    <a:pt x="0" y="53"/>
                  </a:moveTo>
                  <a:lnTo>
                    <a:pt x="73" y="53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53"/>
                  </a:lnTo>
                  <a:close/>
                  <a:moveTo>
                    <a:pt x="69" y="48"/>
                  </a:moveTo>
                  <a:lnTo>
                    <a:pt x="5" y="48"/>
                  </a:lnTo>
                  <a:lnTo>
                    <a:pt x="5" y="5"/>
                  </a:lnTo>
                  <a:lnTo>
                    <a:pt x="69" y="5"/>
                  </a:lnTo>
                  <a:lnTo>
                    <a:pt x="69" y="4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03" name="Rectangle 6777"/>
            <p:cNvSpPr>
              <a:spLocks noChangeArrowheads="1"/>
            </p:cNvSpPr>
            <p:nvPr/>
          </p:nvSpPr>
          <p:spPr bwMode="auto">
            <a:xfrm>
              <a:off x="6937195" y="5577368"/>
              <a:ext cx="107950" cy="76200"/>
            </a:xfrm>
            <a:prstGeom prst="rect">
              <a:avLst/>
            </a:prstGeom>
            <a:solidFill>
              <a:srgbClr val="1E34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04" name="Freeform 6778"/>
            <p:cNvSpPr>
              <a:spLocks noEditPoints="1"/>
            </p:cNvSpPr>
            <p:nvPr/>
          </p:nvSpPr>
          <p:spPr bwMode="auto">
            <a:xfrm>
              <a:off x="6932432" y="5572605"/>
              <a:ext cx="117475" cy="84138"/>
            </a:xfrm>
            <a:custGeom>
              <a:avLst/>
              <a:gdLst>
                <a:gd name="T0" fmla="*/ 0 w 74"/>
                <a:gd name="T1" fmla="*/ 53 h 53"/>
                <a:gd name="T2" fmla="*/ 74 w 74"/>
                <a:gd name="T3" fmla="*/ 53 h 53"/>
                <a:gd name="T4" fmla="*/ 74 w 74"/>
                <a:gd name="T5" fmla="*/ 0 h 53"/>
                <a:gd name="T6" fmla="*/ 0 w 74"/>
                <a:gd name="T7" fmla="*/ 0 h 53"/>
                <a:gd name="T8" fmla="*/ 0 w 74"/>
                <a:gd name="T9" fmla="*/ 53 h 53"/>
                <a:gd name="T10" fmla="*/ 69 w 74"/>
                <a:gd name="T11" fmla="*/ 48 h 53"/>
                <a:gd name="T12" fmla="*/ 5 w 74"/>
                <a:gd name="T13" fmla="*/ 48 h 53"/>
                <a:gd name="T14" fmla="*/ 5 w 74"/>
                <a:gd name="T15" fmla="*/ 5 h 53"/>
                <a:gd name="T16" fmla="*/ 69 w 74"/>
                <a:gd name="T17" fmla="*/ 5 h 53"/>
                <a:gd name="T18" fmla="*/ 69 w 74"/>
                <a:gd name="T19" fmla="*/ 48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4" h="53">
                  <a:moveTo>
                    <a:pt x="0" y="53"/>
                  </a:moveTo>
                  <a:lnTo>
                    <a:pt x="74" y="53"/>
                  </a:lnTo>
                  <a:lnTo>
                    <a:pt x="74" y="0"/>
                  </a:lnTo>
                  <a:lnTo>
                    <a:pt x="0" y="0"/>
                  </a:lnTo>
                  <a:lnTo>
                    <a:pt x="0" y="53"/>
                  </a:lnTo>
                  <a:close/>
                  <a:moveTo>
                    <a:pt x="69" y="48"/>
                  </a:moveTo>
                  <a:lnTo>
                    <a:pt x="5" y="48"/>
                  </a:lnTo>
                  <a:lnTo>
                    <a:pt x="5" y="5"/>
                  </a:lnTo>
                  <a:lnTo>
                    <a:pt x="69" y="5"/>
                  </a:lnTo>
                  <a:lnTo>
                    <a:pt x="69" y="4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05" name="Rectangle 6779"/>
            <p:cNvSpPr>
              <a:spLocks noChangeArrowheads="1"/>
            </p:cNvSpPr>
            <p:nvPr/>
          </p:nvSpPr>
          <p:spPr bwMode="auto">
            <a:xfrm>
              <a:off x="7395982" y="5577368"/>
              <a:ext cx="109538" cy="76200"/>
            </a:xfrm>
            <a:prstGeom prst="rect">
              <a:avLst/>
            </a:prstGeom>
            <a:solidFill>
              <a:srgbClr val="1E34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06" name="Freeform 6780"/>
            <p:cNvSpPr>
              <a:spLocks noEditPoints="1"/>
            </p:cNvSpPr>
            <p:nvPr/>
          </p:nvSpPr>
          <p:spPr bwMode="auto">
            <a:xfrm>
              <a:off x="7391220" y="5571018"/>
              <a:ext cx="117475" cy="85725"/>
            </a:xfrm>
            <a:custGeom>
              <a:avLst/>
              <a:gdLst>
                <a:gd name="T0" fmla="*/ 0 w 74"/>
                <a:gd name="T1" fmla="*/ 54 h 54"/>
                <a:gd name="T2" fmla="*/ 74 w 74"/>
                <a:gd name="T3" fmla="*/ 54 h 54"/>
                <a:gd name="T4" fmla="*/ 74 w 74"/>
                <a:gd name="T5" fmla="*/ 0 h 54"/>
                <a:gd name="T6" fmla="*/ 0 w 74"/>
                <a:gd name="T7" fmla="*/ 0 h 54"/>
                <a:gd name="T8" fmla="*/ 0 w 74"/>
                <a:gd name="T9" fmla="*/ 54 h 54"/>
                <a:gd name="T10" fmla="*/ 69 w 74"/>
                <a:gd name="T11" fmla="*/ 49 h 54"/>
                <a:gd name="T12" fmla="*/ 5 w 74"/>
                <a:gd name="T13" fmla="*/ 49 h 54"/>
                <a:gd name="T14" fmla="*/ 5 w 74"/>
                <a:gd name="T15" fmla="*/ 6 h 54"/>
                <a:gd name="T16" fmla="*/ 69 w 74"/>
                <a:gd name="T17" fmla="*/ 6 h 54"/>
                <a:gd name="T18" fmla="*/ 69 w 74"/>
                <a:gd name="T19" fmla="*/ 49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4" h="54">
                  <a:moveTo>
                    <a:pt x="0" y="54"/>
                  </a:moveTo>
                  <a:lnTo>
                    <a:pt x="74" y="54"/>
                  </a:lnTo>
                  <a:lnTo>
                    <a:pt x="74" y="0"/>
                  </a:lnTo>
                  <a:lnTo>
                    <a:pt x="0" y="0"/>
                  </a:lnTo>
                  <a:lnTo>
                    <a:pt x="0" y="54"/>
                  </a:lnTo>
                  <a:close/>
                  <a:moveTo>
                    <a:pt x="69" y="49"/>
                  </a:moveTo>
                  <a:lnTo>
                    <a:pt x="5" y="49"/>
                  </a:lnTo>
                  <a:lnTo>
                    <a:pt x="5" y="6"/>
                  </a:lnTo>
                  <a:lnTo>
                    <a:pt x="69" y="6"/>
                  </a:lnTo>
                  <a:lnTo>
                    <a:pt x="69" y="4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07" name="Rectangle 6781"/>
            <p:cNvSpPr>
              <a:spLocks noChangeArrowheads="1"/>
            </p:cNvSpPr>
            <p:nvPr/>
          </p:nvSpPr>
          <p:spPr bwMode="auto">
            <a:xfrm>
              <a:off x="7137220" y="5509105"/>
              <a:ext cx="171450" cy="193675"/>
            </a:xfrm>
            <a:prstGeom prst="rect">
              <a:avLst/>
            </a:prstGeom>
            <a:solidFill>
              <a:srgbClr val="8AD0B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08" name="Rectangle 6782"/>
            <p:cNvSpPr>
              <a:spLocks noChangeArrowheads="1"/>
            </p:cNvSpPr>
            <p:nvPr/>
          </p:nvSpPr>
          <p:spPr bwMode="auto">
            <a:xfrm>
              <a:off x="7234057" y="5536093"/>
              <a:ext cx="33338" cy="136525"/>
            </a:xfrm>
            <a:prstGeom prst="rect">
              <a:avLst/>
            </a:prstGeom>
            <a:solidFill>
              <a:srgbClr val="1E34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09" name="Freeform 6783"/>
            <p:cNvSpPr>
              <a:spLocks noEditPoints="1"/>
            </p:cNvSpPr>
            <p:nvPr/>
          </p:nvSpPr>
          <p:spPr bwMode="auto">
            <a:xfrm>
              <a:off x="7230882" y="5532918"/>
              <a:ext cx="39688" cy="144463"/>
            </a:xfrm>
            <a:custGeom>
              <a:avLst/>
              <a:gdLst>
                <a:gd name="T0" fmla="*/ 0 w 25"/>
                <a:gd name="T1" fmla="*/ 91 h 91"/>
                <a:gd name="T2" fmla="*/ 25 w 25"/>
                <a:gd name="T3" fmla="*/ 91 h 91"/>
                <a:gd name="T4" fmla="*/ 25 w 25"/>
                <a:gd name="T5" fmla="*/ 0 h 91"/>
                <a:gd name="T6" fmla="*/ 0 w 25"/>
                <a:gd name="T7" fmla="*/ 0 h 91"/>
                <a:gd name="T8" fmla="*/ 0 w 25"/>
                <a:gd name="T9" fmla="*/ 91 h 91"/>
                <a:gd name="T10" fmla="*/ 21 w 25"/>
                <a:gd name="T11" fmla="*/ 86 h 91"/>
                <a:gd name="T12" fmla="*/ 5 w 25"/>
                <a:gd name="T13" fmla="*/ 86 h 91"/>
                <a:gd name="T14" fmla="*/ 5 w 25"/>
                <a:gd name="T15" fmla="*/ 5 h 91"/>
                <a:gd name="T16" fmla="*/ 21 w 25"/>
                <a:gd name="T17" fmla="*/ 5 h 91"/>
                <a:gd name="T18" fmla="*/ 21 w 25"/>
                <a:gd name="T19" fmla="*/ 86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91">
                  <a:moveTo>
                    <a:pt x="0" y="91"/>
                  </a:moveTo>
                  <a:lnTo>
                    <a:pt x="25" y="91"/>
                  </a:lnTo>
                  <a:lnTo>
                    <a:pt x="25" y="0"/>
                  </a:lnTo>
                  <a:lnTo>
                    <a:pt x="0" y="0"/>
                  </a:lnTo>
                  <a:lnTo>
                    <a:pt x="0" y="91"/>
                  </a:lnTo>
                  <a:close/>
                  <a:moveTo>
                    <a:pt x="21" y="86"/>
                  </a:moveTo>
                  <a:lnTo>
                    <a:pt x="5" y="86"/>
                  </a:lnTo>
                  <a:lnTo>
                    <a:pt x="5" y="5"/>
                  </a:lnTo>
                  <a:lnTo>
                    <a:pt x="21" y="5"/>
                  </a:lnTo>
                  <a:lnTo>
                    <a:pt x="21" y="8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10" name="Rectangle 6784"/>
            <p:cNvSpPr>
              <a:spLocks noChangeArrowheads="1"/>
            </p:cNvSpPr>
            <p:nvPr/>
          </p:nvSpPr>
          <p:spPr bwMode="auto">
            <a:xfrm>
              <a:off x="7202307" y="5536093"/>
              <a:ext cx="31750" cy="136525"/>
            </a:xfrm>
            <a:prstGeom prst="rect">
              <a:avLst/>
            </a:prstGeom>
            <a:solidFill>
              <a:srgbClr val="1E34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11" name="Freeform 6785"/>
            <p:cNvSpPr>
              <a:spLocks noEditPoints="1"/>
            </p:cNvSpPr>
            <p:nvPr/>
          </p:nvSpPr>
          <p:spPr bwMode="auto">
            <a:xfrm>
              <a:off x="7197545" y="5532918"/>
              <a:ext cx="41275" cy="144463"/>
            </a:xfrm>
            <a:custGeom>
              <a:avLst/>
              <a:gdLst>
                <a:gd name="T0" fmla="*/ 0 w 26"/>
                <a:gd name="T1" fmla="*/ 91 h 91"/>
                <a:gd name="T2" fmla="*/ 26 w 26"/>
                <a:gd name="T3" fmla="*/ 91 h 91"/>
                <a:gd name="T4" fmla="*/ 26 w 26"/>
                <a:gd name="T5" fmla="*/ 0 h 91"/>
                <a:gd name="T6" fmla="*/ 0 w 26"/>
                <a:gd name="T7" fmla="*/ 0 h 91"/>
                <a:gd name="T8" fmla="*/ 0 w 26"/>
                <a:gd name="T9" fmla="*/ 91 h 91"/>
                <a:gd name="T10" fmla="*/ 21 w 26"/>
                <a:gd name="T11" fmla="*/ 86 h 91"/>
                <a:gd name="T12" fmla="*/ 5 w 26"/>
                <a:gd name="T13" fmla="*/ 86 h 91"/>
                <a:gd name="T14" fmla="*/ 5 w 26"/>
                <a:gd name="T15" fmla="*/ 5 h 91"/>
                <a:gd name="T16" fmla="*/ 21 w 26"/>
                <a:gd name="T17" fmla="*/ 5 h 91"/>
                <a:gd name="T18" fmla="*/ 21 w 26"/>
                <a:gd name="T19" fmla="*/ 86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91">
                  <a:moveTo>
                    <a:pt x="0" y="91"/>
                  </a:moveTo>
                  <a:lnTo>
                    <a:pt x="26" y="91"/>
                  </a:lnTo>
                  <a:lnTo>
                    <a:pt x="26" y="0"/>
                  </a:lnTo>
                  <a:lnTo>
                    <a:pt x="0" y="0"/>
                  </a:lnTo>
                  <a:lnTo>
                    <a:pt x="0" y="91"/>
                  </a:lnTo>
                  <a:close/>
                  <a:moveTo>
                    <a:pt x="21" y="86"/>
                  </a:moveTo>
                  <a:lnTo>
                    <a:pt x="5" y="86"/>
                  </a:lnTo>
                  <a:lnTo>
                    <a:pt x="5" y="5"/>
                  </a:lnTo>
                  <a:lnTo>
                    <a:pt x="21" y="5"/>
                  </a:lnTo>
                  <a:lnTo>
                    <a:pt x="21" y="8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12" name="Rectangle 6786"/>
            <p:cNvSpPr>
              <a:spLocks noChangeArrowheads="1"/>
            </p:cNvSpPr>
            <p:nvPr/>
          </p:nvSpPr>
          <p:spPr bwMode="auto">
            <a:xfrm>
              <a:off x="7168970" y="5536093"/>
              <a:ext cx="33338" cy="136525"/>
            </a:xfrm>
            <a:prstGeom prst="rect">
              <a:avLst/>
            </a:prstGeom>
            <a:solidFill>
              <a:srgbClr val="1E34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13" name="Freeform 6787"/>
            <p:cNvSpPr>
              <a:spLocks noEditPoints="1"/>
            </p:cNvSpPr>
            <p:nvPr/>
          </p:nvSpPr>
          <p:spPr bwMode="auto">
            <a:xfrm>
              <a:off x="7165795" y="5532918"/>
              <a:ext cx="39688" cy="144463"/>
            </a:xfrm>
            <a:custGeom>
              <a:avLst/>
              <a:gdLst>
                <a:gd name="T0" fmla="*/ 0 w 25"/>
                <a:gd name="T1" fmla="*/ 91 h 91"/>
                <a:gd name="T2" fmla="*/ 25 w 25"/>
                <a:gd name="T3" fmla="*/ 91 h 91"/>
                <a:gd name="T4" fmla="*/ 25 w 25"/>
                <a:gd name="T5" fmla="*/ 0 h 91"/>
                <a:gd name="T6" fmla="*/ 0 w 25"/>
                <a:gd name="T7" fmla="*/ 0 h 91"/>
                <a:gd name="T8" fmla="*/ 0 w 25"/>
                <a:gd name="T9" fmla="*/ 91 h 91"/>
                <a:gd name="T10" fmla="*/ 20 w 25"/>
                <a:gd name="T11" fmla="*/ 86 h 91"/>
                <a:gd name="T12" fmla="*/ 4 w 25"/>
                <a:gd name="T13" fmla="*/ 86 h 91"/>
                <a:gd name="T14" fmla="*/ 4 w 25"/>
                <a:gd name="T15" fmla="*/ 5 h 91"/>
                <a:gd name="T16" fmla="*/ 20 w 25"/>
                <a:gd name="T17" fmla="*/ 5 h 91"/>
                <a:gd name="T18" fmla="*/ 20 w 25"/>
                <a:gd name="T19" fmla="*/ 86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91">
                  <a:moveTo>
                    <a:pt x="0" y="91"/>
                  </a:moveTo>
                  <a:lnTo>
                    <a:pt x="25" y="91"/>
                  </a:lnTo>
                  <a:lnTo>
                    <a:pt x="25" y="0"/>
                  </a:lnTo>
                  <a:lnTo>
                    <a:pt x="0" y="0"/>
                  </a:lnTo>
                  <a:lnTo>
                    <a:pt x="0" y="91"/>
                  </a:lnTo>
                  <a:close/>
                  <a:moveTo>
                    <a:pt x="20" y="86"/>
                  </a:moveTo>
                  <a:lnTo>
                    <a:pt x="4" y="86"/>
                  </a:lnTo>
                  <a:lnTo>
                    <a:pt x="4" y="5"/>
                  </a:lnTo>
                  <a:lnTo>
                    <a:pt x="20" y="5"/>
                  </a:lnTo>
                  <a:lnTo>
                    <a:pt x="20" y="8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14" name="Freeform 6788"/>
            <p:cNvSpPr>
              <a:spLocks/>
            </p:cNvSpPr>
            <p:nvPr/>
          </p:nvSpPr>
          <p:spPr bwMode="auto">
            <a:xfrm>
              <a:off x="7129282" y="5448780"/>
              <a:ext cx="187325" cy="60325"/>
            </a:xfrm>
            <a:custGeom>
              <a:avLst/>
              <a:gdLst>
                <a:gd name="T0" fmla="*/ 118 w 118"/>
                <a:gd name="T1" fmla="*/ 38 h 38"/>
                <a:gd name="T2" fmla="*/ 77 w 118"/>
                <a:gd name="T3" fmla="*/ 0 h 38"/>
                <a:gd name="T4" fmla="*/ 35 w 118"/>
                <a:gd name="T5" fmla="*/ 0 h 38"/>
                <a:gd name="T6" fmla="*/ 0 w 118"/>
                <a:gd name="T7" fmla="*/ 38 h 38"/>
                <a:gd name="T8" fmla="*/ 118 w 118"/>
                <a:gd name="T9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8" h="38">
                  <a:moveTo>
                    <a:pt x="118" y="38"/>
                  </a:moveTo>
                  <a:lnTo>
                    <a:pt x="77" y="0"/>
                  </a:lnTo>
                  <a:lnTo>
                    <a:pt x="35" y="0"/>
                  </a:lnTo>
                  <a:lnTo>
                    <a:pt x="0" y="38"/>
                  </a:lnTo>
                  <a:lnTo>
                    <a:pt x="118" y="38"/>
                  </a:lnTo>
                  <a:close/>
                </a:path>
              </a:pathLst>
            </a:custGeom>
            <a:solidFill>
              <a:srgbClr val="1E2A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15" name="Freeform 6789"/>
            <p:cNvSpPr>
              <a:spLocks/>
            </p:cNvSpPr>
            <p:nvPr/>
          </p:nvSpPr>
          <p:spPr bwMode="auto">
            <a:xfrm>
              <a:off x="6687957" y="5258280"/>
              <a:ext cx="923925" cy="274638"/>
            </a:xfrm>
            <a:custGeom>
              <a:avLst/>
              <a:gdLst>
                <a:gd name="T0" fmla="*/ 0 w 582"/>
                <a:gd name="T1" fmla="*/ 164 h 173"/>
                <a:gd name="T2" fmla="*/ 292 w 582"/>
                <a:gd name="T3" fmla="*/ 0 h 173"/>
                <a:gd name="T4" fmla="*/ 582 w 582"/>
                <a:gd name="T5" fmla="*/ 164 h 173"/>
                <a:gd name="T6" fmla="*/ 577 w 582"/>
                <a:gd name="T7" fmla="*/ 173 h 173"/>
                <a:gd name="T8" fmla="*/ 292 w 582"/>
                <a:gd name="T9" fmla="*/ 10 h 173"/>
                <a:gd name="T10" fmla="*/ 5 w 582"/>
                <a:gd name="T11" fmla="*/ 173 h 173"/>
                <a:gd name="T12" fmla="*/ 0 w 582"/>
                <a:gd name="T13" fmla="*/ 164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82" h="173">
                  <a:moveTo>
                    <a:pt x="0" y="164"/>
                  </a:moveTo>
                  <a:lnTo>
                    <a:pt x="292" y="0"/>
                  </a:lnTo>
                  <a:lnTo>
                    <a:pt x="582" y="164"/>
                  </a:lnTo>
                  <a:lnTo>
                    <a:pt x="577" y="173"/>
                  </a:lnTo>
                  <a:lnTo>
                    <a:pt x="292" y="10"/>
                  </a:lnTo>
                  <a:lnTo>
                    <a:pt x="5" y="173"/>
                  </a:lnTo>
                  <a:lnTo>
                    <a:pt x="0" y="164"/>
                  </a:lnTo>
                  <a:close/>
                </a:path>
              </a:pathLst>
            </a:custGeom>
            <a:solidFill>
              <a:srgbClr val="1E2A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16" name="Freeform 6790"/>
            <p:cNvSpPr>
              <a:spLocks/>
            </p:cNvSpPr>
            <p:nvPr/>
          </p:nvSpPr>
          <p:spPr bwMode="auto">
            <a:xfrm>
              <a:off x="7780157" y="5274155"/>
              <a:ext cx="919163" cy="258763"/>
            </a:xfrm>
            <a:custGeom>
              <a:avLst/>
              <a:gdLst>
                <a:gd name="T0" fmla="*/ 579 w 579"/>
                <a:gd name="T1" fmla="*/ 163 h 163"/>
                <a:gd name="T2" fmla="*/ 289 w 579"/>
                <a:gd name="T3" fmla="*/ 0 h 163"/>
                <a:gd name="T4" fmla="*/ 0 w 579"/>
                <a:gd name="T5" fmla="*/ 163 h 163"/>
                <a:gd name="T6" fmla="*/ 579 w 579"/>
                <a:gd name="T7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79" h="163">
                  <a:moveTo>
                    <a:pt x="579" y="163"/>
                  </a:moveTo>
                  <a:lnTo>
                    <a:pt x="289" y="0"/>
                  </a:lnTo>
                  <a:lnTo>
                    <a:pt x="0" y="163"/>
                  </a:lnTo>
                  <a:lnTo>
                    <a:pt x="579" y="163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17" name="Rectangle 6791"/>
            <p:cNvSpPr>
              <a:spLocks noChangeArrowheads="1"/>
            </p:cNvSpPr>
            <p:nvPr/>
          </p:nvSpPr>
          <p:spPr bwMode="auto">
            <a:xfrm>
              <a:off x="7807145" y="5528155"/>
              <a:ext cx="865188" cy="174625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18" name="Rectangle 6792"/>
            <p:cNvSpPr>
              <a:spLocks noChangeArrowheads="1"/>
            </p:cNvSpPr>
            <p:nvPr/>
          </p:nvSpPr>
          <p:spPr bwMode="auto">
            <a:xfrm>
              <a:off x="7867470" y="5577368"/>
              <a:ext cx="111125" cy="76200"/>
            </a:xfrm>
            <a:prstGeom prst="rect">
              <a:avLst/>
            </a:prstGeom>
            <a:solidFill>
              <a:srgbClr val="1E34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19" name="Freeform 6793"/>
            <p:cNvSpPr>
              <a:spLocks noEditPoints="1"/>
            </p:cNvSpPr>
            <p:nvPr/>
          </p:nvSpPr>
          <p:spPr bwMode="auto">
            <a:xfrm>
              <a:off x="7864295" y="5572605"/>
              <a:ext cx="117475" cy="84138"/>
            </a:xfrm>
            <a:custGeom>
              <a:avLst/>
              <a:gdLst>
                <a:gd name="T0" fmla="*/ 0 w 74"/>
                <a:gd name="T1" fmla="*/ 53 h 53"/>
                <a:gd name="T2" fmla="*/ 74 w 74"/>
                <a:gd name="T3" fmla="*/ 53 h 53"/>
                <a:gd name="T4" fmla="*/ 74 w 74"/>
                <a:gd name="T5" fmla="*/ 0 h 53"/>
                <a:gd name="T6" fmla="*/ 0 w 74"/>
                <a:gd name="T7" fmla="*/ 0 h 53"/>
                <a:gd name="T8" fmla="*/ 0 w 74"/>
                <a:gd name="T9" fmla="*/ 53 h 53"/>
                <a:gd name="T10" fmla="*/ 68 w 74"/>
                <a:gd name="T11" fmla="*/ 48 h 53"/>
                <a:gd name="T12" fmla="*/ 4 w 74"/>
                <a:gd name="T13" fmla="*/ 48 h 53"/>
                <a:gd name="T14" fmla="*/ 4 w 74"/>
                <a:gd name="T15" fmla="*/ 5 h 53"/>
                <a:gd name="T16" fmla="*/ 68 w 74"/>
                <a:gd name="T17" fmla="*/ 5 h 53"/>
                <a:gd name="T18" fmla="*/ 68 w 74"/>
                <a:gd name="T19" fmla="*/ 48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4" h="53">
                  <a:moveTo>
                    <a:pt x="0" y="53"/>
                  </a:moveTo>
                  <a:lnTo>
                    <a:pt x="74" y="53"/>
                  </a:lnTo>
                  <a:lnTo>
                    <a:pt x="74" y="0"/>
                  </a:lnTo>
                  <a:lnTo>
                    <a:pt x="0" y="0"/>
                  </a:lnTo>
                  <a:lnTo>
                    <a:pt x="0" y="53"/>
                  </a:lnTo>
                  <a:close/>
                  <a:moveTo>
                    <a:pt x="68" y="48"/>
                  </a:moveTo>
                  <a:lnTo>
                    <a:pt x="4" y="48"/>
                  </a:lnTo>
                  <a:lnTo>
                    <a:pt x="4" y="5"/>
                  </a:lnTo>
                  <a:lnTo>
                    <a:pt x="68" y="5"/>
                  </a:lnTo>
                  <a:lnTo>
                    <a:pt x="68" y="4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20" name="Rectangle 6794"/>
            <p:cNvSpPr>
              <a:spLocks noChangeArrowheads="1"/>
            </p:cNvSpPr>
            <p:nvPr/>
          </p:nvSpPr>
          <p:spPr bwMode="auto">
            <a:xfrm>
              <a:off x="8026220" y="5577368"/>
              <a:ext cx="107950" cy="76200"/>
            </a:xfrm>
            <a:prstGeom prst="rect">
              <a:avLst/>
            </a:prstGeom>
            <a:solidFill>
              <a:srgbClr val="1E34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21" name="Freeform 6795"/>
            <p:cNvSpPr>
              <a:spLocks noEditPoints="1"/>
            </p:cNvSpPr>
            <p:nvPr/>
          </p:nvSpPr>
          <p:spPr bwMode="auto">
            <a:xfrm>
              <a:off x="8021457" y="5572605"/>
              <a:ext cx="115888" cy="84138"/>
            </a:xfrm>
            <a:custGeom>
              <a:avLst/>
              <a:gdLst>
                <a:gd name="T0" fmla="*/ 0 w 73"/>
                <a:gd name="T1" fmla="*/ 53 h 53"/>
                <a:gd name="T2" fmla="*/ 73 w 73"/>
                <a:gd name="T3" fmla="*/ 53 h 53"/>
                <a:gd name="T4" fmla="*/ 73 w 73"/>
                <a:gd name="T5" fmla="*/ 0 h 53"/>
                <a:gd name="T6" fmla="*/ 0 w 73"/>
                <a:gd name="T7" fmla="*/ 0 h 53"/>
                <a:gd name="T8" fmla="*/ 0 w 73"/>
                <a:gd name="T9" fmla="*/ 53 h 53"/>
                <a:gd name="T10" fmla="*/ 69 w 73"/>
                <a:gd name="T11" fmla="*/ 48 h 53"/>
                <a:gd name="T12" fmla="*/ 5 w 73"/>
                <a:gd name="T13" fmla="*/ 48 h 53"/>
                <a:gd name="T14" fmla="*/ 5 w 73"/>
                <a:gd name="T15" fmla="*/ 5 h 53"/>
                <a:gd name="T16" fmla="*/ 69 w 73"/>
                <a:gd name="T17" fmla="*/ 5 h 53"/>
                <a:gd name="T18" fmla="*/ 69 w 73"/>
                <a:gd name="T19" fmla="*/ 48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3" h="53">
                  <a:moveTo>
                    <a:pt x="0" y="53"/>
                  </a:moveTo>
                  <a:lnTo>
                    <a:pt x="73" y="53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53"/>
                  </a:lnTo>
                  <a:close/>
                  <a:moveTo>
                    <a:pt x="69" y="48"/>
                  </a:moveTo>
                  <a:lnTo>
                    <a:pt x="5" y="48"/>
                  </a:lnTo>
                  <a:lnTo>
                    <a:pt x="5" y="5"/>
                  </a:lnTo>
                  <a:lnTo>
                    <a:pt x="69" y="5"/>
                  </a:lnTo>
                  <a:lnTo>
                    <a:pt x="69" y="4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22" name="Rectangle 6796"/>
            <p:cNvSpPr>
              <a:spLocks noChangeArrowheads="1"/>
            </p:cNvSpPr>
            <p:nvPr/>
          </p:nvSpPr>
          <p:spPr bwMode="auto">
            <a:xfrm>
              <a:off x="8485007" y="5577368"/>
              <a:ext cx="107950" cy="76200"/>
            </a:xfrm>
            <a:prstGeom prst="rect">
              <a:avLst/>
            </a:prstGeom>
            <a:solidFill>
              <a:srgbClr val="1E34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23" name="Freeform 6797"/>
            <p:cNvSpPr>
              <a:spLocks noEditPoints="1"/>
            </p:cNvSpPr>
            <p:nvPr/>
          </p:nvSpPr>
          <p:spPr bwMode="auto">
            <a:xfrm>
              <a:off x="8481832" y="5571018"/>
              <a:ext cx="115888" cy="85725"/>
            </a:xfrm>
            <a:custGeom>
              <a:avLst/>
              <a:gdLst>
                <a:gd name="T0" fmla="*/ 0 w 73"/>
                <a:gd name="T1" fmla="*/ 54 h 54"/>
                <a:gd name="T2" fmla="*/ 73 w 73"/>
                <a:gd name="T3" fmla="*/ 54 h 54"/>
                <a:gd name="T4" fmla="*/ 73 w 73"/>
                <a:gd name="T5" fmla="*/ 0 h 54"/>
                <a:gd name="T6" fmla="*/ 0 w 73"/>
                <a:gd name="T7" fmla="*/ 0 h 54"/>
                <a:gd name="T8" fmla="*/ 0 w 73"/>
                <a:gd name="T9" fmla="*/ 54 h 54"/>
                <a:gd name="T10" fmla="*/ 68 w 73"/>
                <a:gd name="T11" fmla="*/ 49 h 54"/>
                <a:gd name="T12" fmla="*/ 4 w 73"/>
                <a:gd name="T13" fmla="*/ 49 h 54"/>
                <a:gd name="T14" fmla="*/ 4 w 73"/>
                <a:gd name="T15" fmla="*/ 6 h 54"/>
                <a:gd name="T16" fmla="*/ 68 w 73"/>
                <a:gd name="T17" fmla="*/ 6 h 54"/>
                <a:gd name="T18" fmla="*/ 68 w 73"/>
                <a:gd name="T19" fmla="*/ 49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3" h="54">
                  <a:moveTo>
                    <a:pt x="0" y="54"/>
                  </a:moveTo>
                  <a:lnTo>
                    <a:pt x="73" y="54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54"/>
                  </a:lnTo>
                  <a:close/>
                  <a:moveTo>
                    <a:pt x="68" y="49"/>
                  </a:moveTo>
                  <a:lnTo>
                    <a:pt x="4" y="49"/>
                  </a:lnTo>
                  <a:lnTo>
                    <a:pt x="4" y="6"/>
                  </a:lnTo>
                  <a:lnTo>
                    <a:pt x="68" y="6"/>
                  </a:lnTo>
                  <a:lnTo>
                    <a:pt x="68" y="4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24" name="Rectangle 6798"/>
            <p:cNvSpPr>
              <a:spLocks noChangeArrowheads="1"/>
            </p:cNvSpPr>
            <p:nvPr/>
          </p:nvSpPr>
          <p:spPr bwMode="auto">
            <a:xfrm>
              <a:off x="8224657" y="5509105"/>
              <a:ext cx="173038" cy="193675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25" name="Rectangle 6799"/>
            <p:cNvSpPr>
              <a:spLocks noChangeArrowheads="1"/>
            </p:cNvSpPr>
            <p:nvPr/>
          </p:nvSpPr>
          <p:spPr bwMode="auto">
            <a:xfrm>
              <a:off x="8323082" y="5536093"/>
              <a:ext cx="33338" cy="136525"/>
            </a:xfrm>
            <a:prstGeom prst="rect">
              <a:avLst/>
            </a:prstGeom>
            <a:solidFill>
              <a:srgbClr val="1E34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26" name="Freeform 6800"/>
            <p:cNvSpPr>
              <a:spLocks noEditPoints="1"/>
            </p:cNvSpPr>
            <p:nvPr/>
          </p:nvSpPr>
          <p:spPr bwMode="auto">
            <a:xfrm>
              <a:off x="8319907" y="5532918"/>
              <a:ext cx="39688" cy="144463"/>
            </a:xfrm>
            <a:custGeom>
              <a:avLst/>
              <a:gdLst>
                <a:gd name="T0" fmla="*/ 0 w 25"/>
                <a:gd name="T1" fmla="*/ 91 h 91"/>
                <a:gd name="T2" fmla="*/ 25 w 25"/>
                <a:gd name="T3" fmla="*/ 91 h 91"/>
                <a:gd name="T4" fmla="*/ 25 w 25"/>
                <a:gd name="T5" fmla="*/ 0 h 91"/>
                <a:gd name="T6" fmla="*/ 0 w 25"/>
                <a:gd name="T7" fmla="*/ 0 h 91"/>
                <a:gd name="T8" fmla="*/ 0 w 25"/>
                <a:gd name="T9" fmla="*/ 91 h 91"/>
                <a:gd name="T10" fmla="*/ 20 w 25"/>
                <a:gd name="T11" fmla="*/ 86 h 91"/>
                <a:gd name="T12" fmla="*/ 4 w 25"/>
                <a:gd name="T13" fmla="*/ 86 h 91"/>
                <a:gd name="T14" fmla="*/ 4 w 25"/>
                <a:gd name="T15" fmla="*/ 5 h 91"/>
                <a:gd name="T16" fmla="*/ 20 w 25"/>
                <a:gd name="T17" fmla="*/ 5 h 91"/>
                <a:gd name="T18" fmla="*/ 20 w 25"/>
                <a:gd name="T19" fmla="*/ 86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91">
                  <a:moveTo>
                    <a:pt x="0" y="91"/>
                  </a:moveTo>
                  <a:lnTo>
                    <a:pt x="25" y="91"/>
                  </a:lnTo>
                  <a:lnTo>
                    <a:pt x="25" y="0"/>
                  </a:lnTo>
                  <a:lnTo>
                    <a:pt x="0" y="0"/>
                  </a:lnTo>
                  <a:lnTo>
                    <a:pt x="0" y="91"/>
                  </a:lnTo>
                  <a:close/>
                  <a:moveTo>
                    <a:pt x="20" y="86"/>
                  </a:moveTo>
                  <a:lnTo>
                    <a:pt x="4" y="86"/>
                  </a:lnTo>
                  <a:lnTo>
                    <a:pt x="4" y="5"/>
                  </a:lnTo>
                  <a:lnTo>
                    <a:pt x="20" y="5"/>
                  </a:lnTo>
                  <a:lnTo>
                    <a:pt x="20" y="8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27" name="Rectangle 6801"/>
            <p:cNvSpPr>
              <a:spLocks noChangeArrowheads="1"/>
            </p:cNvSpPr>
            <p:nvPr/>
          </p:nvSpPr>
          <p:spPr bwMode="auto">
            <a:xfrm>
              <a:off x="8291332" y="5536093"/>
              <a:ext cx="31750" cy="136525"/>
            </a:xfrm>
            <a:prstGeom prst="rect">
              <a:avLst/>
            </a:prstGeom>
            <a:solidFill>
              <a:srgbClr val="1E34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28" name="Freeform 6802"/>
            <p:cNvSpPr>
              <a:spLocks noEditPoints="1"/>
            </p:cNvSpPr>
            <p:nvPr/>
          </p:nvSpPr>
          <p:spPr bwMode="auto">
            <a:xfrm>
              <a:off x="8286570" y="5532918"/>
              <a:ext cx="39688" cy="144463"/>
            </a:xfrm>
            <a:custGeom>
              <a:avLst/>
              <a:gdLst>
                <a:gd name="T0" fmla="*/ 0 w 25"/>
                <a:gd name="T1" fmla="*/ 91 h 91"/>
                <a:gd name="T2" fmla="*/ 25 w 25"/>
                <a:gd name="T3" fmla="*/ 91 h 91"/>
                <a:gd name="T4" fmla="*/ 25 w 25"/>
                <a:gd name="T5" fmla="*/ 0 h 91"/>
                <a:gd name="T6" fmla="*/ 0 w 25"/>
                <a:gd name="T7" fmla="*/ 0 h 91"/>
                <a:gd name="T8" fmla="*/ 0 w 25"/>
                <a:gd name="T9" fmla="*/ 91 h 91"/>
                <a:gd name="T10" fmla="*/ 21 w 25"/>
                <a:gd name="T11" fmla="*/ 86 h 91"/>
                <a:gd name="T12" fmla="*/ 5 w 25"/>
                <a:gd name="T13" fmla="*/ 86 h 91"/>
                <a:gd name="T14" fmla="*/ 5 w 25"/>
                <a:gd name="T15" fmla="*/ 5 h 91"/>
                <a:gd name="T16" fmla="*/ 21 w 25"/>
                <a:gd name="T17" fmla="*/ 5 h 91"/>
                <a:gd name="T18" fmla="*/ 21 w 25"/>
                <a:gd name="T19" fmla="*/ 86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91">
                  <a:moveTo>
                    <a:pt x="0" y="91"/>
                  </a:moveTo>
                  <a:lnTo>
                    <a:pt x="25" y="91"/>
                  </a:lnTo>
                  <a:lnTo>
                    <a:pt x="25" y="0"/>
                  </a:lnTo>
                  <a:lnTo>
                    <a:pt x="0" y="0"/>
                  </a:lnTo>
                  <a:lnTo>
                    <a:pt x="0" y="91"/>
                  </a:lnTo>
                  <a:close/>
                  <a:moveTo>
                    <a:pt x="21" y="86"/>
                  </a:moveTo>
                  <a:lnTo>
                    <a:pt x="5" y="86"/>
                  </a:lnTo>
                  <a:lnTo>
                    <a:pt x="5" y="5"/>
                  </a:lnTo>
                  <a:lnTo>
                    <a:pt x="21" y="5"/>
                  </a:lnTo>
                  <a:lnTo>
                    <a:pt x="21" y="8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29" name="Rectangle 6803"/>
            <p:cNvSpPr>
              <a:spLocks noChangeArrowheads="1"/>
            </p:cNvSpPr>
            <p:nvPr/>
          </p:nvSpPr>
          <p:spPr bwMode="auto">
            <a:xfrm>
              <a:off x="8257995" y="5536093"/>
              <a:ext cx="33338" cy="136525"/>
            </a:xfrm>
            <a:prstGeom prst="rect">
              <a:avLst/>
            </a:prstGeom>
            <a:solidFill>
              <a:srgbClr val="1E34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30" name="Freeform 6804"/>
            <p:cNvSpPr>
              <a:spLocks noEditPoints="1"/>
            </p:cNvSpPr>
            <p:nvPr/>
          </p:nvSpPr>
          <p:spPr bwMode="auto">
            <a:xfrm>
              <a:off x="8254820" y="5532918"/>
              <a:ext cx="39688" cy="144463"/>
            </a:xfrm>
            <a:custGeom>
              <a:avLst/>
              <a:gdLst>
                <a:gd name="T0" fmla="*/ 0 w 25"/>
                <a:gd name="T1" fmla="*/ 91 h 91"/>
                <a:gd name="T2" fmla="*/ 25 w 25"/>
                <a:gd name="T3" fmla="*/ 91 h 91"/>
                <a:gd name="T4" fmla="*/ 25 w 25"/>
                <a:gd name="T5" fmla="*/ 0 h 91"/>
                <a:gd name="T6" fmla="*/ 0 w 25"/>
                <a:gd name="T7" fmla="*/ 0 h 91"/>
                <a:gd name="T8" fmla="*/ 0 w 25"/>
                <a:gd name="T9" fmla="*/ 91 h 91"/>
                <a:gd name="T10" fmla="*/ 20 w 25"/>
                <a:gd name="T11" fmla="*/ 86 h 91"/>
                <a:gd name="T12" fmla="*/ 4 w 25"/>
                <a:gd name="T13" fmla="*/ 86 h 91"/>
                <a:gd name="T14" fmla="*/ 4 w 25"/>
                <a:gd name="T15" fmla="*/ 5 h 91"/>
                <a:gd name="T16" fmla="*/ 20 w 25"/>
                <a:gd name="T17" fmla="*/ 5 h 91"/>
                <a:gd name="T18" fmla="*/ 20 w 25"/>
                <a:gd name="T19" fmla="*/ 86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91">
                  <a:moveTo>
                    <a:pt x="0" y="91"/>
                  </a:moveTo>
                  <a:lnTo>
                    <a:pt x="25" y="91"/>
                  </a:lnTo>
                  <a:lnTo>
                    <a:pt x="25" y="0"/>
                  </a:lnTo>
                  <a:lnTo>
                    <a:pt x="0" y="0"/>
                  </a:lnTo>
                  <a:lnTo>
                    <a:pt x="0" y="91"/>
                  </a:lnTo>
                  <a:close/>
                  <a:moveTo>
                    <a:pt x="20" y="86"/>
                  </a:moveTo>
                  <a:lnTo>
                    <a:pt x="4" y="86"/>
                  </a:lnTo>
                  <a:lnTo>
                    <a:pt x="4" y="5"/>
                  </a:lnTo>
                  <a:lnTo>
                    <a:pt x="20" y="5"/>
                  </a:lnTo>
                  <a:lnTo>
                    <a:pt x="20" y="8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31" name="Freeform 6805"/>
            <p:cNvSpPr>
              <a:spLocks/>
            </p:cNvSpPr>
            <p:nvPr/>
          </p:nvSpPr>
          <p:spPr bwMode="auto">
            <a:xfrm>
              <a:off x="8218307" y="5448780"/>
              <a:ext cx="188913" cy="60325"/>
            </a:xfrm>
            <a:custGeom>
              <a:avLst/>
              <a:gdLst>
                <a:gd name="T0" fmla="*/ 119 w 119"/>
                <a:gd name="T1" fmla="*/ 38 h 38"/>
                <a:gd name="T2" fmla="*/ 76 w 119"/>
                <a:gd name="T3" fmla="*/ 0 h 38"/>
                <a:gd name="T4" fmla="*/ 35 w 119"/>
                <a:gd name="T5" fmla="*/ 0 h 38"/>
                <a:gd name="T6" fmla="*/ 0 w 119"/>
                <a:gd name="T7" fmla="*/ 38 h 38"/>
                <a:gd name="T8" fmla="*/ 119 w 119"/>
                <a:gd name="T9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9" h="38">
                  <a:moveTo>
                    <a:pt x="119" y="38"/>
                  </a:moveTo>
                  <a:lnTo>
                    <a:pt x="76" y="0"/>
                  </a:lnTo>
                  <a:lnTo>
                    <a:pt x="35" y="0"/>
                  </a:lnTo>
                  <a:lnTo>
                    <a:pt x="0" y="38"/>
                  </a:lnTo>
                  <a:lnTo>
                    <a:pt x="119" y="38"/>
                  </a:lnTo>
                  <a:close/>
                </a:path>
              </a:pathLst>
            </a:custGeom>
            <a:solidFill>
              <a:srgbClr val="1E2A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32" name="Freeform 6806"/>
            <p:cNvSpPr>
              <a:spLocks/>
            </p:cNvSpPr>
            <p:nvPr/>
          </p:nvSpPr>
          <p:spPr bwMode="auto">
            <a:xfrm>
              <a:off x="7776982" y="5258280"/>
              <a:ext cx="923925" cy="274638"/>
            </a:xfrm>
            <a:custGeom>
              <a:avLst/>
              <a:gdLst>
                <a:gd name="T0" fmla="*/ 0 w 582"/>
                <a:gd name="T1" fmla="*/ 164 h 173"/>
                <a:gd name="T2" fmla="*/ 291 w 582"/>
                <a:gd name="T3" fmla="*/ 0 h 173"/>
                <a:gd name="T4" fmla="*/ 582 w 582"/>
                <a:gd name="T5" fmla="*/ 164 h 173"/>
                <a:gd name="T6" fmla="*/ 577 w 582"/>
                <a:gd name="T7" fmla="*/ 173 h 173"/>
                <a:gd name="T8" fmla="*/ 291 w 582"/>
                <a:gd name="T9" fmla="*/ 10 h 173"/>
                <a:gd name="T10" fmla="*/ 5 w 582"/>
                <a:gd name="T11" fmla="*/ 173 h 173"/>
                <a:gd name="T12" fmla="*/ 0 w 582"/>
                <a:gd name="T13" fmla="*/ 164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82" h="173">
                  <a:moveTo>
                    <a:pt x="0" y="164"/>
                  </a:moveTo>
                  <a:lnTo>
                    <a:pt x="291" y="0"/>
                  </a:lnTo>
                  <a:lnTo>
                    <a:pt x="582" y="164"/>
                  </a:lnTo>
                  <a:lnTo>
                    <a:pt x="577" y="173"/>
                  </a:lnTo>
                  <a:lnTo>
                    <a:pt x="291" y="10"/>
                  </a:lnTo>
                  <a:lnTo>
                    <a:pt x="5" y="173"/>
                  </a:lnTo>
                  <a:lnTo>
                    <a:pt x="0" y="164"/>
                  </a:lnTo>
                  <a:close/>
                </a:path>
              </a:pathLst>
            </a:custGeom>
            <a:solidFill>
              <a:srgbClr val="1E2A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8857" name="Group 8856"/>
          <p:cNvGrpSpPr/>
          <p:nvPr/>
        </p:nvGrpSpPr>
        <p:grpSpPr>
          <a:xfrm>
            <a:off x="4473515" y="1482589"/>
            <a:ext cx="549395" cy="974186"/>
            <a:chOff x="5873750" y="5121276"/>
            <a:chExt cx="307975" cy="546101"/>
          </a:xfrm>
        </p:grpSpPr>
        <p:sp>
          <p:nvSpPr>
            <p:cNvPr id="8858" name="Freeform 6461"/>
            <p:cNvSpPr>
              <a:spLocks/>
            </p:cNvSpPr>
            <p:nvPr/>
          </p:nvSpPr>
          <p:spPr bwMode="auto">
            <a:xfrm>
              <a:off x="6007100" y="5121276"/>
              <a:ext cx="39688" cy="265113"/>
            </a:xfrm>
            <a:custGeom>
              <a:avLst/>
              <a:gdLst>
                <a:gd name="T0" fmla="*/ 2 w 25"/>
                <a:gd name="T1" fmla="*/ 167 h 167"/>
                <a:gd name="T2" fmla="*/ 12 w 25"/>
                <a:gd name="T3" fmla="*/ 17 h 167"/>
                <a:gd name="T4" fmla="*/ 23 w 25"/>
                <a:gd name="T5" fmla="*/ 167 h 167"/>
                <a:gd name="T6" fmla="*/ 25 w 25"/>
                <a:gd name="T7" fmla="*/ 167 h 167"/>
                <a:gd name="T8" fmla="*/ 14 w 25"/>
                <a:gd name="T9" fmla="*/ 0 h 167"/>
                <a:gd name="T10" fmla="*/ 11 w 25"/>
                <a:gd name="T11" fmla="*/ 0 h 167"/>
                <a:gd name="T12" fmla="*/ 0 w 25"/>
                <a:gd name="T13" fmla="*/ 167 h 167"/>
                <a:gd name="T14" fmla="*/ 2 w 25"/>
                <a:gd name="T15" fmla="*/ 16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167">
                  <a:moveTo>
                    <a:pt x="2" y="167"/>
                  </a:moveTo>
                  <a:lnTo>
                    <a:pt x="12" y="17"/>
                  </a:lnTo>
                  <a:lnTo>
                    <a:pt x="23" y="167"/>
                  </a:lnTo>
                  <a:lnTo>
                    <a:pt x="25" y="167"/>
                  </a:lnTo>
                  <a:lnTo>
                    <a:pt x="14" y="0"/>
                  </a:lnTo>
                  <a:lnTo>
                    <a:pt x="11" y="0"/>
                  </a:lnTo>
                  <a:lnTo>
                    <a:pt x="0" y="167"/>
                  </a:lnTo>
                  <a:lnTo>
                    <a:pt x="2" y="167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59" name="Freeform 6462"/>
            <p:cNvSpPr>
              <a:spLocks/>
            </p:cNvSpPr>
            <p:nvPr/>
          </p:nvSpPr>
          <p:spPr bwMode="auto">
            <a:xfrm>
              <a:off x="5981700" y="5410201"/>
              <a:ext cx="90488" cy="257175"/>
            </a:xfrm>
            <a:custGeom>
              <a:avLst/>
              <a:gdLst>
                <a:gd name="T0" fmla="*/ 0 w 57"/>
                <a:gd name="T1" fmla="*/ 162 h 162"/>
                <a:gd name="T2" fmla="*/ 57 w 57"/>
                <a:gd name="T3" fmla="*/ 162 h 162"/>
                <a:gd name="T4" fmla="*/ 42 w 57"/>
                <a:gd name="T5" fmla="*/ 0 h 162"/>
                <a:gd name="T6" fmla="*/ 40 w 57"/>
                <a:gd name="T7" fmla="*/ 1 h 162"/>
                <a:gd name="T8" fmla="*/ 55 w 57"/>
                <a:gd name="T9" fmla="*/ 159 h 162"/>
                <a:gd name="T10" fmla="*/ 2 w 57"/>
                <a:gd name="T11" fmla="*/ 159 h 162"/>
                <a:gd name="T12" fmla="*/ 17 w 57"/>
                <a:gd name="T13" fmla="*/ 1 h 162"/>
                <a:gd name="T14" fmla="*/ 15 w 57"/>
                <a:gd name="T15" fmla="*/ 0 h 162"/>
                <a:gd name="T16" fmla="*/ 0 w 57"/>
                <a:gd name="T17" fmla="*/ 16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7" h="162">
                  <a:moveTo>
                    <a:pt x="0" y="162"/>
                  </a:moveTo>
                  <a:lnTo>
                    <a:pt x="57" y="162"/>
                  </a:lnTo>
                  <a:lnTo>
                    <a:pt x="42" y="0"/>
                  </a:lnTo>
                  <a:lnTo>
                    <a:pt x="40" y="1"/>
                  </a:lnTo>
                  <a:lnTo>
                    <a:pt x="55" y="159"/>
                  </a:lnTo>
                  <a:lnTo>
                    <a:pt x="2" y="159"/>
                  </a:lnTo>
                  <a:lnTo>
                    <a:pt x="17" y="1"/>
                  </a:lnTo>
                  <a:lnTo>
                    <a:pt x="15" y="0"/>
                  </a:lnTo>
                  <a:lnTo>
                    <a:pt x="0" y="162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60" name="Freeform 6463"/>
            <p:cNvSpPr>
              <a:spLocks/>
            </p:cNvSpPr>
            <p:nvPr/>
          </p:nvSpPr>
          <p:spPr bwMode="auto">
            <a:xfrm>
              <a:off x="6034088" y="5214939"/>
              <a:ext cx="68263" cy="25400"/>
            </a:xfrm>
            <a:custGeom>
              <a:avLst/>
              <a:gdLst>
                <a:gd name="T0" fmla="*/ 1 w 43"/>
                <a:gd name="T1" fmla="*/ 16 h 16"/>
                <a:gd name="T2" fmla="*/ 43 w 43"/>
                <a:gd name="T3" fmla="*/ 0 h 16"/>
                <a:gd name="T4" fmla="*/ 0 w 43"/>
                <a:gd name="T5" fmla="*/ 0 h 16"/>
                <a:gd name="T6" fmla="*/ 0 w 43"/>
                <a:gd name="T7" fmla="*/ 2 h 16"/>
                <a:gd name="T8" fmla="*/ 30 w 43"/>
                <a:gd name="T9" fmla="*/ 2 h 16"/>
                <a:gd name="T10" fmla="*/ 0 w 43"/>
                <a:gd name="T11" fmla="*/ 13 h 16"/>
                <a:gd name="T12" fmla="*/ 1 w 43"/>
                <a:gd name="T13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16">
                  <a:moveTo>
                    <a:pt x="1" y="16"/>
                  </a:moveTo>
                  <a:lnTo>
                    <a:pt x="43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30" y="2"/>
                  </a:lnTo>
                  <a:lnTo>
                    <a:pt x="0" y="13"/>
                  </a:lnTo>
                  <a:lnTo>
                    <a:pt x="1" y="16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61" name="Freeform 6464"/>
            <p:cNvSpPr>
              <a:spLocks/>
            </p:cNvSpPr>
            <p:nvPr/>
          </p:nvSpPr>
          <p:spPr bwMode="auto">
            <a:xfrm>
              <a:off x="5949950" y="5214939"/>
              <a:ext cx="69850" cy="25400"/>
            </a:xfrm>
            <a:custGeom>
              <a:avLst/>
              <a:gdLst>
                <a:gd name="T0" fmla="*/ 43 w 44"/>
                <a:gd name="T1" fmla="*/ 16 h 16"/>
                <a:gd name="T2" fmla="*/ 44 w 44"/>
                <a:gd name="T3" fmla="*/ 13 h 16"/>
                <a:gd name="T4" fmla="*/ 14 w 44"/>
                <a:gd name="T5" fmla="*/ 2 h 16"/>
                <a:gd name="T6" fmla="*/ 44 w 44"/>
                <a:gd name="T7" fmla="*/ 2 h 16"/>
                <a:gd name="T8" fmla="*/ 44 w 44"/>
                <a:gd name="T9" fmla="*/ 0 h 16"/>
                <a:gd name="T10" fmla="*/ 0 w 44"/>
                <a:gd name="T11" fmla="*/ 0 h 16"/>
                <a:gd name="T12" fmla="*/ 43 w 44"/>
                <a:gd name="T13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" h="16">
                  <a:moveTo>
                    <a:pt x="43" y="16"/>
                  </a:moveTo>
                  <a:lnTo>
                    <a:pt x="44" y="13"/>
                  </a:lnTo>
                  <a:lnTo>
                    <a:pt x="14" y="2"/>
                  </a:lnTo>
                  <a:lnTo>
                    <a:pt x="44" y="2"/>
                  </a:lnTo>
                  <a:lnTo>
                    <a:pt x="44" y="0"/>
                  </a:lnTo>
                  <a:lnTo>
                    <a:pt x="0" y="0"/>
                  </a:lnTo>
                  <a:lnTo>
                    <a:pt x="43" y="16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62" name="Freeform 6465"/>
            <p:cNvSpPr>
              <a:spLocks/>
            </p:cNvSpPr>
            <p:nvPr/>
          </p:nvSpPr>
          <p:spPr bwMode="auto">
            <a:xfrm>
              <a:off x="5873750" y="5303839"/>
              <a:ext cx="139700" cy="31750"/>
            </a:xfrm>
            <a:custGeom>
              <a:avLst/>
              <a:gdLst>
                <a:gd name="T0" fmla="*/ 0 w 88"/>
                <a:gd name="T1" fmla="*/ 20 h 20"/>
                <a:gd name="T2" fmla="*/ 87 w 88"/>
                <a:gd name="T3" fmla="*/ 20 h 20"/>
                <a:gd name="T4" fmla="*/ 87 w 88"/>
                <a:gd name="T5" fmla="*/ 18 h 20"/>
                <a:gd name="T6" fmla="*/ 13 w 88"/>
                <a:gd name="T7" fmla="*/ 18 h 20"/>
                <a:gd name="T8" fmla="*/ 88 w 88"/>
                <a:gd name="T9" fmla="*/ 2 h 20"/>
                <a:gd name="T10" fmla="*/ 88 w 88"/>
                <a:gd name="T11" fmla="*/ 0 h 20"/>
                <a:gd name="T12" fmla="*/ 0 w 88"/>
                <a:gd name="T13" fmla="*/ 18 h 20"/>
                <a:gd name="T14" fmla="*/ 0 w 88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8" h="20">
                  <a:moveTo>
                    <a:pt x="0" y="20"/>
                  </a:moveTo>
                  <a:lnTo>
                    <a:pt x="87" y="20"/>
                  </a:lnTo>
                  <a:lnTo>
                    <a:pt x="87" y="18"/>
                  </a:lnTo>
                  <a:lnTo>
                    <a:pt x="13" y="18"/>
                  </a:lnTo>
                  <a:lnTo>
                    <a:pt x="88" y="2"/>
                  </a:lnTo>
                  <a:lnTo>
                    <a:pt x="88" y="0"/>
                  </a:lnTo>
                  <a:lnTo>
                    <a:pt x="0" y="18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63" name="Freeform 6466"/>
            <p:cNvSpPr>
              <a:spLocks/>
            </p:cNvSpPr>
            <p:nvPr/>
          </p:nvSpPr>
          <p:spPr bwMode="auto">
            <a:xfrm>
              <a:off x="6038850" y="5303839"/>
              <a:ext cx="142875" cy="31750"/>
            </a:xfrm>
            <a:custGeom>
              <a:avLst/>
              <a:gdLst>
                <a:gd name="T0" fmla="*/ 2 w 90"/>
                <a:gd name="T1" fmla="*/ 20 h 20"/>
                <a:gd name="T2" fmla="*/ 88 w 90"/>
                <a:gd name="T3" fmla="*/ 20 h 20"/>
                <a:gd name="T4" fmla="*/ 90 w 90"/>
                <a:gd name="T5" fmla="*/ 18 h 20"/>
                <a:gd name="T6" fmla="*/ 0 w 90"/>
                <a:gd name="T7" fmla="*/ 0 h 20"/>
                <a:gd name="T8" fmla="*/ 0 w 90"/>
                <a:gd name="T9" fmla="*/ 2 h 20"/>
                <a:gd name="T10" fmla="*/ 77 w 90"/>
                <a:gd name="T11" fmla="*/ 18 h 20"/>
                <a:gd name="T12" fmla="*/ 2 w 90"/>
                <a:gd name="T13" fmla="*/ 18 h 20"/>
                <a:gd name="T14" fmla="*/ 2 w 90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0" h="20">
                  <a:moveTo>
                    <a:pt x="2" y="20"/>
                  </a:moveTo>
                  <a:lnTo>
                    <a:pt x="88" y="20"/>
                  </a:lnTo>
                  <a:lnTo>
                    <a:pt x="90" y="18"/>
                  </a:lnTo>
                  <a:lnTo>
                    <a:pt x="0" y="0"/>
                  </a:lnTo>
                  <a:lnTo>
                    <a:pt x="0" y="2"/>
                  </a:lnTo>
                  <a:lnTo>
                    <a:pt x="77" y="18"/>
                  </a:lnTo>
                  <a:lnTo>
                    <a:pt x="2" y="18"/>
                  </a:lnTo>
                  <a:lnTo>
                    <a:pt x="2" y="20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64" name="Freeform 6467"/>
            <p:cNvSpPr>
              <a:spLocks noEditPoints="1"/>
            </p:cNvSpPr>
            <p:nvPr/>
          </p:nvSpPr>
          <p:spPr bwMode="auto">
            <a:xfrm>
              <a:off x="6043613" y="5384801"/>
              <a:ext cx="92075" cy="30163"/>
            </a:xfrm>
            <a:custGeom>
              <a:avLst/>
              <a:gdLst>
                <a:gd name="T0" fmla="*/ 1 w 58"/>
                <a:gd name="T1" fmla="*/ 19 h 19"/>
                <a:gd name="T2" fmla="*/ 58 w 58"/>
                <a:gd name="T3" fmla="*/ 19 h 19"/>
                <a:gd name="T4" fmla="*/ 0 w 58"/>
                <a:gd name="T5" fmla="*/ 0 h 19"/>
                <a:gd name="T6" fmla="*/ 1 w 58"/>
                <a:gd name="T7" fmla="*/ 19 h 19"/>
                <a:gd name="T8" fmla="*/ 42 w 58"/>
                <a:gd name="T9" fmla="*/ 15 h 19"/>
                <a:gd name="T10" fmla="*/ 3 w 58"/>
                <a:gd name="T11" fmla="*/ 15 h 19"/>
                <a:gd name="T12" fmla="*/ 2 w 58"/>
                <a:gd name="T13" fmla="*/ 4 h 19"/>
                <a:gd name="T14" fmla="*/ 42 w 58"/>
                <a:gd name="T15" fmla="*/ 15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8" h="19">
                  <a:moveTo>
                    <a:pt x="1" y="19"/>
                  </a:moveTo>
                  <a:lnTo>
                    <a:pt x="58" y="19"/>
                  </a:lnTo>
                  <a:lnTo>
                    <a:pt x="0" y="0"/>
                  </a:lnTo>
                  <a:lnTo>
                    <a:pt x="1" y="19"/>
                  </a:lnTo>
                  <a:close/>
                  <a:moveTo>
                    <a:pt x="42" y="15"/>
                  </a:moveTo>
                  <a:lnTo>
                    <a:pt x="3" y="15"/>
                  </a:lnTo>
                  <a:lnTo>
                    <a:pt x="2" y="4"/>
                  </a:lnTo>
                  <a:lnTo>
                    <a:pt x="42" y="15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65" name="Freeform 6468"/>
            <p:cNvSpPr>
              <a:spLocks noEditPoints="1"/>
            </p:cNvSpPr>
            <p:nvPr/>
          </p:nvSpPr>
          <p:spPr bwMode="auto">
            <a:xfrm>
              <a:off x="5918200" y="5384801"/>
              <a:ext cx="92075" cy="30163"/>
            </a:xfrm>
            <a:custGeom>
              <a:avLst/>
              <a:gdLst>
                <a:gd name="T0" fmla="*/ 0 w 58"/>
                <a:gd name="T1" fmla="*/ 19 h 19"/>
                <a:gd name="T2" fmla="*/ 57 w 58"/>
                <a:gd name="T3" fmla="*/ 19 h 19"/>
                <a:gd name="T4" fmla="*/ 58 w 58"/>
                <a:gd name="T5" fmla="*/ 0 h 19"/>
                <a:gd name="T6" fmla="*/ 0 w 58"/>
                <a:gd name="T7" fmla="*/ 19 h 19"/>
                <a:gd name="T8" fmla="*/ 55 w 58"/>
                <a:gd name="T9" fmla="*/ 15 h 19"/>
                <a:gd name="T10" fmla="*/ 16 w 58"/>
                <a:gd name="T11" fmla="*/ 15 h 19"/>
                <a:gd name="T12" fmla="*/ 56 w 58"/>
                <a:gd name="T13" fmla="*/ 4 h 19"/>
                <a:gd name="T14" fmla="*/ 55 w 58"/>
                <a:gd name="T15" fmla="*/ 15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8" h="19">
                  <a:moveTo>
                    <a:pt x="0" y="19"/>
                  </a:moveTo>
                  <a:lnTo>
                    <a:pt x="57" y="19"/>
                  </a:lnTo>
                  <a:lnTo>
                    <a:pt x="58" y="0"/>
                  </a:lnTo>
                  <a:lnTo>
                    <a:pt x="0" y="19"/>
                  </a:lnTo>
                  <a:close/>
                  <a:moveTo>
                    <a:pt x="55" y="15"/>
                  </a:moveTo>
                  <a:lnTo>
                    <a:pt x="16" y="15"/>
                  </a:lnTo>
                  <a:lnTo>
                    <a:pt x="56" y="4"/>
                  </a:lnTo>
                  <a:lnTo>
                    <a:pt x="55" y="15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66" name="Freeform 6469"/>
            <p:cNvSpPr>
              <a:spLocks/>
            </p:cNvSpPr>
            <p:nvPr/>
          </p:nvSpPr>
          <p:spPr bwMode="auto">
            <a:xfrm>
              <a:off x="5984875" y="5624514"/>
              <a:ext cx="87313" cy="42863"/>
            </a:xfrm>
            <a:custGeom>
              <a:avLst/>
              <a:gdLst>
                <a:gd name="T0" fmla="*/ 54 w 55"/>
                <a:gd name="T1" fmla="*/ 27 h 27"/>
                <a:gd name="T2" fmla="*/ 55 w 55"/>
                <a:gd name="T3" fmla="*/ 24 h 27"/>
                <a:gd name="T4" fmla="*/ 1 w 55"/>
                <a:gd name="T5" fmla="*/ 0 h 27"/>
                <a:gd name="T6" fmla="*/ 0 w 55"/>
                <a:gd name="T7" fmla="*/ 3 h 27"/>
                <a:gd name="T8" fmla="*/ 54 w 55"/>
                <a:gd name="T9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27">
                  <a:moveTo>
                    <a:pt x="54" y="27"/>
                  </a:moveTo>
                  <a:lnTo>
                    <a:pt x="55" y="24"/>
                  </a:lnTo>
                  <a:lnTo>
                    <a:pt x="1" y="0"/>
                  </a:lnTo>
                  <a:lnTo>
                    <a:pt x="0" y="3"/>
                  </a:lnTo>
                  <a:lnTo>
                    <a:pt x="54" y="27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67" name="Freeform 6470"/>
            <p:cNvSpPr>
              <a:spLocks/>
            </p:cNvSpPr>
            <p:nvPr/>
          </p:nvSpPr>
          <p:spPr bwMode="auto">
            <a:xfrm>
              <a:off x="5981700" y="5624514"/>
              <a:ext cx="87313" cy="42863"/>
            </a:xfrm>
            <a:custGeom>
              <a:avLst/>
              <a:gdLst>
                <a:gd name="T0" fmla="*/ 1 w 55"/>
                <a:gd name="T1" fmla="*/ 27 h 27"/>
                <a:gd name="T2" fmla="*/ 55 w 55"/>
                <a:gd name="T3" fmla="*/ 3 h 27"/>
                <a:gd name="T4" fmla="*/ 54 w 55"/>
                <a:gd name="T5" fmla="*/ 0 h 27"/>
                <a:gd name="T6" fmla="*/ 0 w 55"/>
                <a:gd name="T7" fmla="*/ 24 h 27"/>
                <a:gd name="T8" fmla="*/ 1 w 55"/>
                <a:gd name="T9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27">
                  <a:moveTo>
                    <a:pt x="1" y="27"/>
                  </a:moveTo>
                  <a:lnTo>
                    <a:pt x="55" y="3"/>
                  </a:lnTo>
                  <a:lnTo>
                    <a:pt x="54" y="0"/>
                  </a:lnTo>
                  <a:lnTo>
                    <a:pt x="0" y="24"/>
                  </a:lnTo>
                  <a:lnTo>
                    <a:pt x="1" y="27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68" name="Freeform 6471"/>
            <p:cNvSpPr>
              <a:spLocks/>
            </p:cNvSpPr>
            <p:nvPr/>
          </p:nvSpPr>
          <p:spPr bwMode="auto">
            <a:xfrm>
              <a:off x="5988050" y="5594351"/>
              <a:ext cx="80963" cy="34925"/>
            </a:xfrm>
            <a:custGeom>
              <a:avLst/>
              <a:gdLst>
                <a:gd name="T0" fmla="*/ 50 w 51"/>
                <a:gd name="T1" fmla="*/ 22 h 22"/>
                <a:gd name="T2" fmla="*/ 51 w 51"/>
                <a:gd name="T3" fmla="*/ 19 h 22"/>
                <a:gd name="T4" fmla="*/ 2 w 51"/>
                <a:gd name="T5" fmla="*/ 0 h 22"/>
                <a:gd name="T6" fmla="*/ 0 w 51"/>
                <a:gd name="T7" fmla="*/ 2 h 22"/>
                <a:gd name="T8" fmla="*/ 50 w 51"/>
                <a:gd name="T9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22">
                  <a:moveTo>
                    <a:pt x="50" y="22"/>
                  </a:moveTo>
                  <a:lnTo>
                    <a:pt x="51" y="19"/>
                  </a:lnTo>
                  <a:lnTo>
                    <a:pt x="2" y="0"/>
                  </a:lnTo>
                  <a:lnTo>
                    <a:pt x="0" y="2"/>
                  </a:lnTo>
                  <a:lnTo>
                    <a:pt x="50" y="22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69" name="Freeform 6472"/>
            <p:cNvSpPr>
              <a:spLocks/>
            </p:cNvSpPr>
            <p:nvPr/>
          </p:nvSpPr>
          <p:spPr bwMode="auto">
            <a:xfrm>
              <a:off x="5984875" y="5594351"/>
              <a:ext cx="79375" cy="34925"/>
            </a:xfrm>
            <a:custGeom>
              <a:avLst/>
              <a:gdLst>
                <a:gd name="T0" fmla="*/ 1 w 50"/>
                <a:gd name="T1" fmla="*/ 22 h 22"/>
                <a:gd name="T2" fmla="*/ 50 w 50"/>
                <a:gd name="T3" fmla="*/ 2 h 22"/>
                <a:gd name="T4" fmla="*/ 49 w 50"/>
                <a:gd name="T5" fmla="*/ 0 h 22"/>
                <a:gd name="T6" fmla="*/ 0 w 50"/>
                <a:gd name="T7" fmla="*/ 19 h 22"/>
                <a:gd name="T8" fmla="*/ 1 w 50"/>
                <a:gd name="T9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2">
                  <a:moveTo>
                    <a:pt x="1" y="22"/>
                  </a:moveTo>
                  <a:lnTo>
                    <a:pt x="50" y="2"/>
                  </a:lnTo>
                  <a:lnTo>
                    <a:pt x="49" y="0"/>
                  </a:lnTo>
                  <a:lnTo>
                    <a:pt x="0" y="19"/>
                  </a:lnTo>
                  <a:lnTo>
                    <a:pt x="1" y="22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70" name="Freeform 6473"/>
            <p:cNvSpPr>
              <a:spLocks/>
            </p:cNvSpPr>
            <p:nvPr/>
          </p:nvSpPr>
          <p:spPr bwMode="auto">
            <a:xfrm>
              <a:off x="5991225" y="5565776"/>
              <a:ext cx="73025" cy="31750"/>
            </a:xfrm>
            <a:custGeom>
              <a:avLst/>
              <a:gdLst>
                <a:gd name="T0" fmla="*/ 45 w 46"/>
                <a:gd name="T1" fmla="*/ 20 h 20"/>
                <a:gd name="T2" fmla="*/ 46 w 46"/>
                <a:gd name="T3" fmla="*/ 18 h 20"/>
                <a:gd name="T4" fmla="*/ 1 w 46"/>
                <a:gd name="T5" fmla="*/ 0 h 20"/>
                <a:gd name="T6" fmla="*/ 0 w 46"/>
                <a:gd name="T7" fmla="*/ 2 h 20"/>
                <a:gd name="T8" fmla="*/ 45 w 46"/>
                <a:gd name="T9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20">
                  <a:moveTo>
                    <a:pt x="45" y="20"/>
                  </a:moveTo>
                  <a:lnTo>
                    <a:pt x="46" y="18"/>
                  </a:lnTo>
                  <a:lnTo>
                    <a:pt x="1" y="0"/>
                  </a:lnTo>
                  <a:lnTo>
                    <a:pt x="0" y="2"/>
                  </a:lnTo>
                  <a:lnTo>
                    <a:pt x="45" y="20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71" name="Freeform 6474"/>
            <p:cNvSpPr>
              <a:spLocks/>
            </p:cNvSpPr>
            <p:nvPr/>
          </p:nvSpPr>
          <p:spPr bwMode="auto">
            <a:xfrm>
              <a:off x="5988050" y="5565776"/>
              <a:ext cx="74613" cy="31750"/>
            </a:xfrm>
            <a:custGeom>
              <a:avLst/>
              <a:gdLst>
                <a:gd name="T0" fmla="*/ 2 w 47"/>
                <a:gd name="T1" fmla="*/ 20 h 20"/>
                <a:gd name="T2" fmla="*/ 47 w 47"/>
                <a:gd name="T3" fmla="*/ 2 h 20"/>
                <a:gd name="T4" fmla="*/ 46 w 47"/>
                <a:gd name="T5" fmla="*/ 0 h 20"/>
                <a:gd name="T6" fmla="*/ 0 w 47"/>
                <a:gd name="T7" fmla="*/ 18 h 20"/>
                <a:gd name="T8" fmla="*/ 2 w 47"/>
                <a:gd name="T9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20">
                  <a:moveTo>
                    <a:pt x="2" y="20"/>
                  </a:moveTo>
                  <a:lnTo>
                    <a:pt x="47" y="2"/>
                  </a:lnTo>
                  <a:lnTo>
                    <a:pt x="46" y="0"/>
                  </a:lnTo>
                  <a:lnTo>
                    <a:pt x="0" y="18"/>
                  </a:lnTo>
                  <a:lnTo>
                    <a:pt x="2" y="20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72" name="Freeform 6475"/>
            <p:cNvSpPr>
              <a:spLocks/>
            </p:cNvSpPr>
            <p:nvPr/>
          </p:nvSpPr>
          <p:spPr bwMode="auto">
            <a:xfrm>
              <a:off x="5994400" y="5535614"/>
              <a:ext cx="68263" cy="33338"/>
            </a:xfrm>
            <a:custGeom>
              <a:avLst/>
              <a:gdLst>
                <a:gd name="T0" fmla="*/ 42 w 43"/>
                <a:gd name="T1" fmla="*/ 21 h 21"/>
                <a:gd name="T2" fmla="*/ 43 w 43"/>
                <a:gd name="T3" fmla="*/ 19 h 21"/>
                <a:gd name="T4" fmla="*/ 1 w 43"/>
                <a:gd name="T5" fmla="*/ 0 h 21"/>
                <a:gd name="T6" fmla="*/ 0 w 43"/>
                <a:gd name="T7" fmla="*/ 3 h 21"/>
                <a:gd name="T8" fmla="*/ 42 w 43"/>
                <a:gd name="T9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21">
                  <a:moveTo>
                    <a:pt x="42" y="21"/>
                  </a:moveTo>
                  <a:lnTo>
                    <a:pt x="43" y="19"/>
                  </a:lnTo>
                  <a:lnTo>
                    <a:pt x="1" y="0"/>
                  </a:lnTo>
                  <a:lnTo>
                    <a:pt x="0" y="3"/>
                  </a:lnTo>
                  <a:lnTo>
                    <a:pt x="42" y="21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73" name="Freeform 6476"/>
            <p:cNvSpPr>
              <a:spLocks/>
            </p:cNvSpPr>
            <p:nvPr/>
          </p:nvSpPr>
          <p:spPr bwMode="auto">
            <a:xfrm>
              <a:off x="5992813" y="5540376"/>
              <a:ext cx="66675" cy="28575"/>
            </a:xfrm>
            <a:custGeom>
              <a:avLst/>
              <a:gdLst>
                <a:gd name="T0" fmla="*/ 0 w 42"/>
                <a:gd name="T1" fmla="*/ 18 h 18"/>
                <a:gd name="T2" fmla="*/ 42 w 42"/>
                <a:gd name="T3" fmla="*/ 2 h 18"/>
                <a:gd name="T4" fmla="*/ 41 w 42"/>
                <a:gd name="T5" fmla="*/ 0 h 18"/>
                <a:gd name="T6" fmla="*/ 0 w 42"/>
                <a:gd name="T7" fmla="*/ 16 h 18"/>
                <a:gd name="T8" fmla="*/ 0 w 42"/>
                <a:gd name="T9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18">
                  <a:moveTo>
                    <a:pt x="0" y="18"/>
                  </a:moveTo>
                  <a:lnTo>
                    <a:pt x="42" y="2"/>
                  </a:lnTo>
                  <a:lnTo>
                    <a:pt x="41" y="0"/>
                  </a:lnTo>
                  <a:lnTo>
                    <a:pt x="0" y="16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74" name="Freeform 6477"/>
            <p:cNvSpPr>
              <a:spLocks/>
            </p:cNvSpPr>
            <p:nvPr/>
          </p:nvSpPr>
          <p:spPr bwMode="auto">
            <a:xfrm>
              <a:off x="5995988" y="5510214"/>
              <a:ext cx="63500" cy="33338"/>
            </a:xfrm>
            <a:custGeom>
              <a:avLst/>
              <a:gdLst>
                <a:gd name="T0" fmla="*/ 39 w 40"/>
                <a:gd name="T1" fmla="*/ 21 h 21"/>
                <a:gd name="T2" fmla="*/ 40 w 40"/>
                <a:gd name="T3" fmla="*/ 19 h 21"/>
                <a:gd name="T4" fmla="*/ 1 w 40"/>
                <a:gd name="T5" fmla="*/ 0 h 21"/>
                <a:gd name="T6" fmla="*/ 0 w 40"/>
                <a:gd name="T7" fmla="*/ 3 h 21"/>
                <a:gd name="T8" fmla="*/ 39 w 40"/>
                <a:gd name="T9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1">
                  <a:moveTo>
                    <a:pt x="39" y="21"/>
                  </a:moveTo>
                  <a:lnTo>
                    <a:pt x="40" y="19"/>
                  </a:lnTo>
                  <a:lnTo>
                    <a:pt x="1" y="0"/>
                  </a:lnTo>
                  <a:lnTo>
                    <a:pt x="0" y="3"/>
                  </a:lnTo>
                  <a:lnTo>
                    <a:pt x="39" y="21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75" name="Freeform 6478"/>
            <p:cNvSpPr>
              <a:spLocks/>
            </p:cNvSpPr>
            <p:nvPr/>
          </p:nvSpPr>
          <p:spPr bwMode="auto">
            <a:xfrm>
              <a:off x="5994400" y="5510214"/>
              <a:ext cx="63500" cy="30163"/>
            </a:xfrm>
            <a:custGeom>
              <a:avLst/>
              <a:gdLst>
                <a:gd name="T0" fmla="*/ 1 w 40"/>
                <a:gd name="T1" fmla="*/ 19 h 19"/>
                <a:gd name="T2" fmla="*/ 40 w 40"/>
                <a:gd name="T3" fmla="*/ 3 h 19"/>
                <a:gd name="T4" fmla="*/ 39 w 40"/>
                <a:gd name="T5" fmla="*/ 0 h 19"/>
                <a:gd name="T6" fmla="*/ 0 w 40"/>
                <a:gd name="T7" fmla="*/ 16 h 19"/>
                <a:gd name="T8" fmla="*/ 1 w 40"/>
                <a:gd name="T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19">
                  <a:moveTo>
                    <a:pt x="1" y="19"/>
                  </a:moveTo>
                  <a:lnTo>
                    <a:pt x="40" y="3"/>
                  </a:lnTo>
                  <a:lnTo>
                    <a:pt x="39" y="0"/>
                  </a:lnTo>
                  <a:lnTo>
                    <a:pt x="0" y="16"/>
                  </a:lnTo>
                  <a:lnTo>
                    <a:pt x="1" y="19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76" name="Freeform 6479"/>
            <p:cNvSpPr>
              <a:spLocks/>
            </p:cNvSpPr>
            <p:nvPr/>
          </p:nvSpPr>
          <p:spPr bwMode="auto">
            <a:xfrm>
              <a:off x="5999163" y="5486401"/>
              <a:ext cx="58738" cy="28575"/>
            </a:xfrm>
            <a:custGeom>
              <a:avLst/>
              <a:gdLst>
                <a:gd name="T0" fmla="*/ 36 w 37"/>
                <a:gd name="T1" fmla="*/ 18 h 18"/>
                <a:gd name="T2" fmla="*/ 37 w 37"/>
                <a:gd name="T3" fmla="*/ 15 h 18"/>
                <a:gd name="T4" fmla="*/ 0 w 37"/>
                <a:gd name="T5" fmla="*/ 0 h 18"/>
                <a:gd name="T6" fmla="*/ 0 w 37"/>
                <a:gd name="T7" fmla="*/ 3 h 18"/>
                <a:gd name="T8" fmla="*/ 36 w 37"/>
                <a:gd name="T9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18">
                  <a:moveTo>
                    <a:pt x="36" y="18"/>
                  </a:moveTo>
                  <a:lnTo>
                    <a:pt x="37" y="15"/>
                  </a:lnTo>
                  <a:lnTo>
                    <a:pt x="0" y="0"/>
                  </a:lnTo>
                  <a:lnTo>
                    <a:pt x="0" y="3"/>
                  </a:lnTo>
                  <a:lnTo>
                    <a:pt x="36" y="18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77" name="Freeform 6480"/>
            <p:cNvSpPr>
              <a:spLocks/>
            </p:cNvSpPr>
            <p:nvPr/>
          </p:nvSpPr>
          <p:spPr bwMode="auto">
            <a:xfrm>
              <a:off x="5995988" y="5486401"/>
              <a:ext cx="60325" cy="28575"/>
            </a:xfrm>
            <a:custGeom>
              <a:avLst/>
              <a:gdLst>
                <a:gd name="T0" fmla="*/ 1 w 38"/>
                <a:gd name="T1" fmla="*/ 18 h 18"/>
                <a:gd name="T2" fmla="*/ 38 w 38"/>
                <a:gd name="T3" fmla="*/ 3 h 18"/>
                <a:gd name="T4" fmla="*/ 37 w 38"/>
                <a:gd name="T5" fmla="*/ 0 h 18"/>
                <a:gd name="T6" fmla="*/ 0 w 38"/>
                <a:gd name="T7" fmla="*/ 15 h 18"/>
                <a:gd name="T8" fmla="*/ 1 w 38"/>
                <a:gd name="T9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18">
                  <a:moveTo>
                    <a:pt x="1" y="18"/>
                  </a:moveTo>
                  <a:lnTo>
                    <a:pt x="38" y="3"/>
                  </a:lnTo>
                  <a:lnTo>
                    <a:pt x="37" y="0"/>
                  </a:lnTo>
                  <a:lnTo>
                    <a:pt x="0" y="15"/>
                  </a:lnTo>
                  <a:lnTo>
                    <a:pt x="1" y="18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78" name="Freeform 6481"/>
            <p:cNvSpPr>
              <a:spLocks/>
            </p:cNvSpPr>
            <p:nvPr/>
          </p:nvSpPr>
          <p:spPr bwMode="auto">
            <a:xfrm>
              <a:off x="6000750" y="5462589"/>
              <a:ext cx="55563" cy="28575"/>
            </a:xfrm>
            <a:custGeom>
              <a:avLst/>
              <a:gdLst>
                <a:gd name="T0" fmla="*/ 34 w 35"/>
                <a:gd name="T1" fmla="*/ 18 h 18"/>
                <a:gd name="T2" fmla="*/ 35 w 35"/>
                <a:gd name="T3" fmla="*/ 15 h 18"/>
                <a:gd name="T4" fmla="*/ 2 w 35"/>
                <a:gd name="T5" fmla="*/ 0 h 18"/>
                <a:gd name="T6" fmla="*/ 0 w 35"/>
                <a:gd name="T7" fmla="*/ 3 h 18"/>
                <a:gd name="T8" fmla="*/ 34 w 35"/>
                <a:gd name="T9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8">
                  <a:moveTo>
                    <a:pt x="34" y="18"/>
                  </a:moveTo>
                  <a:lnTo>
                    <a:pt x="35" y="15"/>
                  </a:lnTo>
                  <a:lnTo>
                    <a:pt x="2" y="0"/>
                  </a:lnTo>
                  <a:lnTo>
                    <a:pt x="0" y="3"/>
                  </a:lnTo>
                  <a:lnTo>
                    <a:pt x="34" y="18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79" name="Freeform 6482"/>
            <p:cNvSpPr>
              <a:spLocks/>
            </p:cNvSpPr>
            <p:nvPr/>
          </p:nvSpPr>
          <p:spPr bwMode="auto">
            <a:xfrm>
              <a:off x="5999163" y="5462589"/>
              <a:ext cx="52388" cy="28575"/>
            </a:xfrm>
            <a:custGeom>
              <a:avLst/>
              <a:gdLst>
                <a:gd name="T0" fmla="*/ 0 w 33"/>
                <a:gd name="T1" fmla="*/ 18 h 18"/>
                <a:gd name="T2" fmla="*/ 33 w 33"/>
                <a:gd name="T3" fmla="*/ 3 h 18"/>
                <a:gd name="T4" fmla="*/ 32 w 33"/>
                <a:gd name="T5" fmla="*/ 0 h 18"/>
                <a:gd name="T6" fmla="*/ 0 w 33"/>
                <a:gd name="T7" fmla="*/ 15 h 18"/>
                <a:gd name="T8" fmla="*/ 0 w 33"/>
                <a:gd name="T9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8">
                  <a:moveTo>
                    <a:pt x="0" y="18"/>
                  </a:moveTo>
                  <a:lnTo>
                    <a:pt x="33" y="3"/>
                  </a:lnTo>
                  <a:lnTo>
                    <a:pt x="32" y="0"/>
                  </a:lnTo>
                  <a:lnTo>
                    <a:pt x="0" y="15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80" name="Freeform 6483"/>
            <p:cNvSpPr>
              <a:spLocks/>
            </p:cNvSpPr>
            <p:nvPr/>
          </p:nvSpPr>
          <p:spPr bwMode="auto">
            <a:xfrm>
              <a:off x="6003925" y="5440364"/>
              <a:ext cx="47625" cy="26988"/>
            </a:xfrm>
            <a:custGeom>
              <a:avLst/>
              <a:gdLst>
                <a:gd name="T0" fmla="*/ 29 w 30"/>
                <a:gd name="T1" fmla="*/ 17 h 17"/>
                <a:gd name="T2" fmla="*/ 30 w 30"/>
                <a:gd name="T3" fmla="*/ 14 h 17"/>
                <a:gd name="T4" fmla="*/ 1 w 30"/>
                <a:gd name="T5" fmla="*/ 0 h 17"/>
                <a:gd name="T6" fmla="*/ 0 w 30"/>
                <a:gd name="T7" fmla="*/ 1 h 17"/>
                <a:gd name="T8" fmla="*/ 29 w 30"/>
                <a:gd name="T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7">
                  <a:moveTo>
                    <a:pt x="29" y="17"/>
                  </a:moveTo>
                  <a:lnTo>
                    <a:pt x="30" y="14"/>
                  </a:lnTo>
                  <a:lnTo>
                    <a:pt x="1" y="0"/>
                  </a:lnTo>
                  <a:lnTo>
                    <a:pt x="0" y="1"/>
                  </a:lnTo>
                  <a:lnTo>
                    <a:pt x="29" y="17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81" name="Freeform 6484"/>
            <p:cNvSpPr>
              <a:spLocks/>
            </p:cNvSpPr>
            <p:nvPr/>
          </p:nvSpPr>
          <p:spPr bwMode="auto">
            <a:xfrm>
              <a:off x="6000750" y="5440364"/>
              <a:ext cx="49213" cy="26988"/>
            </a:xfrm>
            <a:custGeom>
              <a:avLst/>
              <a:gdLst>
                <a:gd name="T0" fmla="*/ 2 w 31"/>
                <a:gd name="T1" fmla="*/ 17 h 17"/>
                <a:gd name="T2" fmla="*/ 31 w 31"/>
                <a:gd name="T3" fmla="*/ 1 h 17"/>
                <a:gd name="T4" fmla="*/ 30 w 31"/>
                <a:gd name="T5" fmla="*/ 0 h 17"/>
                <a:gd name="T6" fmla="*/ 0 w 31"/>
                <a:gd name="T7" fmla="*/ 14 h 17"/>
                <a:gd name="T8" fmla="*/ 2 w 31"/>
                <a:gd name="T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2" y="17"/>
                  </a:moveTo>
                  <a:lnTo>
                    <a:pt x="31" y="1"/>
                  </a:lnTo>
                  <a:lnTo>
                    <a:pt x="30" y="0"/>
                  </a:lnTo>
                  <a:lnTo>
                    <a:pt x="0" y="14"/>
                  </a:lnTo>
                  <a:lnTo>
                    <a:pt x="2" y="17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82" name="Freeform 6485"/>
            <p:cNvSpPr>
              <a:spLocks/>
            </p:cNvSpPr>
            <p:nvPr/>
          </p:nvSpPr>
          <p:spPr bwMode="auto">
            <a:xfrm>
              <a:off x="6005513" y="5414964"/>
              <a:ext cx="44450" cy="26988"/>
            </a:xfrm>
            <a:custGeom>
              <a:avLst/>
              <a:gdLst>
                <a:gd name="T0" fmla="*/ 27 w 28"/>
                <a:gd name="T1" fmla="*/ 17 h 17"/>
                <a:gd name="T2" fmla="*/ 28 w 28"/>
                <a:gd name="T3" fmla="*/ 16 h 17"/>
                <a:gd name="T4" fmla="*/ 1 w 28"/>
                <a:gd name="T5" fmla="*/ 0 h 17"/>
                <a:gd name="T6" fmla="*/ 0 w 28"/>
                <a:gd name="T7" fmla="*/ 2 h 17"/>
                <a:gd name="T8" fmla="*/ 27 w 28"/>
                <a:gd name="T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7">
                  <a:moveTo>
                    <a:pt x="27" y="17"/>
                  </a:moveTo>
                  <a:lnTo>
                    <a:pt x="28" y="16"/>
                  </a:lnTo>
                  <a:lnTo>
                    <a:pt x="1" y="0"/>
                  </a:lnTo>
                  <a:lnTo>
                    <a:pt x="0" y="2"/>
                  </a:lnTo>
                  <a:lnTo>
                    <a:pt x="27" y="17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83" name="Freeform 6486"/>
            <p:cNvSpPr>
              <a:spLocks/>
            </p:cNvSpPr>
            <p:nvPr/>
          </p:nvSpPr>
          <p:spPr bwMode="auto">
            <a:xfrm>
              <a:off x="6003925" y="5414964"/>
              <a:ext cx="44450" cy="26988"/>
            </a:xfrm>
            <a:custGeom>
              <a:avLst/>
              <a:gdLst>
                <a:gd name="T0" fmla="*/ 1 w 28"/>
                <a:gd name="T1" fmla="*/ 17 h 17"/>
                <a:gd name="T2" fmla="*/ 28 w 28"/>
                <a:gd name="T3" fmla="*/ 2 h 17"/>
                <a:gd name="T4" fmla="*/ 27 w 28"/>
                <a:gd name="T5" fmla="*/ 0 h 17"/>
                <a:gd name="T6" fmla="*/ 0 w 28"/>
                <a:gd name="T7" fmla="*/ 16 h 17"/>
                <a:gd name="T8" fmla="*/ 1 w 28"/>
                <a:gd name="T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7">
                  <a:moveTo>
                    <a:pt x="1" y="17"/>
                  </a:moveTo>
                  <a:lnTo>
                    <a:pt x="28" y="2"/>
                  </a:lnTo>
                  <a:lnTo>
                    <a:pt x="27" y="0"/>
                  </a:lnTo>
                  <a:lnTo>
                    <a:pt x="0" y="16"/>
                  </a:lnTo>
                  <a:lnTo>
                    <a:pt x="1" y="17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84" name="Freeform 6487"/>
            <p:cNvSpPr>
              <a:spLocks/>
            </p:cNvSpPr>
            <p:nvPr/>
          </p:nvSpPr>
          <p:spPr bwMode="auto">
            <a:xfrm>
              <a:off x="6007100" y="5391151"/>
              <a:ext cx="41275" cy="26988"/>
            </a:xfrm>
            <a:custGeom>
              <a:avLst/>
              <a:gdLst>
                <a:gd name="T0" fmla="*/ 25 w 26"/>
                <a:gd name="T1" fmla="*/ 17 h 17"/>
                <a:gd name="T2" fmla="*/ 26 w 26"/>
                <a:gd name="T3" fmla="*/ 15 h 17"/>
                <a:gd name="T4" fmla="*/ 1 w 26"/>
                <a:gd name="T5" fmla="*/ 0 h 17"/>
                <a:gd name="T6" fmla="*/ 0 w 26"/>
                <a:gd name="T7" fmla="*/ 2 h 17"/>
                <a:gd name="T8" fmla="*/ 25 w 26"/>
                <a:gd name="T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17">
                  <a:moveTo>
                    <a:pt x="25" y="17"/>
                  </a:moveTo>
                  <a:lnTo>
                    <a:pt x="26" y="15"/>
                  </a:lnTo>
                  <a:lnTo>
                    <a:pt x="1" y="0"/>
                  </a:lnTo>
                  <a:lnTo>
                    <a:pt x="0" y="2"/>
                  </a:lnTo>
                  <a:lnTo>
                    <a:pt x="25" y="17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85" name="Freeform 6488"/>
            <p:cNvSpPr>
              <a:spLocks/>
            </p:cNvSpPr>
            <p:nvPr/>
          </p:nvSpPr>
          <p:spPr bwMode="auto">
            <a:xfrm>
              <a:off x="6005513" y="5391151"/>
              <a:ext cx="41275" cy="26988"/>
            </a:xfrm>
            <a:custGeom>
              <a:avLst/>
              <a:gdLst>
                <a:gd name="T0" fmla="*/ 1 w 26"/>
                <a:gd name="T1" fmla="*/ 17 h 17"/>
                <a:gd name="T2" fmla="*/ 26 w 26"/>
                <a:gd name="T3" fmla="*/ 2 h 17"/>
                <a:gd name="T4" fmla="*/ 25 w 26"/>
                <a:gd name="T5" fmla="*/ 0 h 17"/>
                <a:gd name="T6" fmla="*/ 0 w 26"/>
                <a:gd name="T7" fmla="*/ 15 h 17"/>
                <a:gd name="T8" fmla="*/ 1 w 26"/>
                <a:gd name="T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17">
                  <a:moveTo>
                    <a:pt x="1" y="17"/>
                  </a:moveTo>
                  <a:lnTo>
                    <a:pt x="26" y="2"/>
                  </a:lnTo>
                  <a:lnTo>
                    <a:pt x="25" y="0"/>
                  </a:lnTo>
                  <a:lnTo>
                    <a:pt x="0" y="15"/>
                  </a:lnTo>
                  <a:lnTo>
                    <a:pt x="1" y="17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86" name="Freeform 6489"/>
            <p:cNvSpPr>
              <a:spLocks/>
            </p:cNvSpPr>
            <p:nvPr/>
          </p:nvSpPr>
          <p:spPr bwMode="auto">
            <a:xfrm>
              <a:off x="6008688" y="5367339"/>
              <a:ext cx="38100" cy="26988"/>
            </a:xfrm>
            <a:custGeom>
              <a:avLst/>
              <a:gdLst>
                <a:gd name="T0" fmla="*/ 23 w 24"/>
                <a:gd name="T1" fmla="*/ 17 h 17"/>
                <a:gd name="T2" fmla="*/ 24 w 24"/>
                <a:gd name="T3" fmla="*/ 15 h 17"/>
                <a:gd name="T4" fmla="*/ 1 w 24"/>
                <a:gd name="T5" fmla="*/ 0 h 17"/>
                <a:gd name="T6" fmla="*/ 0 w 24"/>
                <a:gd name="T7" fmla="*/ 2 h 17"/>
                <a:gd name="T8" fmla="*/ 23 w 24"/>
                <a:gd name="T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17">
                  <a:moveTo>
                    <a:pt x="23" y="17"/>
                  </a:moveTo>
                  <a:lnTo>
                    <a:pt x="24" y="15"/>
                  </a:lnTo>
                  <a:lnTo>
                    <a:pt x="1" y="0"/>
                  </a:lnTo>
                  <a:lnTo>
                    <a:pt x="0" y="2"/>
                  </a:lnTo>
                  <a:lnTo>
                    <a:pt x="23" y="17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87" name="Freeform 6490"/>
            <p:cNvSpPr>
              <a:spLocks/>
            </p:cNvSpPr>
            <p:nvPr/>
          </p:nvSpPr>
          <p:spPr bwMode="auto">
            <a:xfrm>
              <a:off x="6007100" y="5367339"/>
              <a:ext cx="38100" cy="26988"/>
            </a:xfrm>
            <a:custGeom>
              <a:avLst/>
              <a:gdLst>
                <a:gd name="T0" fmla="*/ 2 w 24"/>
                <a:gd name="T1" fmla="*/ 17 h 17"/>
                <a:gd name="T2" fmla="*/ 24 w 24"/>
                <a:gd name="T3" fmla="*/ 2 h 17"/>
                <a:gd name="T4" fmla="*/ 23 w 24"/>
                <a:gd name="T5" fmla="*/ 0 h 17"/>
                <a:gd name="T6" fmla="*/ 0 w 24"/>
                <a:gd name="T7" fmla="*/ 15 h 17"/>
                <a:gd name="T8" fmla="*/ 2 w 24"/>
                <a:gd name="T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17">
                  <a:moveTo>
                    <a:pt x="2" y="17"/>
                  </a:moveTo>
                  <a:lnTo>
                    <a:pt x="24" y="2"/>
                  </a:lnTo>
                  <a:lnTo>
                    <a:pt x="23" y="0"/>
                  </a:lnTo>
                  <a:lnTo>
                    <a:pt x="0" y="15"/>
                  </a:lnTo>
                  <a:lnTo>
                    <a:pt x="2" y="17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88" name="Freeform 6491"/>
            <p:cNvSpPr>
              <a:spLocks/>
            </p:cNvSpPr>
            <p:nvPr/>
          </p:nvSpPr>
          <p:spPr bwMode="auto">
            <a:xfrm>
              <a:off x="6010275" y="5345114"/>
              <a:ext cx="34925" cy="25400"/>
            </a:xfrm>
            <a:custGeom>
              <a:avLst/>
              <a:gdLst>
                <a:gd name="T0" fmla="*/ 21 w 22"/>
                <a:gd name="T1" fmla="*/ 16 h 16"/>
                <a:gd name="T2" fmla="*/ 22 w 22"/>
                <a:gd name="T3" fmla="*/ 14 h 16"/>
                <a:gd name="T4" fmla="*/ 1 w 22"/>
                <a:gd name="T5" fmla="*/ 0 h 16"/>
                <a:gd name="T6" fmla="*/ 0 w 22"/>
                <a:gd name="T7" fmla="*/ 2 h 16"/>
                <a:gd name="T8" fmla="*/ 21 w 22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16">
                  <a:moveTo>
                    <a:pt x="21" y="16"/>
                  </a:moveTo>
                  <a:lnTo>
                    <a:pt x="22" y="14"/>
                  </a:lnTo>
                  <a:lnTo>
                    <a:pt x="1" y="0"/>
                  </a:lnTo>
                  <a:lnTo>
                    <a:pt x="0" y="2"/>
                  </a:lnTo>
                  <a:lnTo>
                    <a:pt x="21" y="16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89" name="Freeform 6492"/>
            <p:cNvSpPr>
              <a:spLocks/>
            </p:cNvSpPr>
            <p:nvPr/>
          </p:nvSpPr>
          <p:spPr bwMode="auto">
            <a:xfrm>
              <a:off x="6008688" y="5345114"/>
              <a:ext cx="34925" cy="25400"/>
            </a:xfrm>
            <a:custGeom>
              <a:avLst/>
              <a:gdLst>
                <a:gd name="T0" fmla="*/ 1 w 22"/>
                <a:gd name="T1" fmla="*/ 16 h 16"/>
                <a:gd name="T2" fmla="*/ 22 w 22"/>
                <a:gd name="T3" fmla="*/ 2 h 16"/>
                <a:gd name="T4" fmla="*/ 21 w 22"/>
                <a:gd name="T5" fmla="*/ 0 h 16"/>
                <a:gd name="T6" fmla="*/ 0 w 22"/>
                <a:gd name="T7" fmla="*/ 14 h 16"/>
                <a:gd name="T8" fmla="*/ 1 w 22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16">
                  <a:moveTo>
                    <a:pt x="1" y="16"/>
                  </a:moveTo>
                  <a:lnTo>
                    <a:pt x="22" y="2"/>
                  </a:lnTo>
                  <a:lnTo>
                    <a:pt x="21" y="0"/>
                  </a:lnTo>
                  <a:lnTo>
                    <a:pt x="0" y="14"/>
                  </a:lnTo>
                  <a:lnTo>
                    <a:pt x="1" y="16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90" name="Freeform 6493"/>
            <p:cNvSpPr>
              <a:spLocks/>
            </p:cNvSpPr>
            <p:nvPr/>
          </p:nvSpPr>
          <p:spPr bwMode="auto">
            <a:xfrm>
              <a:off x="6011863" y="5322889"/>
              <a:ext cx="31750" cy="25400"/>
            </a:xfrm>
            <a:custGeom>
              <a:avLst/>
              <a:gdLst>
                <a:gd name="T0" fmla="*/ 19 w 20"/>
                <a:gd name="T1" fmla="*/ 16 h 16"/>
                <a:gd name="T2" fmla="*/ 20 w 20"/>
                <a:gd name="T3" fmla="*/ 14 h 16"/>
                <a:gd name="T4" fmla="*/ 1 w 20"/>
                <a:gd name="T5" fmla="*/ 0 h 16"/>
                <a:gd name="T6" fmla="*/ 0 w 20"/>
                <a:gd name="T7" fmla="*/ 1 h 16"/>
                <a:gd name="T8" fmla="*/ 19 w 20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16">
                  <a:moveTo>
                    <a:pt x="19" y="16"/>
                  </a:moveTo>
                  <a:lnTo>
                    <a:pt x="20" y="14"/>
                  </a:lnTo>
                  <a:lnTo>
                    <a:pt x="1" y="0"/>
                  </a:lnTo>
                  <a:lnTo>
                    <a:pt x="0" y="1"/>
                  </a:lnTo>
                  <a:lnTo>
                    <a:pt x="19" y="16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91" name="Freeform 6494"/>
            <p:cNvSpPr>
              <a:spLocks/>
            </p:cNvSpPr>
            <p:nvPr/>
          </p:nvSpPr>
          <p:spPr bwMode="auto">
            <a:xfrm>
              <a:off x="6010275" y="5322889"/>
              <a:ext cx="31750" cy="25400"/>
            </a:xfrm>
            <a:custGeom>
              <a:avLst/>
              <a:gdLst>
                <a:gd name="T0" fmla="*/ 1 w 20"/>
                <a:gd name="T1" fmla="*/ 16 h 16"/>
                <a:gd name="T2" fmla="*/ 20 w 20"/>
                <a:gd name="T3" fmla="*/ 1 h 16"/>
                <a:gd name="T4" fmla="*/ 18 w 20"/>
                <a:gd name="T5" fmla="*/ 0 h 16"/>
                <a:gd name="T6" fmla="*/ 0 w 20"/>
                <a:gd name="T7" fmla="*/ 14 h 16"/>
                <a:gd name="T8" fmla="*/ 1 w 20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16">
                  <a:moveTo>
                    <a:pt x="1" y="16"/>
                  </a:moveTo>
                  <a:lnTo>
                    <a:pt x="20" y="1"/>
                  </a:lnTo>
                  <a:lnTo>
                    <a:pt x="18" y="0"/>
                  </a:lnTo>
                  <a:lnTo>
                    <a:pt x="0" y="14"/>
                  </a:lnTo>
                  <a:lnTo>
                    <a:pt x="1" y="16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92" name="Freeform 6495"/>
            <p:cNvSpPr>
              <a:spLocks/>
            </p:cNvSpPr>
            <p:nvPr/>
          </p:nvSpPr>
          <p:spPr bwMode="auto">
            <a:xfrm>
              <a:off x="6011863" y="5302251"/>
              <a:ext cx="30163" cy="22225"/>
            </a:xfrm>
            <a:custGeom>
              <a:avLst/>
              <a:gdLst>
                <a:gd name="T0" fmla="*/ 17 w 19"/>
                <a:gd name="T1" fmla="*/ 14 h 14"/>
                <a:gd name="T2" fmla="*/ 19 w 19"/>
                <a:gd name="T3" fmla="*/ 13 h 14"/>
                <a:gd name="T4" fmla="*/ 3 w 19"/>
                <a:gd name="T5" fmla="*/ 0 h 14"/>
                <a:gd name="T6" fmla="*/ 0 w 19"/>
                <a:gd name="T7" fmla="*/ 2 h 14"/>
                <a:gd name="T8" fmla="*/ 17 w 19"/>
                <a:gd name="T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4">
                  <a:moveTo>
                    <a:pt x="17" y="14"/>
                  </a:moveTo>
                  <a:lnTo>
                    <a:pt x="19" y="13"/>
                  </a:lnTo>
                  <a:lnTo>
                    <a:pt x="3" y="0"/>
                  </a:lnTo>
                  <a:lnTo>
                    <a:pt x="0" y="2"/>
                  </a:lnTo>
                  <a:lnTo>
                    <a:pt x="17" y="14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93" name="Freeform 6496"/>
            <p:cNvSpPr>
              <a:spLocks/>
            </p:cNvSpPr>
            <p:nvPr/>
          </p:nvSpPr>
          <p:spPr bwMode="auto">
            <a:xfrm>
              <a:off x="6011863" y="5302251"/>
              <a:ext cx="30163" cy="22225"/>
            </a:xfrm>
            <a:custGeom>
              <a:avLst/>
              <a:gdLst>
                <a:gd name="T0" fmla="*/ 1 w 19"/>
                <a:gd name="T1" fmla="*/ 14 h 14"/>
                <a:gd name="T2" fmla="*/ 19 w 19"/>
                <a:gd name="T3" fmla="*/ 2 h 14"/>
                <a:gd name="T4" fmla="*/ 16 w 19"/>
                <a:gd name="T5" fmla="*/ 0 h 14"/>
                <a:gd name="T6" fmla="*/ 0 w 19"/>
                <a:gd name="T7" fmla="*/ 13 h 14"/>
                <a:gd name="T8" fmla="*/ 1 w 19"/>
                <a:gd name="T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4">
                  <a:moveTo>
                    <a:pt x="1" y="14"/>
                  </a:moveTo>
                  <a:lnTo>
                    <a:pt x="19" y="2"/>
                  </a:lnTo>
                  <a:lnTo>
                    <a:pt x="16" y="0"/>
                  </a:lnTo>
                  <a:lnTo>
                    <a:pt x="0" y="13"/>
                  </a:lnTo>
                  <a:lnTo>
                    <a:pt x="1" y="14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94" name="Freeform 6497"/>
            <p:cNvSpPr>
              <a:spLocks/>
            </p:cNvSpPr>
            <p:nvPr/>
          </p:nvSpPr>
          <p:spPr bwMode="auto">
            <a:xfrm>
              <a:off x="6013450" y="5278439"/>
              <a:ext cx="28575" cy="26988"/>
            </a:xfrm>
            <a:custGeom>
              <a:avLst/>
              <a:gdLst>
                <a:gd name="T0" fmla="*/ 15 w 18"/>
                <a:gd name="T1" fmla="*/ 17 h 17"/>
                <a:gd name="T2" fmla="*/ 18 w 18"/>
                <a:gd name="T3" fmla="*/ 15 h 17"/>
                <a:gd name="T4" fmla="*/ 3 w 18"/>
                <a:gd name="T5" fmla="*/ 0 h 17"/>
                <a:gd name="T6" fmla="*/ 0 w 18"/>
                <a:gd name="T7" fmla="*/ 2 h 17"/>
                <a:gd name="T8" fmla="*/ 15 w 18"/>
                <a:gd name="T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7">
                  <a:moveTo>
                    <a:pt x="15" y="17"/>
                  </a:moveTo>
                  <a:lnTo>
                    <a:pt x="18" y="15"/>
                  </a:lnTo>
                  <a:lnTo>
                    <a:pt x="3" y="0"/>
                  </a:lnTo>
                  <a:lnTo>
                    <a:pt x="0" y="2"/>
                  </a:lnTo>
                  <a:lnTo>
                    <a:pt x="15" y="17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95" name="Freeform 6498"/>
            <p:cNvSpPr>
              <a:spLocks/>
            </p:cNvSpPr>
            <p:nvPr/>
          </p:nvSpPr>
          <p:spPr bwMode="auto">
            <a:xfrm>
              <a:off x="6011863" y="5278439"/>
              <a:ext cx="26988" cy="26988"/>
            </a:xfrm>
            <a:custGeom>
              <a:avLst/>
              <a:gdLst>
                <a:gd name="T0" fmla="*/ 3 w 17"/>
                <a:gd name="T1" fmla="*/ 17 h 17"/>
                <a:gd name="T2" fmla="*/ 17 w 17"/>
                <a:gd name="T3" fmla="*/ 2 h 17"/>
                <a:gd name="T4" fmla="*/ 15 w 17"/>
                <a:gd name="T5" fmla="*/ 0 h 17"/>
                <a:gd name="T6" fmla="*/ 0 w 17"/>
                <a:gd name="T7" fmla="*/ 15 h 17"/>
                <a:gd name="T8" fmla="*/ 3 w 17"/>
                <a:gd name="T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7">
                  <a:moveTo>
                    <a:pt x="3" y="17"/>
                  </a:moveTo>
                  <a:lnTo>
                    <a:pt x="17" y="2"/>
                  </a:lnTo>
                  <a:lnTo>
                    <a:pt x="15" y="0"/>
                  </a:lnTo>
                  <a:lnTo>
                    <a:pt x="0" y="15"/>
                  </a:lnTo>
                  <a:lnTo>
                    <a:pt x="3" y="17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96" name="Freeform 6499"/>
            <p:cNvSpPr>
              <a:spLocks/>
            </p:cNvSpPr>
            <p:nvPr/>
          </p:nvSpPr>
          <p:spPr bwMode="auto">
            <a:xfrm>
              <a:off x="6016625" y="5257801"/>
              <a:ext cx="22225" cy="23813"/>
            </a:xfrm>
            <a:custGeom>
              <a:avLst/>
              <a:gdLst>
                <a:gd name="T0" fmla="*/ 12 w 14"/>
                <a:gd name="T1" fmla="*/ 15 h 15"/>
                <a:gd name="T2" fmla="*/ 14 w 14"/>
                <a:gd name="T3" fmla="*/ 13 h 15"/>
                <a:gd name="T4" fmla="*/ 2 w 14"/>
                <a:gd name="T5" fmla="*/ 0 h 15"/>
                <a:gd name="T6" fmla="*/ 0 w 14"/>
                <a:gd name="T7" fmla="*/ 2 h 15"/>
                <a:gd name="T8" fmla="*/ 12 w 14"/>
                <a:gd name="T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5">
                  <a:moveTo>
                    <a:pt x="12" y="15"/>
                  </a:moveTo>
                  <a:lnTo>
                    <a:pt x="14" y="13"/>
                  </a:lnTo>
                  <a:lnTo>
                    <a:pt x="2" y="0"/>
                  </a:lnTo>
                  <a:lnTo>
                    <a:pt x="0" y="2"/>
                  </a:lnTo>
                  <a:lnTo>
                    <a:pt x="12" y="15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97" name="Freeform 6500"/>
            <p:cNvSpPr>
              <a:spLocks/>
            </p:cNvSpPr>
            <p:nvPr/>
          </p:nvSpPr>
          <p:spPr bwMode="auto">
            <a:xfrm>
              <a:off x="6013450" y="5257801"/>
              <a:ext cx="23813" cy="23813"/>
            </a:xfrm>
            <a:custGeom>
              <a:avLst/>
              <a:gdLst>
                <a:gd name="T0" fmla="*/ 3 w 15"/>
                <a:gd name="T1" fmla="*/ 15 h 15"/>
                <a:gd name="T2" fmla="*/ 15 w 15"/>
                <a:gd name="T3" fmla="*/ 2 h 15"/>
                <a:gd name="T4" fmla="*/ 14 w 15"/>
                <a:gd name="T5" fmla="*/ 0 h 15"/>
                <a:gd name="T6" fmla="*/ 0 w 15"/>
                <a:gd name="T7" fmla="*/ 13 h 15"/>
                <a:gd name="T8" fmla="*/ 3 w 15"/>
                <a:gd name="T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5">
                  <a:moveTo>
                    <a:pt x="3" y="15"/>
                  </a:moveTo>
                  <a:lnTo>
                    <a:pt x="15" y="2"/>
                  </a:lnTo>
                  <a:lnTo>
                    <a:pt x="14" y="0"/>
                  </a:lnTo>
                  <a:lnTo>
                    <a:pt x="0" y="13"/>
                  </a:lnTo>
                  <a:lnTo>
                    <a:pt x="3" y="15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98" name="Freeform 6501"/>
            <p:cNvSpPr>
              <a:spLocks/>
            </p:cNvSpPr>
            <p:nvPr/>
          </p:nvSpPr>
          <p:spPr bwMode="auto">
            <a:xfrm>
              <a:off x="6018213" y="5237164"/>
              <a:ext cx="19050" cy="23813"/>
            </a:xfrm>
            <a:custGeom>
              <a:avLst/>
              <a:gdLst>
                <a:gd name="T0" fmla="*/ 10 w 12"/>
                <a:gd name="T1" fmla="*/ 15 h 15"/>
                <a:gd name="T2" fmla="*/ 12 w 12"/>
                <a:gd name="T3" fmla="*/ 13 h 15"/>
                <a:gd name="T4" fmla="*/ 1 w 12"/>
                <a:gd name="T5" fmla="*/ 0 h 15"/>
                <a:gd name="T6" fmla="*/ 0 w 12"/>
                <a:gd name="T7" fmla="*/ 2 h 15"/>
                <a:gd name="T8" fmla="*/ 10 w 12"/>
                <a:gd name="T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5">
                  <a:moveTo>
                    <a:pt x="10" y="15"/>
                  </a:moveTo>
                  <a:lnTo>
                    <a:pt x="12" y="13"/>
                  </a:lnTo>
                  <a:lnTo>
                    <a:pt x="1" y="0"/>
                  </a:lnTo>
                  <a:lnTo>
                    <a:pt x="0" y="2"/>
                  </a:lnTo>
                  <a:lnTo>
                    <a:pt x="10" y="15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99" name="Freeform 6502"/>
            <p:cNvSpPr>
              <a:spLocks/>
            </p:cNvSpPr>
            <p:nvPr/>
          </p:nvSpPr>
          <p:spPr bwMode="auto">
            <a:xfrm>
              <a:off x="6016625" y="5237164"/>
              <a:ext cx="19050" cy="23813"/>
            </a:xfrm>
            <a:custGeom>
              <a:avLst/>
              <a:gdLst>
                <a:gd name="T0" fmla="*/ 2 w 12"/>
                <a:gd name="T1" fmla="*/ 15 h 15"/>
                <a:gd name="T2" fmla="*/ 12 w 12"/>
                <a:gd name="T3" fmla="*/ 2 h 15"/>
                <a:gd name="T4" fmla="*/ 10 w 12"/>
                <a:gd name="T5" fmla="*/ 0 h 15"/>
                <a:gd name="T6" fmla="*/ 0 w 12"/>
                <a:gd name="T7" fmla="*/ 13 h 15"/>
                <a:gd name="T8" fmla="*/ 2 w 12"/>
                <a:gd name="T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5">
                  <a:moveTo>
                    <a:pt x="2" y="15"/>
                  </a:moveTo>
                  <a:lnTo>
                    <a:pt x="12" y="2"/>
                  </a:lnTo>
                  <a:lnTo>
                    <a:pt x="10" y="0"/>
                  </a:lnTo>
                  <a:lnTo>
                    <a:pt x="0" y="13"/>
                  </a:lnTo>
                  <a:lnTo>
                    <a:pt x="2" y="15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00" name="Freeform 6503"/>
            <p:cNvSpPr>
              <a:spLocks/>
            </p:cNvSpPr>
            <p:nvPr/>
          </p:nvSpPr>
          <p:spPr bwMode="auto">
            <a:xfrm>
              <a:off x="6018213" y="5219701"/>
              <a:ext cx="17463" cy="20638"/>
            </a:xfrm>
            <a:custGeom>
              <a:avLst/>
              <a:gdLst>
                <a:gd name="T0" fmla="*/ 10 w 11"/>
                <a:gd name="T1" fmla="*/ 13 h 13"/>
                <a:gd name="T2" fmla="*/ 11 w 11"/>
                <a:gd name="T3" fmla="*/ 11 h 13"/>
                <a:gd name="T4" fmla="*/ 2 w 11"/>
                <a:gd name="T5" fmla="*/ 0 h 13"/>
                <a:gd name="T6" fmla="*/ 0 w 11"/>
                <a:gd name="T7" fmla="*/ 1 h 13"/>
                <a:gd name="T8" fmla="*/ 10 w 11"/>
                <a:gd name="T9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3">
                  <a:moveTo>
                    <a:pt x="10" y="13"/>
                  </a:moveTo>
                  <a:lnTo>
                    <a:pt x="11" y="11"/>
                  </a:lnTo>
                  <a:lnTo>
                    <a:pt x="2" y="0"/>
                  </a:lnTo>
                  <a:lnTo>
                    <a:pt x="0" y="1"/>
                  </a:lnTo>
                  <a:lnTo>
                    <a:pt x="10" y="13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01" name="Freeform 6504"/>
            <p:cNvSpPr>
              <a:spLocks/>
            </p:cNvSpPr>
            <p:nvPr/>
          </p:nvSpPr>
          <p:spPr bwMode="auto">
            <a:xfrm>
              <a:off x="6018213" y="5219701"/>
              <a:ext cx="17463" cy="22225"/>
            </a:xfrm>
            <a:custGeom>
              <a:avLst/>
              <a:gdLst>
                <a:gd name="T0" fmla="*/ 2 w 11"/>
                <a:gd name="T1" fmla="*/ 14 h 14"/>
                <a:gd name="T2" fmla="*/ 11 w 11"/>
                <a:gd name="T3" fmla="*/ 1 h 14"/>
                <a:gd name="T4" fmla="*/ 9 w 11"/>
                <a:gd name="T5" fmla="*/ 0 h 14"/>
                <a:gd name="T6" fmla="*/ 0 w 11"/>
                <a:gd name="T7" fmla="*/ 11 h 14"/>
                <a:gd name="T8" fmla="*/ 2 w 11"/>
                <a:gd name="T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4">
                  <a:moveTo>
                    <a:pt x="2" y="14"/>
                  </a:moveTo>
                  <a:lnTo>
                    <a:pt x="11" y="1"/>
                  </a:lnTo>
                  <a:lnTo>
                    <a:pt x="9" y="0"/>
                  </a:lnTo>
                  <a:lnTo>
                    <a:pt x="0" y="11"/>
                  </a:lnTo>
                  <a:lnTo>
                    <a:pt x="2" y="14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02" name="Freeform 6505"/>
            <p:cNvSpPr>
              <a:spLocks/>
            </p:cNvSpPr>
            <p:nvPr/>
          </p:nvSpPr>
          <p:spPr bwMode="auto">
            <a:xfrm>
              <a:off x="6019800" y="5203826"/>
              <a:ext cx="15875" cy="17463"/>
            </a:xfrm>
            <a:custGeom>
              <a:avLst/>
              <a:gdLst>
                <a:gd name="T0" fmla="*/ 8 w 10"/>
                <a:gd name="T1" fmla="*/ 11 h 11"/>
                <a:gd name="T2" fmla="*/ 10 w 10"/>
                <a:gd name="T3" fmla="*/ 10 h 11"/>
                <a:gd name="T4" fmla="*/ 2 w 10"/>
                <a:gd name="T5" fmla="*/ 0 h 11"/>
                <a:gd name="T6" fmla="*/ 0 w 10"/>
                <a:gd name="T7" fmla="*/ 1 h 11"/>
                <a:gd name="T8" fmla="*/ 8 w 10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1">
                  <a:moveTo>
                    <a:pt x="8" y="11"/>
                  </a:moveTo>
                  <a:lnTo>
                    <a:pt x="10" y="10"/>
                  </a:lnTo>
                  <a:lnTo>
                    <a:pt x="2" y="0"/>
                  </a:lnTo>
                  <a:lnTo>
                    <a:pt x="0" y="1"/>
                  </a:lnTo>
                  <a:lnTo>
                    <a:pt x="8" y="11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03" name="Freeform 6506"/>
            <p:cNvSpPr>
              <a:spLocks/>
            </p:cNvSpPr>
            <p:nvPr/>
          </p:nvSpPr>
          <p:spPr bwMode="auto">
            <a:xfrm>
              <a:off x="6018213" y="5203826"/>
              <a:ext cx="15875" cy="17463"/>
            </a:xfrm>
            <a:custGeom>
              <a:avLst/>
              <a:gdLst>
                <a:gd name="T0" fmla="*/ 2 w 10"/>
                <a:gd name="T1" fmla="*/ 11 h 11"/>
                <a:gd name="T2" fmla="*/ 10 w 10"/>
                <a:gd name="T3" fmla="*/ 1 h 11"/>
                <a:gd name="T4" fmla="*/ 8 w 10"/>
                <a:gd name="T5" fmla="*/ 0 h 11"/>
                <a:gd name="T6" fmla="*/ 0 w 10"/>
                <a:gd name="T7" fmla="*/ 10 h 11"/>
                <a:gd name="T8" fmla="*/ 2 w 10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1">
                  <a:moveTo>
                    <a:pt x="2" y="11"/>
                  </a:moveTo>
                  <a:lnTo>
                    <a:pt x="10" y="1"/>
                  </a:lnTo>
                  <a:lnTo>
                    <a:pt x="8" y="0"/>
                  </a:lnTo>
                  <a:lnTo>
                    <a:pt x="0" y="10"/>
                  </a:lnTo>
                  <a:lnTo>
                    <a:pt x="2" y="11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04" name="Freeform 6507"/>
            <p:cNvSpPr>
              <a:spLocks/>
            </p:cNvSpPr>
            <p:nvPr/>
          </p:nvSpPr>
          <p:spPr bwMode="auto">
            <a:xfrm>
              <a:off x="6021388" y="5186364"/>
              <a:ext cx="12700" cy="19050"/>
            </a:xfrm>
            <a:custGeom>
              <a:avLst/>
              <a:gdLst>
                <a:gd name="T0" fmla="*/ 6 w 8"/>
                <a:gd name="T1" fmla="*/ 12 h 12"/>
                <a:gd name="T2" fmla="*/ 8 w 8"/>
                <a:gd name="T3" fmla="*/ 11 h 12"/>
                <a:gd name="T4" fmla="*/ 1 w 8"/>
                <a:gd name="T5" fmla="*/ 0 h 12"/>
                <a:gd name="T6" fmla="*/ 0 w 8"/>
                <a:gd name="T7" fmla="*/ 1 h 12"/>
                <a:gd name="T8" fmla="*/ 6 w 8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2">
                  <a:moveTo>
                    <a:pt x="6" y="12"/>
                  </a:moveTo>
                  <a:lnTo>
                    <a:pt x="8" y="11"/>
                  </a:lnTo>
                  <a:lnTo>
                    <a:pt x="1" y="0"/>
                  </a:lnTo>
                  <a:lnTo>
                    <a:pt x="0" y="1"/>
                  </a:lnTo>
                  <a:lnTo>
                    <a:pt x="6" y="12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05" name="Freeform 6508"/>
            <p:cNvSpPr>
              <a:spLocks/>
            </p:cNvSpPr>
            <p:nvPr/>
          </p:nvSpPr>
          <p:spPr bwMode="auto">
            <a:xfrm>
              <a:off x="6019800" y="5186364"/>
              <a:ext cx="14288" cy="19050"/>
            </a:xfrm>
            <a:custGeom>
              <a:avLst/>
              <a:gdLst>
                <a:gd name="T0" fmla="*/ 2 w 9"/>
                <a:gd name="T1" fmla="*/ 12 h 12"/>
                <a:gd name="T2" fmla="*/ 9 w 9"/>
                <a:gd name="T3" fmla="*/ 1 h 12"/>
                <a:gd name="T4" fmla="*/ 7 w 9"/>
                <a:gd name="T5" fmla="*/ 0 h 12"/>
                <a:gd name="T6" fmla="*/ 0 w 9"/>
                <a:gd name="T7" fmla="*/ 11 h 12"/>
                <a:gd name="T8" fmla="*/ 2 w 9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2">
                  <a:moveTo>
                    <a:pt x="2" y="12"/>
                  </a:moveTo>
                  <a:lnTo>
                    <a:pt x="9" y="1"/>
                  </a:lnTo>
                  <a:lnTo>
                    <a:pt x="7" y="0"/>
                  </a:lnTo>
                  <a:lnTo>
                    <a:pt x="0" y="11"/>
                  </a:lnTo>
                  <a:lnTo>
                    <a:pt x="2" y="12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06" name="Freeform 6509"/>
            <p:cNvSpPr>
              <a:spLocks/>
            </p:cNvSpPr>
            <p:nvPr/>
          </p:nvSpPr>
          <p:spPr bwMode="auto">
            <a:xfrm>
              <a:off x="6021388" y="5168901"/>
              <a:ext cx="12700" cy="19050"/>
            </a:xfrm>
            <a:custGeom>
              <a:avLst/>
              <a:gdLst>
                <a:gd name="T0" fmla="*/ 6 w 8"/>
                <a:gd name="T1" fmla="*/ 12 h 12"/>
                <a:gd name="T2" fmla="*/ 8 w 8"/>
                <a:gd name="T3" fmla="*/ 11 h 12"/>
                <a:gd name="T4" fmla="*/ 2 w 8"/>
                <a:gd name="T5" fmla="*/ 0 h 12"/>
                <a:gd name="T6" fmla="*/ 0 w 8"/>
                <a:gd name="T7" fmla="*/ 1 h 12"/>
                <a:gd name="T8" fmla="*/ 6 w 8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2">
                  <a:moveTo>
                    <a:pt x="6" y="12"/>
                  </a:moveTo>
                  <a:lnTo>
                    <a:pt x="8" y="11"/>
                  </a:lnTo>
                  <a:lnTo>
                    <a:pt x="2" y="0"/>
                  </a:lnTo>
                  <a:lnTo>
                    <a:pt x="0" y="1"/>
                  </a:lnTo>
                  <a:lnTo>
                    <a:pt x="6" y="12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07" name="Freeform 6510"/>
            <p:cNvSpPr>
              <a:spLocks/>
            </p:cNvSpPr>
            <p:nvPr/>
          </p:nvSpPr>
          <p:spPr bwMode="auto">
            <a:xfrm>
              <a:off x="6021388" y="5168901"/>
              <a:ext cx="11113" cy="19050"/>
            </a:xfrm>
            <a:custGeom>
              <a:avLst/>
              <a:gdLst>
                <a:gd name="T0" fmla="*/ 1 w 7"/>
                <a:gd name="T1" fmla="*/ 12 h 12"/>
                <a:gd name="T2" fmla="*/ 7 w 7"/>
                <a:gd name="T3" fmla="*/ 1 h 12"/>
                <a:gd name="T4" fmla="*/ 5 w 7"/>
                <a:gd name="T5" fmla="*/ 0 h 12"/>
                <a:gd name="T6" fmla="*/ 0 w 7"/>
                <a:gd name="T7" fmla="*/ 11 h 12"/>
                <a:gd name="T8" fmla="*/ 1 w 7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2">
                  <a:moveTo>
                    <a:pt x="1" y="12"/>
                  </a:moveTo>
                  <a:lnTo>
                    <a:pt x="7" y="1"/>
                  </a:lnTo>
                  <a:lnTo>
                    <a:pt x="5" y="0"/>
                  </a:lnTo>
                  <a:lnTo>
                    <a:pt x="0" y="11"/>
                  </a:lnTo>
                  <a:lnTo>
                    <a:pt x="1" y="12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08" name="Freeform 6511"/>
            <p:cNvSpPr>
              <a:spLocks/>
            </p:cNvSpPr>
            <p:nvPr/>
          </p:nvSpPr>
          <p:spPr bwMode="auto">
            <a:xfrm>
              <a:off x="6043613" y="5308601"/>
              <a:ext cx="25400" cy="25400"/>
            </a:xfrm>
            <a:custGeom>
              <a:avLst/>
              <a:gdLst>
                <a:gd name="T0" fmla="*/ 1 w 16"/>
                <a:gd name="T1" fmla="*/ 16 h 16"/>
                <a:gd name="T2" fmla="*/ 16 w 16"/>
                <a:gd name="T3" fmla="*/ 2 h 16"/>
                <a:gd name="T4" fmla="*/ 15 w 16"/>
                <a:gd name="T5" fmla="*/ 0 h 16"/>
                <a:gd name="T6" fmla="*/ 0 w 16"/>
                <a:gd name="T7" fmla="*/ 15 h 16"/>
                <a:gd name="T8" fmla="*/ 1 w 16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6">
                  <a:moveTo>
                    <a:pt x="1" y="16"/>
                  </a:moveTo>
                  <a:lnTo>
                    <a:pt x="16" y="2"/>
                  </a:lnTo>
                  <a:lnTo>
                    <a:pt x="15" y="0"/>
                  </a:lnTo>
                  <a:lnTo>
                    <a:pt x="0" y="15"/>
                  </a:lnTo>
                  <a:lnTo>
                    <a:pt x="1" y="16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09" name="Freeform 6512"/>
            <p:cNvSpPr>
              <a:spLocks/>
            </p:cNvSpPr>
            <p:nvPr/>
          </p:nvSpPr>
          <p:spPr bwMode="auto">
            <a:xfrm>
              <a:off x="6043613" y="5305426"/>
              <a:ext cx="25400" cy="28575"/>
            </a:xfrm>
            <a:custGeom>
              <a:avLst/>
              <a:gdLst>
                <a:gd name="T0" fmla="*/ 15 w 16"/>
                <a:gd name="T1" fmla="*/ 18 h 18"/>
                <a:gd name="T2" fmla="*/ 16 w 16"/>
                <a:gd name="T3" fmla="*/ 17 h 18"/>
                <a:gd name="T4" fmla="*/ 1 w 16"/>
                <a:gd name="T5" fmla="*/ 0 h 18"/>
                <a:gd name="T6" fmla="*/ 0 w 16"/>
                <a:gd name="T7" fmla="*/ 1 h 18"/>
                <a:gd name="T8" fmla="*/ 15 w 16"/>
                <a:gd name="T9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8">
                  <a:moveTo>
                    <a:pt x="15" y="18"/>
                  </a:moveTo>
                  <a:lnTo>
                    <a:pt x="16" y="17"/>
                  </a:lnTo>
                  <a:lnTo>
                    <a:pt x="1" y="0"/>
                  </a:lnTo>
                  <a:lnTo>
                    <a:pt x="0" y="1"/>
                  </a:lnTo>
                  <a:lnTo>
                    <a:pt x="15" y="18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10" name="Freeform 6513"/>
            <p:cNvSpPr>
              <a:spLocks/>
            </p:cNvSpPr>
            <p:nvPr/>
          </p:nvSpPr>
          <p:spPr bwMode="auto">
            <a:xfrm>
              <a:off x="6067425" y="5314951"/>
              <a:ext cx="20638" cy="19050"/>
            </a:xfrm>
            <a:custGeom>
              <a:avLst/>
              <a:gdLst>
                <a:gd name="T0" fmla="*/ 1 w 13"/>
                <a:gd name="T1" fmla="*/ 12 h 12"/>
                <a:gd name="T2" fmla="*/ 13 w 13"/>
                <a:gd name="T3" fmla="*/ 1 h 12"/>
                <a:gd name="T4" fmla="*/ 11 w 13"/>
                <a:gd name="T5" fmla="*/ 0 h 12"/>
                <a:gd name="T6" fmla="*/ 0 w 13"/>
                <a:gd name="T7" fmla="*/ 11 h 12"/>
                <a:gd name="T8" fmla="*/ 1 w 13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2">
                  <a:moveTo>
                    <a:pt x="1" y="12"/>
                  </a:moveTo>
                  <a:lnTo>
                    <a:pt x="13" y="1"/>
                  </a:lnTo>
                  <a:lnTo>
                    <a:pt x="11" y="0"/>
                  </a:lnTo>
                  <a:lnTo>
                    <a:pt x="0" y="11"/>
                  </a:lnTo>
                  <a:lnTo>
                    <a:pt x="1" y="12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11" name="Freeform 6514"/>
            <p:cNvSpPr>
              <a:spLocks/>
            </p:cNvSpPr>
            <p:nvPr/>
          </p:nvSpPr>
          <p:spPr bwMode="auto">
            <a:xfrm>
              <a:off x="6067425" y="5308601"/>
              <a:ext cx="20638" cy="25400"/>
            </a:xfrm>
            <a:custGeom>
              <a:avLst/>
              <a:gdLst>
                <a:gd name="T0" fmla="*/ 11 w 13"/>
                <a:gd name="T1" fmla="*/ 16 h 16"/>
                <a:gd name="T2" fmla="*/ 13 w 13"/>
                <a:gd name="T3" fmla="*/ 15 h 16"/>
                <a:gd name="T4" fmla="*/ 1 w 13"/>
                <a:gd name="T5" fmla="*/ 0 h 16"/>
                <a:gd name="T6" fmla="*/ 0 w 13"/>
                <a:gd name="T7" fmla="*/ 2 h 16"/>
                <a:gd name="T8" fmla="*/ 11 w 13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6">
                  <a:moveTo>
                    <a:pt x="11" y="16"/>
                  </a:moveTo>
                  <a:lnTo>
                    <a:pt x="13" y="15"/>
                  </a:lnTo>
                  <a:lnTo>
                    <a:pt x="1" y="0"/>
                  </a:lnTo>
                  <a:lnTo>
                    <a:pt x="0" y="2"/>
                  </a:lnTo>
                  <a:lnTo>
                    <a:pt x="11" y="16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12" name="Freeform 6515"/>
            <p:cNvSpPr>
              <a:spLocks/>
            </p:cNvSpPr>
            <p:nvPr/>
          </p:nvSpPr>
          <p:spPr bwMode="auto">
            <a:xfrm>
              <a:off x="6084888" y="5318126"/>
              <a:ext cx="23813" cy="17463"/>
            </a:xfrm>
            <a:custGeom>
              <a:avLst/>
              <a:gdLst>
                <a:gd name="T0" fmla="*/ 2 w 15"/>
                <a:gd name="T1" fmla="*/ 11 h 11"/>
                <a:gd name="T2" fmla="*/ 15 w 15"/>
                <a:gd name="T3" fmla="*/ 1 h 11"/>
                <a:gd name="T4" fmla="*/ 13 w 15"/>
                <a:gd name="T5" fmla="*/ 0 h 11"/>
                <a:gd name="T6" fmla="*/ 0 w 15"/>
                <a:gd name="T7" fmla="*/ 9 h 11"/>
                <a:gd name="T8" fmla="*/ 2 w 15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1">
                  <a:moveTo>
                    <a:pt x="2" y="11"/>
                  </a:moveTo>
                  <a:lnTo>
                    <a:pt x="15" y="1"/>
                  </a:lnTo>
                  <a:lnTo>
                    <a:pt x="13" y="0"/>
                  </a:lnTo>
                  <a:lnTo>
                    <a:pt x="0" y="9"/>
                  </a:lnTo>
                  <a:lnTo>
                    <a:pt x="2" y="11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13" name="Freeform 6516"/>
            <p:cNvSpPr>
              <a:spLocks/>
            </p:cNvSpPr>
            <p:nvPr/>
          </p:nvSpPr>
          <p:spPr bwMode="auto">
            <a:xfrm>
              <a:off x="6084888" y="5314951"/>
              <a:ext cx="23813" cy="19050"/>
            </a:xfrm>
            <a:custGeom>
              <a:avLst/>
              <a:gdLst>
                <a:gd name="T0" fmla="*/ 13 w 15"/>
                <a:gd name="T1" fmla="*/ 12 h 12"/>
                <a:gd name="T2" fmla="*/ 15 w 15"/>
                <a:gd name="T3" fmla="*/ 11 h 12"/>
                <a:gd name="T4" fmla="*/ 2 w 15"/>
                <a:gd name="T5" fmla="*/ 0 h 12"/>
                <a:gd name="T6" fmla="*/ 0 w 15"/>
                <a:gd name="T7" fmla="*/ 1 h 12"/>
                <a:gd name="T8" fmla="*/ 13 w 15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2">
                  <a:moveTo>
                    <a:pt x="13" y="12"/>
                  </a:moveTo>
                  <a:lnTo>
                    <a:pt x="15" y="11"/>
                  </a:lnTo>
                  <a:lnTo>
                    <a:pt x="2" y="0"/>
                  </a:lnTo>
                  <a:lnTo>
                    <a:pt x="0" y="1"/>
                  </a:lnTo>
                  <a:lnTo>
                    <a:pt x="13" y="12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14" name="Freeform 6517"/>
            <p:cNvSpPr>
              <a:spLocks/>
            </p:cNvSpPr>
            <p:nvPr/>
          </p:nvSpPr>
          <p:spPr bwMode="auto">
            <a:xfrm>
              <a:off x="6105525" y="5321301"/>
              <a:ext cx="20638" cy="12700"/>
            </a:xfrm>
            <a:custGeom>
              <a:avLst/>
              <a:gdLst>
                <a:gd name="T0" fmla="*/ 1 w 13"/>
                <a:gd name="T1" fmla="*/ 8 h 8"/>
                <a:gd name="T2" fmla="*/ 13 w 13"/>
                <a:gd name="T3" fmla="*/ 2 h 8"/>
                <a:gd name="T4" fmla="*/ 12 w 13"/>
                <a:gd name="T5" fmla="*/ 0 h 8"/>
                <a:gd name="T6" fmla="*/ 0 w 13"/>
                <a:gd name="T7" fmla="*/ 6 h 8"/>
                <a:gd name="T8" fmla="*/ 1 w 13"/>
                <a:gd name="T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8">
                  <a:moveTo>
                    <a:pt x="1" y="8"/>
                  </a:moveTo>
                  <a:lnTo>
                    <a:pt x="13" y="2"/>
                  </a:lnTo>
                  <a:lnTo>
                    <a:pt x="12" y="0"/>
                  </a:lnTo>
                  <a:lnTo>
                    <a:pt x="0" y="6"/>
                  </a:lnTo>
                  <a:lnTo>
                    <a:pt x="1" y="8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15" name="Freeform 6518"/>
            <p:cNvSpPr>
              <a:spLocks/>
            </p:cNvSpPr>
            <p:nvPr/>
          </p:nvSpPr>
          <p:spPr bwMode="auto">
            <a:xfrm>
              <a:off x="6105525" y="5318126"/>
              <a:ext cx="20638" cy="15875"/>
            </a:xfrm>
            <a:custGeom>
              <a:avLst/>
              <a:gdLst>
                <a:gd name="T0" fmla="*/ 12 w 13"/>
                <a:gd name="T1" fmla="*/ 10 h 10"/>
                <a:gd name="T2" fmla="*/ 13 w 13"/>
                <a:gd name="T3" fmla="*/ 9 h 10"/>
                <a:gd name="T4" fmla="*/ 2 w 13"/>
                <a:gd name="T5" fmla="*/ 0 h 10"/>
                <a:gd name="T6" fmla="*/ 0 w 13"/>
                <a:gd name="T7" fmla="*/ 1 h 10"/>
                <a:gd name="T8" fmla="*/ 12 w 13"/>
                <a:gd name="T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0">
                  <a:moveTo>
                    <a:pt x="12" y="10"/>
                  </a:moveTo>
                  <a:lnTo>
                    <a:pt x="13" y="9"/>
                  </a:lnTo>
                  <a:lnTo>
                    <a:pt x="2" y="0"/>
                  </a:lnTo>
                  <a:lnTo>
                    <a:pt x="0" y="1"/>
                  </a:lnTo>
                  <a:lnTo>
                    <a:pt x="12" y="10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16" name="Freeform 6519"/>
            <p:cNvSpPr>
              <a:spLocks/>
            </p:cNvSpPr>
            <p:nvPr/>
          </p:nvSpPr>
          <p:spPr bwMode="auto">
            <a:xfrm>
              <a:off x="6126163" y="5324476"/>
              <a:ext cx="19050" cy="11113"/>
            </a:xfrm>
            <a:custGeom>
              <a:avLst/>
              <a:gdLst>
                <a:gd name="T0" fmla="*/ 1 w 12"/>
                <a:gd name="T1" fmla="*/ 7 h 7"/>
                <a:gd name="T2" fmla="*/ 12 w 12"/>
                <a:gd name="T3" fmla="*/ 3 h 7"/>
                <a:gd name="T4" fmla="*/ 11 w 12"/>
                <a:gd name="T5" fmla="*/ 0 h 7"/>
                <a:gd name="T6" fmla="*/ 0 w 12"/>
                <a:gd name="T7" fmla="*/ 5 h 7"/>
                <a:gd name="T8" fmla="*/ 1 w 12"/>
                <a:gd name="T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7">
                  <a:moveTo>
                    <a:pt x="1" y="7"/>
                  </a:moveTo>
                  <a:lnTo>
                    <a:pt x="12" y="3"/>
                  </a:lnTo>
                  <a:lnTo>
                    <a:pt x="11" y="0"/>
                  </a:lnTo>
                  <a:lnTo>
                    <a:pt x="0" y="5"/>
                  </a:lnTo>
                  <a:lnTo>
                    <a:pt x="1" y="7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17" name="Freeform 6520"/>
            <p:cNvSpPr>
              <a:spLocks/>
            </p:cNvSpPr>
            <p:nvPr/>
          </p:nvSpPr>
          <p:spPr bwMode="auto">
            <a:xfrm>
              <a:off x="5984875" y="5310189"/>
              <a:ext cx="25400" cy="25400"/>
            </a:xfrm>
            <a:custGeom>
              <a:avLst/>
              <a:gdLst>
                <a:gd name="T0" fmla="*/ 15 w 16"/>
                <a:gd name="T1" fmla="*/ 16 h 16"/>
                <a:gd name="T2" fmla="*/ 16 w 16"/>
                <a:gd name="T3" fmla="*/ 14 h 16"/>
                <a:gd name="T4" fmla="*/ 1 w 16"/>
                <a:gd name="T5" fmla="*/ 0 h 16"/>
                <a:gd name="T6" fmla="*/ 0 w 16"/>
                <a:gd name="T7" fmla="*/ 1 h 16"/>
                <a:gd name="T8" fmla="*/ 15 w 16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6">
                  <a:moveTo>
                    <a:pt x="15" y="16"/>
                  </a:moveTo>
                  <a:lnTo>
                    <a:pt x="16" y="14"/>
                  </a:lnTo>
                  <a:lnTo>
                    <a:pt x="1" y="0"/>
                  </a:lnTo>
                  <a:lnTo>
                    <a:pt x="0" y="1"/>
                  </a:lnTo>
                  <a:lnTo>
                    <a:pt x="15" y="16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18" name="Freeform 6521"/>
            <p:cNvSpPr>
              <a:spLocks/>
            </p:cNvSpPr>
            <p:nvPr/>
          </p:nvSpPr>
          <p:spPr bwMode="auto">
            <a:xfrm>
              <a:off x="5984875" y="5305426"/>
              <a:ext cx="25400" cy="30163"/>
            </a:xfrm>
            <a:custGeom>
              <a:avLst/>
              <a:gdLst>
                <a:gd name="T0" fmla="*/ 1 w 16"/>
                <a:gd name="T1" fmla="*/ 19 h 19"/>
                <a:gd name="T2" fmla="*/ 16 w 16"/>
                <a:gd name="T3" fmla="*/ 2 h 19"/>
                <a:gd name="T4" fmla="*/ 15 w 16"/>
                <a:gd name="T5" fmla="*/ 0 h 19"/>
                <a:gd name="T6" fmla="*/ 0 w 16"/>
                <a:gd name="T7" fmla="*/ 17 h 19"/>
                <a:gd name="T8" fmla="*/ 1 w 16"/>
                <a:gd name="T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9">
                  <a:moveTo>
                    <a:pt x="1" y="19"/>
                  </a:moveTo>
                  <a:lnTo>
                    <a:pt x="16" y="2"/>
                  </a:lnTo>
                  <a:lnTo>
                    <a:pt x="15" y="0"/>
                  </a:lnTo>
                  <a:lnTo>
                    <a:pt x="0" y="17"/>
                  </a:lnTo>
                  <a:lnTo>
                    <a:pt x="1" y="19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19" name="Freeform 6522"/>
            <p:cNvSpPr>
              <a:spLocks/>
            </p:cNvSpPr>
            <p:nvPr/>
          </p:nvSpPr>
          <p:spPr bwMode="auto">
            <a:xfrm>
              <a:off x="5965825" y="5314951"/>
              <a:ext cx="20638" cy="20638"/>
            </a:xfrm>
            <a:custGeom>
              <a:avLst/>
              <a:gdLst>
                <a:gd name="T0" fmla="*/ 12 w 13"/>
                <a:gd name="T1" fmla="*/ 13 h 13"/>
                <a:gd name="T2" fmla="*/ 13 w 13"/>
                <a:gd name="T3" fmla="*/ 11 h 13"/>
                <a:gd name="T4" fmla="*/ 2 w 13"/>
                <a:gd name="T5" fmla="*/ 0 h 13"/>
                <a:gd name="T6" fmla="*/ 0 w 13"/>
                <a:gd name="T7" fmla="*/ 1 h 13"/>
                <a:gd name="T8" fmla="*/ 12 w 13"/>
                <a:gd name="T9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3">
                  <a:moveTo>
                    <a:pt x="12" y="13"/>
                  </a:moveTo>
                  <a:lnTo>
                    <a:pt x="13" y="11"/>
                  </a:lnTo>
                  <a:lnTo>
                    <a:pt x="2" y="0"/>
                  </a:lnTo>
                  <a:lnTo>
                    <a:pt x="0" y="1"/>
                  </a:lnTo>
                  <a:lnTo>
                    <a:pt x="12" y="13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20" name="Freeform 6523"/>
            <p:cNvSpPr>
              <a:spLocks/>
            </p:cNvSpPr>
            <p:nvPr/>
          </p:nvSpPr>
          <p:spPr bwMode="auto">
            <a:xfrm>
              <a:off x="5965825" y="5310189"/>
              <a:ext cx="20638" cy="25400"/>
            </a:xfrm>
            <a:custGeom>
              <a:avLst/>
              <a:gdLst>
                <a:gd name="T0" fmla="*/ 2 w 13"/>
                <a:gd name="T1" fmla="*/ 16 h 16"/>
                <a:gd name="T2" fmla="*/ 13 w 13"/>
                <a:gd name="T3" fmla="*/ 1 h 16"/>
                <a:gd name="T4" fmla="*/ 12 w 13"/>
                <a:gd name="T5" fmla="*/ 0 h 16"/>
                <a:gd name="T6" fmla="*/ 0 w 13"/>
                <a:gd name="T7" fmla="*/ 14 h 16"/>
                <a:gd name="T8" fmla="*/ 2 w 13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6">
                  <a:moveTo>
                    <a:pt x="2" y="16"/>
                  </a:moveTo>
                  <a:lnTo>
                    <a:pt x="13" y="1"/>
                  </a:lnTo>
                  <a:lnTo>
                    <a:pt x="12" y="0"/>
                  </a:lnTo>
                  <a:lnTo>
                    <a:pt x="0" y="14"/>
                  </a:lnTo>
                  <a:lnTo>
                    <a:pt x="2" y="16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21" name="Freeform 6524"/>
            <p:cNvSpPr>
              <a:spLocks/>
            </p:cNvSpPr>
            <p:nvPr/>
          </p:nvSpPr>
          <p:spPr bwMode="auto">
            <a:xfrm>
              <a:off x="5946775" y="5318126"/>
              <a:ext cx="22225" cy="17463"/>
            </a:xfrm>
            <a:custGeom>
              <a:avLst/>
              <a:gdLst>
                <a:gd name="T0" fmla="*/ 12 w 14"/>
                <a:gd name="T1" fmla="*/ 11 h 11"/>
                <a:gd name="T2" fmla="*/ 14 w 14"/>
                <a:gd name="T3" fmla="*/ 9 h 11"/>
                <a:gd name="T4" fmla="*/ 1 w 14"/>
                <a:gd name="T5" fmla="*/ 0 h 11"/>
                <a:gd name="T6" fmla="*/ 0 w 14"/>
                <a:gd name="T7" fmla="*/ 2 h 11"/>
                <a:gd name="T8" fmla="*/ 12 w 14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1">
                  <a:moveTo>
                    <a:pt x="12" y="11"/>
                  </a:moveTo>
                  <a:lnTo>
                    <a:pt x="14" y="9"/>
                  </a:lnTo>
                  <a:lnTo>
                    <a:pt x="1" y="0"/>
                  </a:lnTo>
                  <a:lnTo>
                    <a:pt x="0" y="2"/>
                  </a:lnTo>
                  <a:lnTo>
                    <a:pt x="12" y="11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22" name="Freeform 6525"/>
            <p:cNvSpPr>
              <a:spLocks/>
            </p:cNvSpPr>
            <p:nvPr/>
          </p:nvSpPr>
          <p:spPr bwMode="auto">
            <a:xfrm>
              <a:off x="5945188" y="5314951"/>
              <a:ext cx="23813" cy="20638"/>
            </a:xfrm>
            <a:custGeom>
              <a:avLst/>
              <a:gdLst>
                <a:gd name="T0" fmla="*/ 2 w 15"/>
                <a:gd name="T1" fmla="*/ 13 h 13"/>
                <a:gd name="T2" fmla="*/ 15 w 15"/>
                <a:gd name="T3" fmla="*/ 1 h 13"/>
                <a:gd name="T4" fmla="*/ 13 w 15"/>
                <a:gd name="T5" fmla="*/ 0 h 13"/>
                <a:gd name="T6" fmla="*/ 0 w 15"/>
                <a:gd name="T7" fmla="*/ 11 h 13"/>
                <a:gd name="T8" fmla="*/ 2 w 15"/>
                <a:gd name="T9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3">
                  <a:moveTo>
                    <a:pt x="2" y="13"/>
                  </a:moveTo>
                  <a:lnTo>
                    <a:pt x="15" y="1"/>
                  </a:lnTo>
                  <a:lnTo>
                    <a:pt x="13" y="0"/>
                  </a:lnTo>
                  <a:lnTo>
                    <a:pt x="0" y="11"/>
                  </a:lnTo>
                  <a:lnTo>
                    <a:pt x="2" y="13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23" name="Freeform 6526"/>
            <p:cNvSpPr>
              <a:spLocks/>
            </p:cNvSpPr>
            <p:nvPr/>
          </p:nvSpPr>
          <p:spPr bwMode="auto">
            <a:xfrm>
              <a:off x="5927725" y="5321301"/>
              <a:ext cx="20638" cy="12700"/>
            </a:xfrm>
            <a:custGeom>
              <a:avLst/>
              <a:gdLst>
                <a:gd name="T0" fmla="*/ 12 w 13"/>
                <a:gd name="T1" fmla="*/ 8 h 8"/>
                <a:gd name="T2" fmla="*/ 13 w 13"/>
                <a:gd name="T3" fmla="*/ 6 h 8"/>
                <a:gd name="T4" fmla="*/ 1 w 13"/>
                <a:gd name="T5" fmla="*/ 0 h 8"/>
                <a:gd name="T6" fmla="*/ 0 w 13"/>
                <a:gd name="T7" fmla="*/ 2 h 8"/>
                <a:gd name="T8" fmla="*/ 12 w 13"/>
                <a:gd name="T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8">
                  <a:moveTo>
                    <a:pt x="12" y="8"/>
                  </a:moveTo>
                  <a:lnTo>
                    <a:pt x="13" y="6"/>
                  </a:lnTo>
                  <a:lnTo>
                    <a:pt x="1" y="0"/>
                  </a:lnTo>
                  <a:lnTo>
                    <a:pt x="0" y="2"/>
                  </a:lnTo>
                  <a:lnTo>
                    <a:pt x="12" y="8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24" name="Freeform 6527"/>
            <p:cNvSpPr>
              <a:spLocks/>
            </p:cNvSpPr>
            <p:nvPr/>
          </p:nvSpPr>
          <p:spPr bwMode="auto">
            <a:xfrm>
              <a:off x="5927725" y="5318126"/>
              <a:ext cx="20638" cy="17463"/>
            </a:xfrm>
            <a:custGeom>
              <a:avLst/>
              <a:gdLst>
                <a:gd name="T0" fmla="*/ 1 w 13"/>
                <a:gd name="T1" fmla="*/ 11 h 11"/>
                <a:gd name="T2" fmla="*/ 13 w 13"/>
                <a:gd name="T3" fmla="*/ 2 h 11"/>
                <a:gd name="T4" fmla="*/ 12 w 13"/>
                <a:gd name="T5" fmla="*/ 0 h 11"/>
                <a:gd name="T6" fmla="*/ 0 w 13"/>
                <a:gd name="T7" fmla="*/ 9 h 11"/>
                <a:gd name="T8" fmla="*/ 1 w 13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1">
                  <a:moveTo>
                    <a:pt x="1" y="11"/>
                  </a:moveTo>
                  <a:lnTo>
                    <a:pt x="13" y="2"/>
                  </a:lnTo>
                  <a:lnTo>
                    <a:pt x="12" y="0"/>
                  </a:lnTo>
                  <a:lnTo>
                    <a:pt x="0" y="9"/>
                  </a:lnTo>
                  <a:lnTo>
                    <a:pt x="1" y="11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25" name="Freeform 6528"/>
            <p:cNvSpPr>
              <a:spLocks/>
            </p:cNvSpPr>
            <p:nvPr/>
          </p:nvSpPr>
          <p:spPr bwMode="auto">
            <a:xfrm>
              <a:off x="5910263" y="5324476"/>
              <a:ext cx="17463" cy="11113"/>
            </a:xfrm>
            <a:custGeom>
              <a:avLst/>
              <a:gdLst>
                <a:gd name="T0" fmla="*/ 11 w 11"/>
                <a:gd name="T1" fmla="*/ 7 h 7"/>
                <a:gd name="T2" fmla="*/ 11 w 11"/>
                <a:gd name="T3" fmla="*/ 5 h 7"/>
                <a:gd name="T4" fmla="*/ 0 w 11"/>
                <a:gd name="T5" fmla="*/ 0 h 7"/>
                <a:gd name="T6" fmla="*/ 0 w 11"/>
                <a:gd name="T7" fmla="*/ 3 h 7"/>
                <a:gd name="T8" fmla="*/ 11 w 11"/>
                <a:gd name="T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">
                  <a:moveTo>
                    <a:pt x="11" y="7"/>
                  </a:moveTo>
                  <a:lnTo>
                    <a:pt x="11" y="5"/>
                  </a:lnTo>
                  <a:lnTo>
                    <a:pt x="0" y="0"/>
                  </a:lnTo>
                  <a:lnTo>
                    <a:pt x="0" y="3"/>
                  </a:lnTo>
                  <a:lnTo>
                    <a:pt x="11" y="7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26" name="Freeform 6529"/>
            <p:cNvSpPr>
              <a:spLocks/>
            </p:cNvSpPr>
            <p:nvPr/>
          </p:nvSpPr>
          <p:spPr bwMode="auto">
            <a:xfrm>
              <a:off x="6048375" y="5392739"/>
              <a:ext cx="22225" cy="19050"/>
            </a:xfrm>
            <a:custGeom>
              <a:avLst/>
              <a:gdLst>
                <a:gd name="T0" fmla="*/ 1 w 14"/>
                <a:gd name="T1" fmla="*/ 12 h 12"/>
                <a:gd name="T2" fmla="*/ 14 w 14"/>
                <a:gd name="T3" fmla="*/ 2 h 12"/>
                <a:gd name="T4" fmla="*/ 13 w 14"/>
                <a:gd name="T5" fmla="*/ 0 h 12"/>
                <a:gd name="T6" fmla="*/ 0 w 14"/>
                <a:gd name="T7" fmla="*/ 10 h 12"/>
                <a:gd name="T8" fmla="*/ 1 w 14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2">
                  <a:moveTo>
                    <a:pt x="1" y="12"/>
                  </a:moveTo>
                  <a:lnTo>
                    <a:pt x="14" y="2"/>
                  </a:lnTo>
                  <a:lnTo>
                    <a:pt x="13" y="0"/>
                  </a:lnTo>
                  <a:lnTo>
                    <a:pt x="0" y="10"/>
                  </a:lnTo>
                  <a:lnTo>
                    <a:pt x="1" y="12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27" name="Freeform 6530"/>
            <p:cNvSpPr>
              <a:spLocks/>
            </p:cNvSpPr>
            <p:nvPr/>
          </p:nvSpPr>
          <p:spPr bwMode="auto">
            <a:xfrm>
              <a:off x="6046788" y="5386389"/>
              <a:ext cx="23813" cy="25400"/>
            </a:xfrm>
            <a:custGeom>
              <a:avLst/>
              <a:gdLst>
                <a:gd name="T0" fmla="*/ 14 w 15"/>
                <a:gd name="T1" fmla="*/ 16 h 16"/>
                <a:gd name="T2" fmla="*/ 15 w 15"/>
                <a:gd name="T3" fmla="*/ 15 h 16"/>
                <a:gd name="T4" fmla="*/ 1 w 15"/>
                <a:gd name="T5" fmla="*/ 0 h 16"/>
                <a:gd name="T6" fmla="*/ 0 w 15"/>
                <a:gd name="T7" fmla="*/ 1 h 16"/>
                <a:gd name="T8" fmla="*/ 14 w 15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6">
                  <a:moveTo>
                    <a:pt x="14" y="16"/>
                  </a:moveTo>
                  <a:lnTo>
                    <a:pt x="15" y="15"/>
                  </a:lnTo>
                  <a:lnTo>
                    <a:pt x="1" y="0"/>
                  </a:lnTo>
                  <a:lnTo>
                    <a:pt x="0" y="1"/>
                  </a:lnTo>
                  <a:lnTo>
                    <a:pt x="14" y="16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28" name="Freeform 6531"/>
            <p:cNvSpPr>
              <a:spLocks/>
            </p:cNvSpPr>
            <p:nvPr/>
          </p:nvSpPr>
          <p:spPr bwMode="auto">
            <a:xfrm>
              <a:off x="6069013" y="5397501"/>
              <a:ext cx="19050" cy="14288"/>
            </a:xfrm>
            <a:custGeom>
              <a:avLst/>
              <a:gdLst>
                <a:gd name="T0" fmla="*/ 1 w 12"/>
                <a:gd name="T1" fmla="*/ 9 h 9"/>
                <a:gd name="T2" fmla="*/ 12 w 12"/>
                <a:gd name="T3" fmla="*/ 3 h 9"/>
                <a:gd name="T4" fmla="*/ 11 w 12"/>
                <a:gd name="T5" fmla="*/ 0 h 9"/>
                <a:gd name="T6" fmla="*/ 0 w 12"/>
                <a:gd name="T7" fmla="*/ 8 h 9"/>
                <a:gd name="T8" fmla="*/ 1 w 12"/>
                <a:gd name="T9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9">
                  <a:moveTo>
                    <a:pt x="1" y="9"/>
                  </a:moveTo>
                  <a:lnTo>
                    <a:pt x="12" y="3"/>
                  </a:lnTo>
                  <a:lnTo>
                    <a:pt x="11" y="0"/>
                  </a:lnTo>
                  <a:lnTo>
                    <a:pt x="0" y="8"/>
                  </a:lnTo>
                  <a:lnTo>
                    <a:pt x="1" y="9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29" name="Freeform 6532"/>
            <p:cNvSpPr>
              <a:spLocks/>
            </p:cNvSpPr>
            <p:nvPr/>
          </p:nvSpPr>
          <p:spPr bwMode="auto">
            <a:xfrm>
              <a:off x="6069013" y="5392739"/>
              <a:ext cx="19050" cy="19050"/>
            </a:xfrm>
            <a:custGeom>
              <a:avLst/>
              <a:gdLst>
                <a:gd name="T0" fmla="*/ 11 w 12"/>
                <a:gd name="T1" fmla="*/ 12 h 12"/>
                <a:gd name="T2" fmla="*/ 12 w 12"/>
                <a:gd name="T3" fmla="*/ 11 h 12"/>
                <a:gd name="T4" fmla="*/ 1 w 12"/>
                <a:gd name="T5" fmla="*/ 0 h 12"/>
                <a:gd name="T6" fmla="*/ 0 w 12"/>
                <a:gd name="T7" fmla="*/ 2 h 12"/>
                <a:gd name="T8" fmla="*/ 11 w 12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2">
                  <a:moveTo>
                    <a:pt x="11" y="12"/>
                  </a:moveTo>
                  <a:lnTo>
                    <a:pt x="12" y="11"/>
                  </a:lnTo>
                  <a:lnTo>
                    <a:pt x="1" y="0"/>
                  </a:lnTo>
                  <a:lnTo>
                    <a:pt x="0" y="2"/>
                  </a:lnTo>
                  <a:lnTo>
                    <a:pt x="11" y="12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30" name="Freeform 6533"/>
            <p:cNvSpPr>
              <a:spLocks/>
            </p:cNvSpPr>
            <p:nvPr/>
          </p:nvSpPr>
          <p:spPr bwMode="auto">
            <a:xfrm>
              <a:off x="6086475" y="5403851"/>
              <a:ext cx="14288" cy="7938"/>
            </a:xfrm>
            <a:custGeom>
              <a:avLst/>
              <a:gdLst>
                <a:gd name="T0" fmla="*/ 1 w 9"/>
                <a:gd name="T1" fmla="*/ 5 h 5"/>
                <a:gd name="T2" fmla="*/ 9 w 9"/>
                <a:gd name="T3" fmla="*/ 1 h 5"/>
                <a:gd name="T4" fmla="*/ 8 w 9"/>
                <a:gd name="T5" fmla="*/ 0 h 5"/>
                <a:gd name="T6" fmla="*/ 0 w 9"/>
                <a:gd name="T7" fmla="*/ 4 h 5"/>
                <a:gd name="T8" fmla="*/ 1 w 9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5">
                  <a:moveTo>
                    <a:pt x="1" y="5"/>
                  </a:moveTo>
                  <a:lnTo>
                    <a:pt x="9" y="1"/>
                  </a:lnTo>
                  <a:lnTo>
                    <a:pt x="8" y="0"/>
                  </a:lnTo>
                  <a:lnTo>
                    <a:pt x="0" y="4"/>
                  </a:lnTo>
                  <a:lnTo>
                    <a:pt x="1" y="5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31" name="Freeform 6534"/>
            <p:cNvSpPr>
              <a:spLocks/>
            </p:cNvSpPr>
            <p:nvPr/>
          </p:nvSpPr>
          <p:spPr bwMode="auto">
            <a:xfrm>
              <a:off x="5983288" y="5392739"/>
              <a:ext cx="22225" cy="19050"/>
            </a:xfrm>
            <a:custGeom>
              <a:avLst/>
              <a:gdLst>
                <a:gd name="T0" fmla="*/ 13 w 14"/>
                <a:gd name="T1" fmla="*/ 12 h 12"/>
                <a:gd name="T2" fmla="*/ 14 w 14"/>
                <a:gd name="T3" fmla="*/ 10 h 12"/>
                <a:gd name="T4" fmla="*/ 2 w 14"/>
                <a:gd name="T5" fmla="*/ 0 h 12"/>
                <a:gd name="T6" fmla="*/ 0 w 14"/>
                <a:gd name="T7" fmla="*/ 2 h 12"/>
                <a:gd name="T8" fmla="*/ 13 w 14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2">
                  <a:moveTo>
                    <a:pt x="13" y="12"/>
                  </a:moveTo>
                  <a:lnTo>
                    <a:pt x="14" y="10"/>
                  </a:lnTo>
                  <a:lnTo>
                    <a:pt x="2" y="0"/>
                  </a:lnTo>
                  <a:lnTo>
                    <a:pt x="0" y="2"/>
                  </a:lnTo>
                  <a:lnTo>
                    <a:pt x="13" y="12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32" name="Freeform 6535"/>
            <p:cNvSpPr>
              <a:spLocks/>
            </p:cNvSpPr>
            <p:nvPr/>
          </p:nvSpPr>
          <p:spPr bwMode="auto">
            <a:xfrm>
              <a:off x="5983288" y="5386389"/>
              <a:ext cx="25400" cy="25400"/>
            </a:xfrm>
            <a:custGeom>
              <a:avLst/>
              <a:gdLst>
                <a:gd name="T0" fmla="*/ 2 w 16"/>
                <a:gd name="T1" fmla="*/ 16 h 16"/>
                <a:gd name="T2" fmla="*/ 16 w 16"/>
                <a:gd name="T3" fmla="*/ 1 h 16"/>
                <a:gd name="T4" fmla="*/ 14 w 16"/>
                <a:gd name="T5" fmla="*/ 0 h 16"/>
                <a:gd name="T6" fmla="*/ 0 w 16"/>
                <a:gd name="T7" fmla="*/ 15 h 16"/>
                <a:gd name="T8" fmla="*/ 2 w 16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6">
                  <a:moveTo>
                    <a:pt x="2" y="16"/>
                  </a:moveTo>
                  <a:lnTo>
                    <a:pt x="16" y="1"/>
                  </a:lnTo>
                  <a:lnTo>
                    <a:pt x="14" y="0"/>
                  </a:lnTo>
                  <a:lnTo>
                    <a:pt x="0" y="15"/>
                  </a:lnTo>
                  <a:lnTo>
                    <a:pt x="2" y="16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33" name="Freeform 6536"/>
            <p:cNvSpPr>
              <a:spLocks/>
            </p:cNvSpPr>
            <p:nvPr/>
          </p:nvSpPr>
          <p:spPr bwMode="auto">
            <a:xfrm>
              <a:off x="5965825" y="5397501"/>
              <a:ext cx="20638" cy="14288"/>
            </a:xfrm>
            <a:custGeom>
              <a:avLst/>
              <a:gdLst>
                <a:gd name="T0" fmla="*/ 11 w 13"/>
                <a:gd name="T1" fmla="*/ 9 h 9"/>
                <a:gd name="T2" fmla="*/ 13 w 13"/>
                <a:gd name="T3" fmla="*/ 7 h 9"/>
                <a:gd name="T4" fmla="*/ 2 w 13"/>
                <a:gd name="T5" fmla="*/ 0 h 9"/>
                <a:gd name="T6" fmla="*/ 0 w 13"/>
                <a:gd name="T7" fmla="*/ 3 h 9"/>
                <a:gd name="T8" fmla="*/ 11 w 13"/>
                <a:gd name="T9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9">
                  <a:moveTo>
                    <a:pt x="11" y="9"/>
                  </a:moveTo>
                  <a:lnTo>
                    <a:pt x="13" y="7"/>
                  </a:lnTo>
                  <a:lnTo>
                    <a:pt x="2" y="0"/>
                  </a:lnTo>
                  <a:lnTo>
                    <a:pt x="0" y="3"/>
                  </a:lnTo>
                  <a:lnTo>
                    <a:pt x="11" y="9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34" name="Freeform 6537"/>
            <p:cNvSpPr>
              <a:spLocks/>
            </p:cNvSpPr>
            <p:nvPr/>
          </p:nvSpPr>
          <p:spPr bwMode="auto">
            <a:xfrm>
              <a:off x="5965825" y="5392739"/>
              <a:ext cx="20638" cy="19050"/>
            </a:xfrm>
            <a:custGeom>
              <a:avLst/>
              <a:gdLst>
                <a:gd name="T0" fmla="*/ 2 w 13"/>
                <a:gd name="T1" fmla="*/ 12 h 12"/>
                <a:gd name="T2" fmla="*/ 13 w 13"/>
                <a:gd name="T3" fmla="*/ 2 h 12"/>
                <a:gd name="T4" fmla="*/ 11 w 13"/>
                <a:gd name="T5" fmla="*/ 0 h 12"/>
                <a:gd name="T6" fmla="*/ 0 w 13"/>
                <a:gd name="T7" fmla="*/ 10 h 12"/>
                <a:gd name="T8" fmla="*/ 2 w 13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2">
                  <a:moveTo>
                    <a:pt x="2" y="12"/>
                  </a:moveTo>
                  <a:lnTo>
                    <a:pt x="13" y="2"/>
                  </a:lnTo>
                  <a:lnTo>
                    <a:pt x="11" y="0"/>
                  </a:lnTo>
                  <a:lnTo>
                    <a:pt x="0" y="10"/>
                  </a:lnTo>
                  <a:lnTo>
                    <a:pt x="2" y="12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35" name="Freeform 6538"/>
            <p:cNvSpPr>
              <a:spLocks/>
            </p:cNvSpPr>
            <p:nvPr/>
          </p:nvSpPr>
          <p:spPr bwMode="auto">
            <a:xfrm>
              <a:off x="5954713" y="5402264"/>
              <a:ext cx="14288" cy="9525"/>
            </a:xfrm>
            <a:custGeom>
              <a:avLst/>
              <a:gdLst>
                <a:gd name="T0" fmla="*/ 7 w 9"/>
                <a:gd name="T1" fmla="*/ 6 h 6"/>
                <a:gd name="T2" fmla="*/ 9 w 9"/>
                <a:gd name="T3" fmla="*/ 4 h 6"/>
                <a:gd name="T4" fmla="*/ 1 w 9"/>
                <a:gd name="T5" fmla="*/ 0 h 6"/>
                <a:gd name="T6" fmla="*/ 0 w 9"/>
                <a:gd name="T7" fmla="*/ 2 h 6"/>
                <a:gd name="T8" fmla="*/ 7 w 9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6">
                  <a:moveTo>
                    <a:pt x="7" y="6"/>
                  </a:moveTo>
                  <a:lnTo>
                    <a:pt x="9" y="4"/>
                  </a:lnTo>
                  <a:lnTo>
                    <a:pt x="1" y="0"/>
                  </a:lnTo>
                  <a:lnTo>
                    <a:pt x="0" y="2"/>
                  </a:lnTo>
                  <a:lnTo>
                    <a:pt x="7" y="6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36" name="Freeform 6539"/>
            <p:cNvSpPr>
              <a:spLocks/>
            </p:cNvSpPr>
            <p:nvPr/>
          </p:nvSpPr>
          <p:spPr bwMode="auto">
            <a:xfrm>
              <a:off x="6000750" y="5216526"/>
              <a:ext cx="19050" cy="17463"/>
            </a:xfrm>
            <a:custGeom>
              <a:avLst/>
              <a:gdLst>
                <a:gd name="T0" fmla="*/ 2 w 12"/>
                <a:gd name="T1" fmla="*/ 11 h 11"/>
                <a:gd name="T2" fmla="*/ 12 w 12"/>
                <a:gd name="T3" fmla="*/ 1 h 11"/>
                <a:gd name="T4" fmla="*/ 10 w 12"/>
                <a:gd name="T5" fmla="*/ 0 h 11"/>
                <a:gd name="T6" fmla="*/ 0 w 12"/>
                <a:gd name="T7" fmla="*/ 9 h 11"/>
                <a:gd name="T8" fmla="*/ 2 w 12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1">
                  <a:moveTo>
                    <a:pt x="2" y="11"/>
                  </a:moveTo>
                  <a:lnTo>
                    <a:pt x="12" y="1"/>
                  </a:lnTo>
                  <a:lnTo>
                    <a:pt x="10" y="0"/>
                  </a:lnTo>
                  <a:lnTo>
                    <a:pt x="0" y="9"/>
                  </a:lnTo>
                  <a:lnTo>
                    <a:pt x="2" y="11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37" name="Freeform 6540"/>
            <p:cNvSpPr>
              <a:spLocks/>
            </p:cNvSpPr>
            <p:nvPr/>
          </p:nvSpPr>
          <p:spPr bwMode="auto">
            <a:xfrm>
              <a:off x="6000750" y="5216526"/>
              <a:ext cx="19050" cy="20638"/>
            </a:xfrm>
            <a:custGeom>
              <a:avLst/>
              <a:gdLst>
                <a:gd name="T0" fmla="*/ 10 w 12"/>
                <a:gd name="T1" fmla="*/ 13 h 13"/>
                <a:gd name="T2" fmla="*/ 12 w 12"/>
                <a:gd name="T3" fmla="*/ 12 h 13"/>
                <a:gd name="T4" fmla="*/ 3 w 12"/>
                <a:gd name="T5" fmla="*/ 0 h 13"/>
                <a:gd name="T6" fmla="*/ 0 w 12"/>
                <a:gd name="T7" fmla="*/ 1 h 13"/>
                <a:gd name="T8" fmla="*/ 10 w 12"/>
                <a:gd name="T9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3">
                  <a:moveTo>
                    <a:pt x="10" y="13"/>
                  </a:moveTo>
                  <a:lnTo>
                    <a:pt x="12" y="12"/>
                  </a:lnTo>
                  <a:lnTo>
                    <a:pt x="3" y="0"/>
                  </a:lnTo>
                  <a:lnTo>
                    <a:pt x="0" y="1"/>
                  </a:lnTo>
                  <a:lnTo>
                    <a:pt x="10" y="13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38" name="Freeform 6541"/>
            <p:cNvSpPr>
              <a:spLocks/>
            </p:cNvSpPr>
            <p:nvPr/>
          </p:nvSpPr>
          <p:spPr bwMode="auto">
            <a:xfrm>
              <a:off x="5986463" y="5214939"/>
              <a:ext cx="17463" cy="14288"/>
            </a:xfrm>
            <a:custGeom>
              <a:avLst/>
              <a:gdLst>
                <a:gd name="T0" fmla="*/ 1 w 11"/>
                <a:gd name="T1" fmla="*/ 9 h 9"/>
                <a:gd name="T2" fmla="*/ 11 w 11"/>
                <a:gd name="T3" fmla="*/ 2 h 9"/>
                <a:gd name="T4" fmla="*/ 9 w 11"/>
                <a:gd name="T5" fmla="*/ 0 h 9"/>
                <a:gd name="T6" fmla="*/ 0 w 11"/>
                <a:gd name="T7" fmla="*/ 6 h 9"/>
                <a:gd name="T8" fmla="*/ 1 w 11"/>
                <a:gd name="T9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9">
                  <a:moveTo>
                    <a:pt x="1" y="9"/>
                  </a:moveTo>
                  <a:lnTo>
                    <a:pt x="11" y="2"/>
                  </a:lnTo>
                  <a:lnTo>
                    <a:pt x="9" y="0"/>
                  </a:lnTo>
                  <a:lnTo>
                    <a:pt x="0" y="6"/>
                  </a:lnTo>
                  <a:lnTo>
                    <a:pt x="1" y="9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39" name="Freeform 6542"/>
            <p:cNvSpPr>
              <a:spLocks/>
            </p:cNvSpPr>
            <p:nvPr/>
          </p:nvSpPr>
          <p:spPr bwMode="auto">
            <a:xfrm>
              <a:off x="5986463" y="5216526"/>
              <a:ext cx="17463" cy="17463"/>
            </a:xfrm>
            <a:custGeom>
              <a:avLst/>
              <a:gdLst>
                <a:gd name="T0" fmla="*/ 9 w 11"/>
                <a:gd name="T1" fmla="*/ 11 h 11"/>
                <a:gd name="T2" fmla="*/ 11 w 11"/>
                <a:gd name="T3" fmla="*/ 9 h 11"/>
                <a:gd name="T4" fmla="*/ 1 w 11"/>
                <a:gd name="T5" fmla="*/ 0 h 11"/>
                <a:gd name="T6" fmla="*/ 0 w 11"/>
                <a:gd name="T7" fmla="*/ 1 h 11"/>
                <a:gd name="T8" fmla="*/ 9 w 11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1">
                  <a:moveTo>
                    <a:pt x="9" y="11"/>
                  </a:moveTo>
                  <a:lnTo>
                    <a:pt x="11" y="9"/>
                  </a:lnTo>
                  <a:lnTo>
                    <a:pt x="1" y="0"/>
                  </a:lnTo>
                  <a:lnTo>
                    <a:pt x="0" y="1"/>
                  </a:lnTo>
                  <a:lnTo>
                    <a:pt x="9" y="11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40" name="Freeform 6543"/>
            <p:cNvSpPr>
              <a:spLocks/>
            </p:cNvSpPr>
            <p:nvPr/>
          </p:nvSpPr>
          <p:spPr bwMode="auto">
            <a:xfrm>
              <a:off x="6035675" y="5216526"/>
              <a:ext cx="15875" cy="17463"/>
            </a:xfrm>
            <a:custGeom>
              <a:avLst/>
              <a:gdLst>
                <a:gd name="T0" fmla="*/ 9 w 10"/>
                <a:gd name="T1" fmla="*/ 11 h 11"/>
                <a:gd name="T2" fmla="*/ 10 w 10"/>
                <a:gd name="T3" fmla="*/ 9 h 11"/>
                <a:gd name="T4" fmla="*/ 1 w 10"/>
                <a:gd name="T5" fmla="*/ 0 h 11"/>
                <a:gd name="T6" fmla="*/ 0 w 10"/>
                <a:gd name="T7" fmla="*/ 1 h 11"/>
                <a:gd name="T8" fmla="*/ 9 w 10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1">
                  <a:moveTo>
                    <a:pt x="9" y="11"/>
                  </a:moveTo>
                  <a:lnTo>
                    <a:pt x="10" y="9"/>
                  </a:lnTo>
                  <a:lnTo>
                    <a:pt x="1" y="0"/>
                  </a:lnTo>
                  <a:lnTo>
                    <a:pt x="0" y="1"/>
                  </a:lnTo>
                  <a:lnTo>
                    <a:pt x="9" y="11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41" name="Freeform 6544"/>
            <p:cNvSpPr>
              <a:spLocks/>
            </p:cNvSpPr>
            <p:nvPr/>
          </p:nvSpPr>
          <p:spPr bwMode="auto">
            <a:xfrm>
              <a:off x="6034088" y="5216526"/>
              <a:ext cx="17463" cy="20638"/>
            </a:xfrm>
            <a:custGeom>
              <a:avLst/>
              <a:gdLst>
                <a:gd name="T0" fmla="*/ 2 w 11"/>
                <a:gd name="T1" fmla="*/ 13 h 13"/>
                <a:gd name="T2" fmla="*/ 11 w 11"/>
                <a:gd name="T3" fmla="*/ 1 h 13"/>
                <a:gd name="T4" fmla="*/ 10 w 11"/>
                <a:gd name="T5" fmla="*/ 0 h 13"/>
                <a:gd name="T6" fmla="*/ 0 w 11"/>
                <a:gd name="T7" fmla="*/ 12 h 13"/>
                <a:gd name="T8" fmla="*/ 2 w 11"/>
                <a:gd name="T9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3">
                  <a:moveTo>
                    <a:pt x="2" y="13"/>
                  </a:moveTo>
                  <a:lnTo>
                    <a:pt x="11" y="1"/>
                  </a:lnTo>
                  <a:lnTo>
                    <a:pt x="10" y="0"/>
                  </a:lnTo>
                  <a:lnTo>
                    <a:pt x="0" y="12"/>
                  </a:lnTo>
                  <a:lnTo>
                    <a:pt x="2" y="13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42" name="Freeform 6545"/>
            <p:cNvSpPr>
              <a:spLocks/>
            </p:cNvSpPr>
            <p:nvPr/>
          </p:nvSpPr>
          <p:spPr bwMode="auto">
            <a:xfrm>
              <a:off x="6049963" y="5214939"/>
              <a:ext cx="17463" cy="14288"/>
            </a:xfrm>
            <a:custGeom>
              <a:avLst/>
              <a:gdLst>
                <a:gd name="T0" fmla="*/ 9 w 11"/>
                <a:gd name="T1" fmla="*/ 9 h 9"/>
                <a:gd name="T2" fmla="*/ 11 w 11"/>
                <a:gd name="T3" fmla="*/ 6 h 9"/>
                <a:gd name="T4" fmla="*/ 1 w 11"/>
                <a:gd name="T5" fmla="*/ 0 h 9"/>
                <a:gd name="T6" fmla="*/ 0 w 11"/>
                <a:gd name="T7" fmla="*/ 2 h 9"/>
                <a:gd name="T8" fmla="*/ 9 w 11"/>
                <a:gd name="T9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9">
                  <a:moveTo>
                    <a:pt x="9" y="9"/>
                  </a:moveTo>
                  <a:lnTo>
                    <a:pt x="11" y="6"/>
                  </a:lnTo>
                  <a:lnTo>
                    <a:pt x="1" y="0"/>
                  </a:lnTo>
                  <a:lnTo>
                    <a:pt x="0" y="2"/>
                  </a:lnTo>
                  <a:lnTo>
                    <a:pt x="9" y="9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43" name="Freeform 6546"/>
            <p:cNvSpPr>
              <a:spLocks/>
            </p:cNvSpPr>
            <p:nvPr/>
          </p:nvSpPr>
          <p:spPr bwMode="auto">
            <a:xfrm>
              <a:off x="6049963" y="5216526"/>
              <a:ext cx="17463" cy="17463"/>
            </a:xfrm>
            <a:custGeom>
              <a:avLst/>
              <a:gdLst>
                <a:gd name="T0" fmla="*/ 1 w 11"/>
                <a:gd name="T1" fmla="*/ 11 h 11"/>
                <a:gd name="T2" fmla="*/ 11 w 11"/>
                <a:gd name="T3" fmla="*/ 1 h 11"/>
                <a:gd name="T4" fmla="*/ 9 w 11"/>
                <a:gd name="T5" fmla="*/ 0 h 11"/>
                <a:gd name="T6" fmla="*/ 0 w 11"/>
                <a:gd name="T7" fmla="*/ 9 h 11"/>
                <a:gd name="T8" fmla="*/ 1 w 11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1">
                  <a:moveTo>
                    <a:pt x="1" y="11"/>
                  </a:moveTo>
                  <a:lnTo>
                    <a:pt x="11" y="1"/>
                  </a:lnTo>
                  <a:lnTo>
                    <a:pt x="9" y="0"/>
                  </a:lnTo>
                  <a:lnTo>
                    <a:pt x="0" y="9"/>
                  </a:lnTo>
                  <a:lnTo>
                    <a:pt x="1" y="11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44" name="Freeform 6547"/>
            <p:cNvSpPr>
              <a:spLocks/>
            </p:cNvSpPr>
            <p:nvPr/>
          </p:nvSpPr>
          <p:spPr bwMode="auto">
            <a:xfrm>
              <a:off x="6064250" y="5216526"/>
              <a:ext cx="11113" cy="7938"/>
            </a:xfrm>
            <a:custGeom>
              <a:avLst/>
              <a:gdLst>
                <a:gd name="T0" fmla="*/ 5 w 7"/>
                <a:gd name="T1" fmla="*/ 5 h 5"/>
                <a:gd name="T2" fmla="*/ 7 w 7"/>
                <a:gd name="T3" fmla="*/ 3 h 5"/>
                <a:gd name="T4" fmla="*/ 2 w 7"/>
                <a:gd name="T5" fmla="*/ 0 h 5"/>
                <a:gd name="T6" fmla="*/ 0 w 7"/>
                <a:gd name="T7" fmla="*/ 1 h 5"/>
                <a:gd name="T8" fmla="*/ 5 w 7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5">
                  <a:moveTo>
                    <a:pt x="5" y="5"/>
                  </a:moveTo>
                  <a:lnTo>
                    <a:pt x="7" y="3"/>
                  </a:lnTo>
                  <a:lnTo>
                    <a:pt x="2" y="0"/>
                  </a:lnTo>
                  <a:lnTo>
                    <a:pt x="0" y="1"/>
                  </a:lnTo>
                  <a:lnTo>
                    <a:pt x="5" y="5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45" name="Freeform 6548"/>
            <p:cNvSpPr>
              <a:spLocks/>
            </p:cNvSpPr>
            <p:nvPr/>
          </p:nvSpPr>
          <p:spPr bwMode="auto">
            <a:xfrm>
              <a:off x="5975350" y="5214939"/>
              <a:ext cx="12700" cy="9525"/>
            </a:xfrm>
            <a:custGeom>
              <a:avLst/>
              <a:gdLst>
                <a:gd name="T0" fmla="*/ 3 w 8"/>
                <a:gd name="T1" fmla="*/ 6 h 6"/>
                <a:gd name="T2" fmla="*/ 8 w 8"/>
                <a:gd name="T3" fmla="*/ 2 h 6"/>
                <a:gd name="T4" fmla="*/ 7 w 8"/>
                <a:gd name="T5" fmla="*/ 0 h 6"/>
                <a:gd name="T6" fmla="*/ 0 w 8"/>
                <a:gd name="T7" fmla="*/ 4 h 6"/>
                <a:gd name="T8" fmla="*/ 3 w 8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6">
                  <a:moveTo>
                    <a:pt x="3" y="6"/>
                  </a:moveTo>
                  <a:lnTo>
                    <a:pt x="8" y="2"/>
                  </a:lnTo>
                  <a:lnTo>
                    <a:pt x="7" y="0"/>
                  </a:lnTo>
                  <a:lnTo>
                    <a:pt x="0" y="4"/>
                  </a:lnTo>
                  <a:lnTo>
                    <a:pt x="3" y="6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46" name="Freeform 6549"/>
            <p:cNvSpPr>
              <a:spLocks/>
            </p:cNvSpPr>
            <p:nvPr/>
          </p:nvSpPr>
          <p:spPr bwMode="auto">
            <a:xfrm>
              <a:off x="5918200" y="5411789"/>
              <a:ext cx="12700" cy="7938"/>
            </a:xfrm>
            <a:custGeom>
              <a:avLst/>
              <a:gdLst>
                <a:gd name="T0" fmla="*/ 0 w 7"/>
                <a:gd name="T1" fmla="*/ 2 h 4"/>
                <a:gd name="T2" fmla="*/ 2 w 7"/>
                <a:gd name="T3" fmla="*/ 4 h 4"/>
                <a:gd name="T4" fmla="*/ 5 w 7"/>
                <a:gd name="T5" fmla="*/ 4 h 4"/>
                <a:gd name="T6" fmla="*/ 7 w 7"/>
                <a:gd name="T7" fmla="*/ 2 h 4"/>
                <a:gd name="T8" fmla="*/ 7 w 7"/>
                <a:gd name="T9" fmla="*/ 2 h 4"/>
                <a:gd name="T10" fmla="*/ 5 w 7"/>
                <a:gd name="T11" fmla="*/ 0 h 4"/>
                <a:gd name="T12" fmla="*/ 2 w 7"/>
                <a:gd name="T13" fmla="*/ 0 h 4"/>
                <a:gd name="T14" fmla="*/ 0 w 7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4">
                  <a:moveTo>
                    <a:pt x="0" y="2"/>
                  </a:moveTo>
                  <a:cubicBezTo>
                    <a:pt x="0" y="3"/>
                    <a:pt x="1" y="4"/>
                    <a:pt x="2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4"/>
                    <a:pt x="7" y="3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1"/>
                    <a:pt x="6" y="0"/>
                    <a:pt x="5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47" name="Freeform 6550"/>
            <p:cNvSpPr>
              <a:spLocks/>
            </p:cNvSpPr>
            <p:nvPr/>
          </p:nvSpPr>
          <p:spPr bwMode="auto">
            <a:xfrm>
              <a:off x="5918200" y="5419726"/>
              <a:ext cx="12700" cy="4763"/>
            </a:xfrm>
            <a:custGeom>
              <a:avLst/>
              <a:gdLst>
                <a:gd name="T0" fmla="*/ 0 w 7"/>
                <a:gd name="T1" fmla="*/ 1 h 3"/>
                <a:gd name="T2" fmla="*/ 2 w 7"/>
                <a:gd name="T3" fmla="*/ 3 h 3"/>
                <a:gd name="T4" fmla="*/ 5 w 7"/>
                <a:gd name="T5" fmla="*/ 3 h 3"/>
                <a:gd name="T6" fmla="*/ 7 w 7"/>
                <a:gd name="T7" fmla="*/ 1 h 3"/>
                <a:gd name="T8" fmla="*/ 7 w 7"/>
                <a:gd name="T9" fmla="*/ 1 h 3"/>
                <a:gd name="T10" fmla="*/ 5 w 7"/>
                <a:gd name="T11" fmla="*/ 0 h 3"/>
                <a:gd name="T12" fmla="*/ 2 w 7"/>
                <a:gd name="T13" fmla="*/ 0 h 3"/>
                <a:gd name="T14" fmla="*/ 0 w 7"/>
                <a:gd name="T1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3">
                  <a:moveTo>
                    <a:pt x="0" y="1"/>
                  </a:moveTo>
                  <a:cubicBezTo>
                    <a:pt x="0" y="2"/>
                    <a:pt x="1" y="3"/>
                    <a:pt x="2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6" y="3"/>
                    <a:pt x="7" y="2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6" y="0"/>
                    <a:pt x="5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48" name="Freeform 6551"/>
            <p:cNvSpPr>
              <a:spLocks/>
            </p:cNvSpPr>
            <p:nvPr/>
          </p:nvSpPr>
          <p:spPr bwMode="auto">
            <a:xfrm>
              <a:off x="5918200" y="5424489"/>
              <a:ext cx="12700" cy="6350"/>
            </a:xfrm>
            <a:custGeom>
              <a:avLst/>
              <a:gdLst>
                <a:gd name="T0" fmla="*/ 0 w 7"/>
                <a:gd name="T1" fmla="*/ 2 h 3"/>
                <a:gd name="T2" fmla="*/ 2 w 7"/>
                <a:gd name="T3" fmla="*/ 3 h 3"/>
                <a:gd name="T4" fmla="*/ 5 w 7"/>
                <a:gd name="T5" fmla="*/ 3 h 3"/>
                <a:gd name="T6" fmla="*/ 7 w 7"/>
                <a:gd name="T7" fmla="*/ 2 h 3"/>
                <a:gd name="T8" fmla="*/ 7 w 7"/>
                <a:gd name="T9" fmla="*/ 2 h 3"/>
                <a:gd name="T10" fmla="*/ 5 w 7"/>
                <a:gd name="T11" fmla="*/ 0 h 3"/>
                <a:gd name="T12" fmla="*/ 2 w 7"/>
                <a:gd name="T13" fmla="*/ 0 h 3"/>
                <a:gd name="T14" fmla="*/ 0 w 7"/>
                <a:gd name="T15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3">
                  <a:moveTo>
                    <a:pt x="0" y="2"/>
                  </a:moveTo>
                  <a:cubicBezTo>
                    <a:pt x="0" y="3"/>
                    <a:pt x="1" y="3"/>
                    <a:pt x="2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6" y="3"/>
                    <a:pt x="7" y="3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1"/>
                    <a:pt x="6" y="0"/>
                    <a:pt x="5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49" name="Freeform 6552"/>
            <p:cNvSpPr>
              <a:spLocks/>
            </p:cNvSpPr>
            <p:nvPr/>
          </p:nvSpPr>
          <p:spPr bwMode="auto">
            <a:xfrm>
              <a:off x="5918200" y="5430839"/>
              <a:ext cx="12700" cy="6350"/>
            </a:xfrm>
            <a:custGeom>
              <a:avLst/>
              <a:gdLst>
                <a:gd name="T0" fmla="*/ 0 w 7"/>
                <a:gd name="T1" fmla="*/ 2 h 4"/>
                <a:gd name="T2" fmla="*/ 2 w 7"/>
                <a:gd name="T3" fmla="*/ 4 h 4"/>
                <a:gd name="T4" fmla="*/ 5 w 7"/>
                <a:gd name="T5" fmla="*/ 4 h 4"/>
                <a:gd name="T6" fmla="*/ 7 w 7"/>
                <a:gd name="T7" fmla="*/ 2 h 4"/>
                <a:gd name="T8" fmla="*/ 7 w 7"/>
                <a:gd name="T9" fmla="*/ 2 h 4"/>
                <a:gd name="T10" fmla="*/ 5 w 7"/>
                <a:gd name="T11" fmla="*/ 0 h 4"/>
                <a:gd name="T12" fmla="*/ 2 w 7"/>
                <a:gd name="T13" fmla="*/ 0 h 4"/>
                <a:gd name="T14" fmla="*/ 0 w 7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4">
                  <a:moveTo>
                    <a:pt x="0" y="2"/>
                  </a:moveTo>
                  <a:cubicBezTo>
                    <a:pt x="0" y="3"/>
                    <a:pt x="1" y="4"/>
                    <a:pt x="2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4"/>
                    <a:pt x="7" y="3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1"/>
                    <a:pt x="6" y="0"/>
                    <a:pt x="5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50" name="Freeform 6553"/>
            <p:cNvSpPr>
              <a:spLocks/>
            </p:cNvSpPr>
            <p:nvPr/>
          </p:nvSpPr>
          <p:spPr bwMode="auto">
            <a:xfrm>
              <a:off x="6124575" y="5411789"/>
              <a:ext cx="12700" cy="7938"/>
            </a:xfrm>
            <a:custGeom>
              <a:avLst/>
              <a:gdLst>
                <a:gd name="T0" fmla="*/ 0 w 7"/>
                <a:gd name="T1" fmla="*/ 2 h 4"/>
                <a:gd name="T2" fmla="*/ 2 w 7"/>
                <a:gd name="T3" fmla="*/ 4 h 4"/>
                <a:gd name="T4" fmla="*/ 5 w 7"/>
                <a:gd name="T5" fmla="*/ 4 h 4"/>
                <a:gd name="T6" fmla="*/ 7 w 7"/>
                <a:gd name="T7" fmla="*/ 2 h 4"/>
                <a:gd name="T8" fmla="*/ 7 w 7"/>
                <a:gd name="T9" fmla="*/ 2 h 4"/>
                <a:gd name="T10" fmla="*/ 5 w 7"/>
                <a:gd name="T11" fmla="*/ 0 h 4"/>
                <a:gd name="T12" fmla="*/ 2 w 7"/>
                <a:gd name="T13" fmla="*/ 0 h 4"/>
                <a:gd name="T14" fmla="*/ 0 w 7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4">
                  <a:moveTo>
                    <a:pt x="0" y="2"/>
                  </a:moveTo>
                  <a:cubicBezTo>
                    <a:pt x="0" y="3"/>
                    <a:pt x="1" y="4"/>
                    <a:pt x="2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4"/>
                    <a:pt x="7" y="3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1"/>
                    <a:pt x="6" y="0"/>
                    <a:pt x="5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51" name="Freeform 6554"/>
            <p:cNvSpPr>
              <a:spLocks/>
            </p:cNvSpPr>
            <p:nvPr/>
          </p:nvSpPr>
          <p:spPr bwMode="auto">
            <a:xfrm>
              <a:off x="6124575" y="5419726"/>
              <a:ext cx="12700" cy="4763"/>
            </a:xfrm>
            <a:custGeom>
              <a:avLst/>
              <a:gdLst>
                <a:gd name="T0" fmla="*/ 0 w 7"/>
                <a:gd name="T1" fmla="*/ 1 h 3"/>
                <a:gd name="T2" fmla="*/ 2 w 7"/>
                <a:gd name="T3" fmla="*/ 3 h 3"/>
                <a:gd name="T4" fmla="*/ 5 w 7"/>
                <a:gd name="T5" fmla="*/ 3 h 3"/>
                <a:gd name="T6" fmla="*/ 7 w 7"/>
                <a:gd name="T7" fmla="*/ 1 h 3"/>
                <a:gd name="T8" fmla="*/ 7 w 7"/>
                <a:gd name="T9" fmla="*/ 1 h 3"/>
                <a:gd name="T10" fmla="*/ 5 w 7"/>
                <a:gd name="T11" fmla="*/ 0 h 3"/>
                <a:gd name="T12" fmla="*/ 2 w 7"/>
                <a:gd name="T13" fmla="*/ 0 h 3"/>
                <a:gd name="T14" fmla="*/ 0 w 7"/>
                <a:gd name="T1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3">
                  <a:moveTo>
                    <a:pt x="0" y="1"/>
                  </a:moveTo>
                  <a:cubicBezTo>
                    <a:pt x="0" y="2"/>
                    <a:pt x="1" y="3"/>
                    <a:pt x="2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6" y="3"/>
                    <a:pt x="7" y="2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6" y="0"/>
                    <a:pt x="5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52" name="Freeform 6555"/>
            <p:cNvSpPr>
              <a:spLocks/>
            </p:cNvSpPr>
            <p:nvPr/>
          </p:nvSpPr>
          <p:spPr bwMode="auto">
            <a:xfrm>
              <a:off x="6124575" y="5424489"/>
              <a:ext cx="12700" cy="6350"/>
            </a:xfrm>
            <a:custGeom>
              <a:avLst/>
              <a:gdLst>
                <a:gd name="T0" fmla="*/ 0 w 7"/>
                <a:gd name="T1" fmla="*/ 2 h 3"/>
                <a:gd name="T2" fmla="*/ 2 w 7"/>
                <a:gd name="T3" fmla="*/ 3 h 3"/>
                <a:gd name="T4" fmla="*/ 5 w 7"/>
                <a:gd name="T5" fmla="*/ 3 h 3"/>
                <a:gd name="T6" fmla="*/ 7 w 7"/>
                <a:gd name="T7" fmla="*/ 2 h 3"/>
                <a:gd name="T8" fmla="*/ 7 w 7"/>
                <a:gd name="T9" fmla="*/ 2 h 3"/>
                <a:gd name="T10" fmla="*/ 5 w 7"/>
                <a:gd name="T11" fmla="*/ 0 h 3"/>
                <a:gd name="T12" fmla="*/ 2 w 7"/>
                <a:gd name="T13" fmla="*/ 0 h 3"/>
                <a:gd name="T14" fmla="*/ 0 w 7"/>
                <a:gd name="T15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3">
                  <a:moveTo>
                    <a:pt x="0" y="2"/>
                  </a:moveTo>
                  <a:cubicBezTo>
                    <a:pt x="0" y="3"/>
                    <a:pt x="1" y="3"/>
                    <a:pt x="2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6" y="3"/>
                    <a:pt x="7" y="3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1"/>
                    <a:pt x="6" y="0"/>
                    <a:pt x="5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53" name="Freeform 6556"/>
            <p:cNvSpPr>
              <a:spLocks/>
            </p:cNvSpPr>
            <p:nvPr/>
          </p:nvSpPr>
          <p:spPr bwMode="auto">
            <a:xfrm>
              <a:off x="6124575" y="5430839"/>
              <a:ext cx="12700" cy="6350"/>
            </a:xfrm>
            <a:custGeom>
              <a:avLst/>
              <a:gdLst>
                <a:gd name="T0" fmla="*/ 0 w 7"/>
                <a:gd name="T1" fmla="*/ 2 h 4"/>
                <a:gd name="T2" fmla="*/ 2 w 7"/>
                <a:gd name="T3" fmla="*/ 4 h 4"/>
                <a:gd name="T4" fmla="*/ 5 w 7"/>
                <a:gd name="T5" fmla="*/ 4 h 4"/>
                <a:gd name="T6" fmla="*/ 7 w 7"/>
                <a:gd name="T7" fmla="*/ 2 h 4"/>
                <a:gd name="T8" fmla="*/ 7 w 7"/>
                <a:gd name="T9" fmla="*/ 2 h 4"/>
                <a:gd name="T10" fmla="*/ 5 w 7"/>
                <a:gd name="T11" fmla="*/ 0 h 4"/>
                <a:gd name="T12" fmla="*/ 2 w 7"/>
                <a:gd name="T13" fmla="*/ 0 h 4"/>
                <a:gd name="T14" fmla="*/ 0 w 7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4">
                  <a:moveTo>
                    <a:pt x="0" y="2"/>
                  </a:moveTo>
                  <a:cubicBezTo>
                    <a:pt x="0" y="3"/>
                    <a:pt x="1" y="4"/>
                    <a:pt x="2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4"/>
                    <a:pt x="7" y="3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1"/>
                    <a:pt x="6" y="0"/>
                    <a:pt x="5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54" name="Freeform 6557"/>
            <p:cNvSpPr>
              <a:spLocks/>
            </p:cNvSpPr>
            <p:nvPr/>
          </p:nvSpPr>
          <p:spPr bwMode="auto">
            <a:xfrm>
              <a:off x="5948363" y="5216526"/>
              <a:ext cx="12700" cy="4763"/>
            </a:xfrm>
            <a:custGeom>
              <a:avLst/>
              <a:gdLst>
                <a:gd name="T0" fmla="*/ 0 w 7"/>
                <a:gd name="T1" fmla="*/ 1 h 3"/>
                <a:gd name="T2" fmla="*/ 2 w 7"/>
                <a:gd name="T3" fmla="*/ 3 h 3"/>
                <a:gd name="T4" fmla="*/ 5 w 7"/>
                <a:gd name="T5" fmla="*/ 3 h 3"/>
                <a:gd name="T6" fmla="*/ 7 w 7"/>
                <a:gd name="T7" fmla="*/ 1 h 3"/>
                <a:gd name="T8" fmla="*/ 7 w 7"/>
                <a:gd name="T9" fmla="*/ 1 h 3"/>
                <a:gd name="T10" fmla="*/ 5 w 7"/>
                <a:gd name="T11" fmla="*/ 0 h 3"/>
                <a:gd name="T12" fmla="*/ 2 w 7"/>
                <a:gd name="T13" fmla="*/ 0 h 3"/>
                <a:gd name="T14" fmla="*/ 0 w 7"/>
                <a:gd name="T1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3">
                  <a:moveTo>
                    <a:pt x="0" y="1"/>
                  </a:moveTo>
                  <a:cubicBezTo>
                    <a:pt x="0" y="2"/>
                    <a:pt x="1" y="3"/>
                    <a:pt x="2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6" y="3"/>
                    <a:pt x="7" y="2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6" y="0"/>
                    <a:pt x="5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55" name="Freeform 6558"/>
            <p:cNvSpPr>
              <a:spLocks/>
            </p:cNvSpPr>
            <p:nvPr/>
          </p:nvSpPr>
          <p:spPr bwMode="auto">
            <a:xfrm>
              <a:off x="5948363" y="5221289"/>
              <a:ext cx="12700" cy="6350"/>
            </a:xfrm>
            <a:custGeom>
              <a:avLst/>
              <a:gdLst>
                <a:gd name="T0" fmla="*/ 0 w 7"/>
                <a:gd name="T1" fmla="*/ 2 h 3"/>
                <a:gd name="T2" fmla="*/ 2 w 7"/>
                <a:gd name="T3" fmla="*/ 3 h 3"/>
                <a:gd name="T4" fmla="*/ 5 w 7"/>
                <a:gd name="T5" fmla="*/ 3 h 3"/>
                <a:gd name="T6" fmla="*/ 7 w 7"/>
                <a:gd name="T7" fmla="*/ 2 h 3"/>
                <a:gd name="T8" fmla="*/ 7 w 7"/>
                <a:gd name="T9" fmla="*/ 2 h 3"/>
                <a:gd name="T10" fmla="*/ 5 w 7"/>
                <a:gd name="T11" fmla="*/ 0 h 3"/>
                <a:gd name="T12" fmla="*/ 2 w 7"/>
                <a:gd name="T13" fmla="*/ 0 h 3"/>
                <a:gd name="T14" fmla="*/ 0 w 7"/>
                <a:gd name="T15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3">
                  <a:moveTo>
                    <a:pt x="0" y="2"/>
                  </a:moveTo>
                  <a:cubicBezTo>
                    <a:pt x="0" y="3"/>
                    <a:pt x="1" y="3"/>
                    <a:pt x="2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6" y="3"/>
                    <a:pt x="7" y="3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1"/>
                    <a:pt x="6" y="0"/>
                    <a:pt x="5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56" name="Freeform 6559"/>
            <p:cNvSpPr>
              <a:spLocks/>
            </p:cNvSpPr>
            <p:nvPr/>
          </p:nvSpPr>
          <p:spPr bwMode="auto">
            <a:xfrm>
              <a:off x="5948363" y="5227639"/>
              <a:ext cx="12700" cy="6350"/>
            </a:xfrm>
            <a:custGeom>
              <a:avLst/>
              <a:gdLst>
                <a:gd name="T0" fmla="*/ 0 w 7"/>
                <a:gd name="T1" fmla="*/ 2 h 4"/>
                <a:gd name="T2" fmla="*/ 2 w 7"/>
                <a:gd name="T3" fmla="*/ 4 h 4"/>
                <a:gd name="T4" fmla="*/ 5 w 7"/>
                <a:gd name="T5" fmla="*/ 4 h 4"/>
                <a:gd name="T6" fmla="*/ 7 w 7"/>
                <a:gd name="T7" fmla="*/ 2 h 4"/>
                <a:gd name="T8" fmla="*/ 7 w 7"/>
                <a:gd name="T9" fmla="*/ 2 h 4"/>
                <a:gd name="T10" fmla="*/ 5 w 7"/>
                <a:gd name="T11" fmla="*/ 0 h 4"/>
                <a:gd name="T12" fmla="*/ 2 w 7"/>
                <a:gd name="T13" fmla="*/ 0 h 4"/>
                <a:gd name="T14" fmla="*/ 0 w 7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4">
                  <a:moveTo>
                    <a:pt x="0" y="2"/>
                  </a:moveTo>
                  <a:cubicBezTo>
                    <a:pt x="0" y="3"/>
                    <a:pt x="1" y="4"/>
                    <a:pt x="2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4"/>
                    <a:pt x="7" y="3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1"/>
                    <a:pt x="6" y="0"/>
                    <a:pt x="5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57" name="Freeform 6560"/>
            <p:cNvSpPr>
              <a:spLocks/>
            </p:cNvSpPr>
            <p:nvPr/>
          </p:nvSpPr>
          <p:spPr bwMode="auto">
            <a:xfrm>
              <a:off x="5948363" y="5233989"/>
              <a:ext cx="12700" cy="6350"/>
            </a:xfrm>
            <a:custGeom>
              <a:avLst/>
              <a:gdLst>
                <a:gd name="T0" fmla="*/ 0 w 7"/>
                <a:gd name="T1" fmla="*/ 1 h 3"/>
                <a:gd name="T2" fmla="*/ 2 w 7"/>
                <a:gd name="T3" fmla="*/ 3 h 3"/>
                <a:gd name="T4" fmla="*/ 5 w 7"/>
                <a:gd name="T5" fmla="*/ 3 h 3"/>
                <a:gd name="T6" fmla="*/ 7 w 7"/>
                <a:gd name="T7" fmla="*/ 1 h 3"/>
                <a:gd name="T8" fmla="*/ 7 w 7"/>
                <a:gd name="T9" fmla="*/ 1 h 3"/>
                <a:gd name="T10" fmla="*/ 5 w 7"/>
                <a:gd name="T11" fmla="*/ 0 h 3"/>
                <a:gd name="T12" fmla="*/ 2 w 7"/>
                <a:gd name="T13" fmla="*/ 0 h 3"/>
                <a:gd name="T14" fmla="*/ 0 w 7"/>
                <a:gd name="T1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3">
                  <a:moveTo>
                    <a:pt x="0" y="1"/>
                  </a:moveTo>
                  <a:cubicBezTo>
                    <a:pt x="0" y="2"/>
                    <a:pt x="1" y="3"/>
                    <a:pt x="2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6" y="3"/>
                    <a:pt x="7" y="2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6" y="0"/>
                    <a:pt x="5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58" name="Freeform 6561"/>
            <p:cNvSpPr>
              <a:spLocks/>
            </p:cNvSpPr>
            <p:nvPr/>
          </p:nvSpPr>
          <p:spPr bwMode="auto">
            <a:xfrm>
              <a:off x="6092825" y="5216526"/>
              <a:ext cx="12700" cy="4763"/>
            </a:xfrm>
            <a:custGeom>
              <a:avLst/>
              <a:gdLst>
                <a:gd name="T0" fmla="*/ 0 w 7"/>
                <a:gd name="T1" fmla="*/ 1 h 3"/>
                <a:gd name="T2" fmla="*/ 2 w 7"/>
                <a:gd name="T3" fmla="*/ 3 h 3"/>
                <a:gd name="T4" fmla="*/ 5 w 7"/>
                <a:gd name="T5" fmla="*/ 3 h 3"/>
                <a:gd name="T6" fmla="*/ 7 w 7"/>
                <a:gd name="T7" fmla="*/ 1 h 3"/>
                <a:gd name="T8" fmla="*/ 7 w 7"/>
                <a:gd name="T9" fmla="*/ 1 h 3"/>
                <a:gd name="T10" fmla="*/ 5 w 7"/>
                <a:gd name="T11" fmla="*/ 0 h 3"/>
                <a:gd name="T12" fmla="*/ 2 w 7"/>
                <a:gd name="T13" fmla="*/ 0 h 3"/>
                <a:gd name="T14" fmla="*/ 0 w 7"/>
                <a:gd name="T1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3">
                  <a:moveTo>
                    <a:pt x="0" y="1"/>
                  </a:moveTo>
                  <a:cubicBezTo>
                    <a:pt x="0" y="2"/>
                    <a:pt x="1" y="3"/>
                    <a:pt x="2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6" y="3"/>
                    <a:pt x="7" y="2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6" y="0"/>
                    <a:pt x="5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59" name="Freeform 6562"/>
            <p:cNvSpPr>
              <a:spLocks/>
            </p:cNvSpPr>
            <p:nvPr/>
          </p:nvSpPr>
          <p:spPr bwMode="auto">
            <a:xfrm>
              <a:off x="6092825" y="5221289"/>
              <a:ext cx="12700" cy="6350"/>
            </a:xfrm>
            <a:custGeom>
              <a:avLst/>
              <a:gdLst>
                <a:gd name="T0" fmla="*/ 0 w 7"/>
                <a:gd name="T1" fmla="*/ 2 h 3"/>
                <a:gd name="T2" fmla="*/ 2 w 7"/>
                <a:gd name="T3" fmla="*/ 3 h 3"/>
                <a:gd name="T4" fmla="*/ 5 w 7"/>
                <a:gd name="T5" fmla="*/ 3 h 3"/>
                <a:gd name="T6" fmla="*/ 7 w 7"/>
                <a:gd name="T7" fmla="*/ 2 h 3"/>
                <a:gd name="T8" fmla="*/ 7 w 7"/>
                <a:gd name="T9" fmla="*/ 2 h 3"/>
                <a:gd name="T10" fmla="*/ 5 w 7"/>
                <a:gd name="T11" fmla="*/ 0 h 3"/>
                <a:gd name="T12" fmla="*/ 2 w 7"/>
                <a:gd name="T13" fmla="*/ 0 h 3"/>
                <a:gd name="T14" fmla="*/ 0 w 7"/>
                <a:gd name="T15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3">
                  <a:moveTo>
                    <a:pt x="0" y="2"/>
                  </a:moveTo>
                  <a:cubicBezTo>
                    <a:pt x="0" y="3"/>
                    <a:pt x="1" y="3"/>
                    <a:pt x="2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6" y="3"/>
                    <a:pt x="7" y="3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1"/>
                    <a:pt x="6" y="0"/>
                    <a:pt x="5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60" name="Freeform 6563"/>
            <p:cNvSpPr>
              <a:spLocks/>
            </p:cNvSpPr>
            <p:nvPr/>
          </p:nvSpPr>
          <p:spPr bwMode="auto">
            <a:xfrm>
              <a:off x="6092825" y="5227639"/>
              <a:ext cx="12700" cy="6350"/>
            </a:xfrm>
            <a:custGeom>
              <a:avLst/>
              <a:gdLst>
                <a:gd name="T0" fmla="*/ 0 w 7"/>
                <a:gd name="T1" fmla="*/ 2 h 4"/>
                <a:gd name="T2" fmla="*/ 2 w 7"/>
                <a:gd name="T3" fmla="*/ 4 h 4"/>
                <a:gd name="T4" fmla="*/ 5 w 7"/>
                <a:gd name="T5" fmla="*/ 4 h 4"/>
                <a:gd name="T6" fmla="*/ 7 w 7"/>
                <a:gd name="T7" fmla="*/ 2 h 4"/>
                <a:gd name="T8" fmla="*/ 7 w 7"/>
                <a:gd name="T9" fmla="*/ 2 h 4"/>
                <a:gd name="T10" fmla="*/ 5 w 7"/>
                <a:gd name="T11" fmla="*/ 0 h 4"/>
                <a:gd name="T12" fmla="*/ 2 w 7"/>
                <a:gd name="T13" fmla="*/ 0 h 4"/>
                <a:gd name="T14" fmla="*/ 0 w 7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4">
                  <a:moveTo>
                    <a:pt x="0" y="2"/>
                  </a:moveTo>
                  <a:cubicBezTo>
                    <a:pt x="0" y="3"/>
                    <a:pt x="1" y="4"/>
                    <a:pt x="2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4"/>
                    <a:pt x="7" y="3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1"/>
                    <a:pt x="6" y="0"/>
                    <a:pt x="5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61" name="Freeform 6564"/>
            <p:cNvSpPr>
              <a:spLocks/>
            </p:cNvSpPr>
            <p:nvPr/>
          </p:nvSpPr>
          <p:spPr bwMode="auto">
            <a:xfrm>
              <a:off x="6092825" y="5233989"/>
              <a:ext cx="12700" cy="6350"/>
            </a:xfrm>
            <a:custGeom>
              <a:avLst/>
              <a:gdLst>
                <a:gd name="T0" fmla="*/ 0 w 7"/>
                <a:gd name="T1" fmla="*/ 1 h 3"/>
                <a:gd name="T2" fmla="*/ 2 w 7"/>
                <a:gd name="T3" fmla="*/ 3 h 3"/>
                <a:gd name="T4" fmla="*/ 5 w 7"/>
                <a:gd name="T5" fmla="*/ 3 h 3"/>
                <a:gd name="T6" fmla="*/ 7 w 7"/>
                <a:gd name="T7" fmla="*/ 1 h 3"/>
                <a:gd name="T8" fmla="*/ 7 w 7"/>
                <a:gd name="T9" fmla="*/ 1 h 3"/>
                <a:gd name="T10" fmla="*/ 5 w 7"/>
                <a:gd name="T11" fmla="*/ 0 h 3"/>
                <a:gd name="T12" fmla="*/ 2 w 7"/>
                <a:gd name="T13" fmla="*/ 0 h 3"/>
                <a:gd name="T14" fmla="*/ 0 w 7"/>
                <a:gd name="T1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3">
                  <a:moveTo>
                    <a:pt x="0" y="1"/>
                  </a:moveTo>
                  <a:cubicBezTo>
                    <a:pt x="0" y="2"/>
                    <a:pt x="1" y="3"/>
                    <a:pt x="2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6" y="3"/>
                    <a:pt x="7" y="2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6" y="0"/>
                    <a:pt x="5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62" name="Freeform 6565"/>
            <p:cNvSpPr>
              <a:spLocks/>
            </p:cNvSpPr>
            <p:nvPr/>
          </p:nvSpPr>
          <p:spPr bwMode="auto">
            <a:xfrm>
              <a:off x="5873750" y="5335589"/>
              <a:ext cx="11113" cy="6350"/>
            </a:xfrm>
            <a:custGeom>
              <a:avLst/>
              <a:gdLst>
                <a:gd name="T0" fmla="*/ 0 w 6"/>
                <a:gd name="T1" fmla="*/ 1 h 3"/>
                <a:gd name="T2" fmla="*/ 1 w 6"/>
                <a:gd name="T3" fmla="*/ 3 h 3"/>
                <a:gd name="T4" fmla="*/ 5 w 6"/>
                <a:gd name="T5" fmla="*/ 3 h 3"/>
                <a:gd name="T6" fmla="*/ 6 w 6"/>
                <a:gd name="T7" fmla="*/ 1 h 3"/>
                <a:gd name="T8" fmla="*/ 6 w 6"/>
                <a:gd name="T9" fmla="*/ 1 h 3"/>
                <a:gd name="T10" fmla="*/ 5 w 6"/>
                <a:gd name="T11" fmla="*/ 0 h 3"/>
                <a:gd name="T12" fmla="*/ 1 w 6"/>
                <a:gd name="T13" fmla="*/ 0 h 3"/>
                <a:gd name="T14" fmla="*/ 0 w 6"/>
                <a:gd name="T1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3">
                  <a:moveTo>
                    <a:pt x="0" y="1"/>
                  </a:moveTo>
                  <a:cubicBezTo>
                    <a:pt x="0" y="2"/>
                    <a:pt x="1" y="3"/>
                    <a:pt x="1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6" y="3"/>
                    <a:pt x="6" y="2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63" name="Freeform 6566"/>
            <p:cNvSpPr>
              <a:spLocks/>
            </p:cNvSpPr>
            <p:nvPr/>
          </p:nvSpPr>
          <p:spPr bwMode="auto">
            <a:xfrm>
              <a:off x="5873750" y="5341939"/>
              <a:ext cx="11113" cy="4763"/>
            </a:xfrm>
            <a:custGeom>
              <a:avLst/>
              <a:gdLst>
                <a:gd name="T0" fmla="*/ 0 w 6"/>
                <a:gd name="T1" fmla="*/ 2 h 3"/>
                <a:gd name="T2" fmla="*/ 1 w 6"/>
                <a:gd name="T3" fmla="*/ 3 h 3"/>
                <a:gd name="T4" fmla="*/ 5 w 6"/>
                <a:gd name="T5" fmla="*/ 3 h 3"/>
                <a:gd name="T6" fmla="*/ 6 w 6"/>
                <a:gd name="T7" fmla="*/ 2 h 3"/>
                <a:gd name="T8" fmla="*/ 6 w 6"/>
                <a:gd name="T9" fmla="*/ 2 h 3"/>
                <a:gd name="T10" fmla="*/ 5 w 6"/>
                <a:gd name="T11" fmla="*/ 0 h 3"/>
                <a:gd name="T12" fmla="*/ 1 w 6"/>
                <a:gd name="T13" fmla="*/ 0 h 3"/>
                <a:gd name="T14" fmla="*/ 0 w 6"/>
                <a:gd name="T15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3">
                  <a:moveTo>
                    <a:pt x="0" y="2"/>
                  </a:moveTo>
                  <a:cubicBezTo>
                    <a:pt x="0" y="3"/>
                    <a:pt x="1" y="3"/>
                    <a:pt x="1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6" y="3"/>
                    <a:pt x="6" y="3"/>
                    <a:pt x="6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1"/>
                    <a:pt x="6" y="0"/>
                    <a:pt x="5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64" name="Freeform 6567"/>
            <p:cNvSpPr>
              <a:spLocks/>
            </p:cNvSpPr>
            <p:nvPr/>
          </p:nvSpPr>
          <p:spPr bwMode="auto">
            <a:xfrm>
              <a:off x="5873750" y="5346701"/>
              <a:ext cx="11113" cy="7938"/>
            </a:xfrm>
            <a:custGeom>
              <a:avLst/>
              <a:gdLst>
                <a:gd name="T0" fmla="*/ 0 w 6"/>
                <a:gd name="T1" fmla="*/ 2 h 4"/>
                <a:gd name="T2" fmla="*/ 1 w 6"/>
                <a:gd name="T3" fmla="*/ 4 h 4"/>
                <a:gd name="T4" fmla="*/ 5 w 6"/>
                <a:gd name="T5" fmla="*/ 4 h 4"/>
                <a:gd name="T6" fmla="*/ 6 w 6"/>
                <a:gd name="T7" fmla="*/ 2 h 4"/>
                <a:gd name="T8" fmla="*/ 6 w 6"/>
                <a:gd name="T9" fmla="*/ 2 h 4"/>
                <a:gd name="T10" fmla="*/ 5 w 6"/>
                <a:gd name="T11" fmla="*/ 0 h 4"/>
                <a:gd name="T12" fmla="*/ 1 w 6"/>
                <a:gd name="T13" fmla="*/ 0 h 4"/>
                <a:gd name="T14" fmla="*/ 0 w 6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4">
                  <a:moveTo>
                    <a:pt x="0" y="2"/>
                  </a:moveTo>
                  <a:cubicBezTo>
                    <a:pt x="0" y="3"/>
                    <a:pt x="1" y="4"/>
                    <a:pt x="1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4"/>
                    <a:pt x="6" y="3"/>
                    <a:pt x="6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1"/>
                    <a:pt x="6" y="0"/>
                    <a:pt x="5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65" name="Freeform 6568"/>
            <p:cNvSpPr>
              <a:spLocks/>
            </p:cNvSpPr>
            <p:nvPr/>
          </p:nvSpPr>
          <p:spPr bwMode="auto">
            <a:xfrm>
              <a:off x="5873750" y="5354639"/>
              <a:ext cx="11113" cy="4763"/>
            </a:xfrm>
            <a:custGeom>
              <a:avLst/>
              <a:gdLst>
                <a:gd name="T0" fmla="*/ 0 w 6"/>
                <a:gd name="T1" fmla="*/ 1 h 3"/>
                <a:gd name="T2" fmla="*/ 1 w 6"/>
                <a:gd name="T3" fmla="*/ 3 h 3"/>
                <a:gd name="T4" fmla="*/ 5 w 6"/>
                <a:gd name="T5" fmla="*/ 3 h 3"/>
                <a:gd name="T6" fmla="*/ 6 w 6"/>
                <a:gd name="T7" fmla="*/ 1 h 3"/>
                <a:gd name="T8" fmla="*/ 6 w 6"/>
                <a:gd name="T9" fmla="*/ 1 h 3"/>
                <a:gd name="T10" fmla="*/ 5 w 6"/>
                <a:gd name="T11" fmla="*/ 0 h 3"/>
                <a:gd name="T12" fmla="*/ 1 w 6"/>
                <a:gd name="T13" fmla="*/ 0 h 3"/>
                <a:gd name="T14" fmla="*/ 0 w 6"/>
                <a:gd name="T1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3">
                  <a:moveTo>
                    <a:pt x="0" y="1"/>
                  </a:moveTo>
                  <a:cubicBezTo>
                    <a:pt x="0" y="2"/>
                    <a:pt x="1" y="3"/>
                    <a:pt x="1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6" y="3"/>
                    <a:pt x="6" y="2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66" name="Freeform 6569"/>
            <p:cNvSpPr>
              <a:spLocks/>
            </p:cNvSpPr>
            <p:nvPr/>
          </p:nvSpPr>
          <p:spPr bwMode="auto">
            <a:xfrm>
              <a:off x="5873750" y="5359401"/>
              <a:ext cx="11113" cy="6350"/>
            </a:xfrm>
            <a:custGeom>
              <a:avLst/>
              <a:gdLst>
                <a:gd name="T0" fmla="*/ 0 w 6"/>
                <a:gd name="T1" fmla="*/ 2 h 3"/>
                <a:gd name="T2" fmla="*/ 1 w 6"/>
                <a:gd name="T3" fmla="*/ 3 h 3"/>
                <a:gd name="T4" fmla="*/ 5 w 6"/>
                <a:gd name="T5" fmla="*/ 3 h 3"/>
                <a:gd name="T6" fmla="*/ 6 w 6"/>
                <a:gd name="T7" fmla="*/ 2 h 3"/>
                <a:gd name="T8" fmla="*/ 6 w 6"/>
                <a:gd name="T9" fmla="*/ 2 h 3"/>
                <a:gd name="T10" fmla="*/ 5 w 6"/>
                <a:gd name="T11" fmla="*/ 0 h 3"/>
                <a:gd name="T12" fmla="*/ 1 w 6"/>
                <a:gd name="T13" fmla="*/ 0 h 3"/>
                <a:gd name="T14" fmla="*/ 0 w 6"/>
                <a:gd name="T15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3">
                  <a:moveTo>
                    <a:pt x="0" y="2"/>
                  </a:moveTo>
                  <a:cubicBezTo>
                    <a:pt x="0" y="2"/>
                    <a:pt x="1" y="3"/>
                    <a:pt x="1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1"/>
                    <a:pt x="6" y="0"/>
                    <a:pt x="5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67" name="Freeform 6570"/>
            <p:cNvSpPr>
              <a:spLocks/>
            </p:cNvSpPr>
            <p:nvPr/>
          </p:nvSpPr>
          <p:spPr bwMode="auto">
            <a:xfrm>
              <a:off x="5873750" y="5365751"/>
              <a:ext cx="11113" cy="6350"/>
            </a:xfrm>
            <a:custGeom>
              <a:avLst/>
              <a:gdLst>
                <a:gd name="T0" fmla="*/ 0 w 6"/>
                <a:gd name="T1" fmla="*/ 2 h 4"/>
                <a:gd name="T2" fmla="*/ 1 w 6"/>
                <a:gd name="T3" fmla="*/ 4 h 4"/>
                <a:gd name="T4" fmla="*/ 5 w 6"/>
                <a:gd name="T5" fmla="*/ 4 h 4"/>
                <a:gd name="T6" fmla="*/ 6 w 6"/>
                <a:gd name="T7" fmla="*/ 2 h 4"/>
                <a:gd name="T8" fmla="*/ 6 w 6"/>
                <a:gd name="T9" fmla="*/ 2 h 4"/>
                <a:gd name="T10" fmla="*/ 5 w 6"/>
                <a:gd name="T11" fmla="*/ 0 h 4"/>
                <a:gd name="T12" fmla="*/ 1 w 6"/>
                <a:gd name="T13" fmla="*/ 0 h 4"/>
                <a:gd name="T14" fmla="*/ 0 w 6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4">
                  <a:moveTo>
                    <a:pt x="0" y="2"/>
                  </a:moveTo>
                  <a:cubicBezTo>
                    <a:pt x="0" y="3"/>
                    <a:pt x="1" y="4"/>
                    <a:pt x="1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4"/>
                    <a:pt x="6" y="3"/>
                    <a:pt x="6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1"/>
                    <a:pt x="6" y="0"/>
                    <a:pt x="5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68" name="Freeform 6571"/>
            <p:cNvSpPr>
              <a:spLocks/>
            </p:cNvSpPr>
            <p:nvPr/>
          </p:nvSpPr>
          <p:spPr bwMode="auto">
            <a:xfrm>
              <a:off x="6169025" y="5335589"/>
              <a:ext cx="9525" cy="6350"/>
            </a:xfrm>
            <a:custGeom>
              <a:avLst/>
              <a:gdLst>
                <a:gd name="T0" fmla="*/ 0 w 6"/>
                <a:gd name="T1" fmla="*/ 1 h 3"/>
                <a:gd name="T2" fmla="*/ 1 w 6"/>
                <a:gd name="T3" fmla="*/ 3 h 3"/>
                <a:gd name="T4" fmla="*/ 5 w 6"/>
                <a:gd name="T5" fmla="*/ 3 h 3"/>
                <a:gd name="T6" fmla="*/ 6 w 6"/>
                <a:gd name="T7" fmla="*/ 1 h 3"/>
                <a:gd name="T8" fmla="*/ 6 w 6"/>
                <a:gd name="T9" fmla="*/ 1 h 3"/>
                <a:gd name="T10" fmla="*/ 5 w 6"/>
                <a:gd name="T11" fmla="*/ 0 h 3"/>
                <a:gd name="T12" fmla="*/ 1 w 6"/>
                <a:gd name="T13" fmla="*/ 0 h 3"/>
                <a:gd name="T14" fmla="*/ 0 w 6"/>
                <a:gd name="T1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3">
                  <a:moveTo>
                    <a:pt x="0" y="1"/>
                  </a:moveTo>
                  <a:cubicBezTo>
                    <a:pt x="0" y="2"/>
                    <a:pt x="0" y="3"/>
                    <a:pt x="1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6" y="3"/>
                    <a:pt x="6" y="2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69" name="Freeform 6572"/>
            <p:cNvSpPr>
              <a:spLocks/>
            </p:cNvSpPr>
            <p:nvPr/>
          </p:nvSpPr>
          <p:spPr bwMode="auto">
            <a:xfrm>
              <a:off x="6169025" y="5341939"/>
              <a:ext cx="9525" cy="4763"/>
            </a:xfrm>
            <a:custGeom>
              <a:avLst/>
              <a:gdLst>
                <a:gd name="T0" fmla="*/ 0 w 6"/>
                <a:gd name="T1" fmla="*/ 2 h 3"/>
                <a:gd name="T2" fmla="*/ 1 w 6"/>
                <a:gd name="T3" fmla="*/ 3 h 3"/>
                <a:gd name="T4" fmla="*/ 5 w 6"/>
                <a:gd name="T5" fmla="*/ 3 h 3"/>
                <a:gd name="T6" fmla="*/ 6 w 6"/>
                <a:gd name="T7" fmla="*/ 2 h 3"/>
                <a:gd name="T8" fmla="*/ 6 w 6"/>
                <a:gd name="T9" fmla="*/ 2 h 3"/>
                <a:gd name="T10" fmla="*/ 5 w 6"/>
                <a:gd name="T11" fmla="*/ 0 h 3"/>
                <a:gd name="T12" fmla="*/ 1 w 6"/>
                <a:gd name="T13" fmla="*/ 0 h 3"/>
                <a:gd name="T14" fmla="*/ 0 w 6"/>
                <a:gd name="T15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3">
                  <a:moveTo>
                    <a:pt x="0" y="2"/>
                  </a:moveTo>
                  <a:cubicBezTo>
                    <a:pt x="0" y="3"/>
                    <a:pt x="0" y="3"/>
                    <a:pt x="1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6" y="3"/>
                    <a:pt x="6" y="3"/>
                    <a:pt x="6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1"/>
                    <a:pt x="6" y="0"/>
                    <a:pt x="5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70" name="Freeform 6573"/>
            <p:cNvSpPr>
              <a:spLocks/>
            </p:cNvSpPr>
            <p:nvPr/>
          </p:nvSpPr>
          <p:spPr bwMode="auto">
            <a:xfrm>
              <a:off x="6169025" y="5346701"/>
              <a:ext cx="9525" cy="7938"/>
            </a:xfrm>
            <a:custGeom>
              <a:avLst/>
              <a:gdLst>
                <a:gd name="T0" fmla="*/ 0 w 6"/>
                <a:gd name="T1" fmla="*/ 2 h 4"/>
                <a:gd name="T2" fmla="*/ 1 w 6"/>
                <a:gd name="T3" fmla="*/ 4 h 4"/>
                <a:gd name="T4" fmla="*/ 5 w 6"/>
                <a:gd name="T5" fmla="*/ 4 h 4"/>
                <a:gd name="T6" fmla="*/ 6 w 6"/>
                <a:gd name="T7" fmla="*/ 2 h 4"/>
                <a:gd name="T8" fmla="*/ 6 w 6"/>
                <a:gd name="T9" fmla="*/ 2 h 4"/>
                <a:gd name="T10" fmla="*/ 5 w 6"/>
                <a:gd name="T11" fmla="*/ 0 h 4"/>
                <a:gd name="T12" fmla="*/ 1 w 6"/>
                <a:gd name="T13" fmla="*/ 0 h 4"/>
                <a:gd name="T14" fmla="*/ 0 w 6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4">
                  <a:moveTo>
                    <a:pt x="0" y="2"/>
                  </a:moveTo>
                  <a:cubicBezTo>
                    <a:pt x="0" y="3"/>
                    <a:pt x="0" y="4"/>
                    <a:pt x="1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4"/>
                    <a:pt x="6" y="3"/>
                    <a:pt x="6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1"/>
                    <a:pt x="6" y="0"/>
                    <a:pt x="5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71" name="Freeform 6574"/>
            <p:cNvSpPr>
              <a:spLocks/>
            </p:cNvSpPr>
            <p:nvPr/>
          </p:nvSpPr>
          <p:spPr bwMode="auto">
            <a:xfrm>
              <a:off x="6169025" y="5354639"/>
              <a:ext cx="9525" cy="4763"/>
            </a:xfrm>
            <a:custGeom>
              <a:avLst/>
              <a:gdLst>
                <a:gd name="T0" fmla="*/ 0 w 6"/>
                <a:gd name="T1" fmla="*/ 1 h 3"/>
                <a:gd name="T2" fmla="*/ 1 w 6"/>
                <a:gd name="T3" fmla="*/ 3 h 3"/>
                <a:gd name="T4" fmla="*/ 5 w 6"/>
                <a:gd name="T5" fmla="*/ 3 h 3"/>
                <a:gd name="T6" fmla="*/ 6 w 6"/>
                <a:gd name="T7" fmla="*/ 1 h 3"/>
                <a:gd name="T8" fmla="*/ 6 w 6"/>
                <a:gd name="T9" fmla="*/ 1 h 3"/>
                <a:gd name="T10" fmla="*/ 5 w 6"/>
                <a:gd name="T11" fmla="*/ 0 h 3"/>
                <a:gd name="T12" fmla="*/ 1 w 6"/>
                <a:gd name="T13" fmla="*/ 0 h 3"/>
                <a:gd name="T14" fmla="*/ 0 w 6"/>
                <a:gd name="T1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3">
                  <a:moveTo>
                    <a:pt x="0" y="1"/>
                  </a:moveTo>
                  <a:cubicBezTo>
                    <a:pt x="0" y="2"/>
                    <a:pt x="0" y="3"/>
                    <a:pt x="1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6" y="3"/>
                    <a:pt x="6" y="2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72" name="Freeform 6575"/>
            <p:cNvSpPr>
              <a:spLocks/>
            </p:cNvSpPr>
            <p:nvPr/>
          </p:nvSpPr>
          <p:spPr bwMode="auto">
            <a:xfrm>
              <a:off x="6169025" y="5359401"/>
              <a:ext cx="9525" cy="6350"/>
            </a:xfrm>
            <a:custGeom>
              <a:avLst/>
              <a:gdLst>
                <a:gd name="T0" fmla="*/ 0 w 6"/>
                <a:gd name="T1" fmla="*/ 2 h 3"/>
                <a:gd name="T2" fmla="*/ 1 w 6"/>
                <a:gd name="T3" fmla="*/ 3 h 3"/>
                <a:gd name="T4" fmla="*/ 5 w 6"/>
                <a:gd name="T5" fmla="*/ 3 h 3"/>
                <a:gd name="T6" fmla="*/ 6 w 6"/>
                <a:gd name="T7" fmla="*/ 2 h 3"/>
                <a:gd name="T8" fmla="*/ 6 w 6"/>
                <a:gd name="T9" fmla="*/ 2 h 3"/>
                <a:gd name="T10" fmla="*/ 5 w 6"/>
                <a:gd name="T11" fmla="*/ 0 h 3"/>
                <a:gd name="T12" fmla="*/ 1 w 6"/>
                <a:gd name="T13" fmla="*/ 0 h 3"/>
                <a:gd name="T14" fmla="*/ 0 w 6"/>
                <a:gd name="T15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3">
                  <a:moveTo>
                    <a:pt x="0" y="2"/>
                  </a:moveTo>
                  <a:cubicBezTo>
                    <a:pt x="0" y="2"/>
                    <a:pt x="0" y="3"/>
                    <a:pt x="1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1"/>
                    <a:pt x="6" y="0"/>
                    <a:pt x="5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73" name="Freeform 6576"/>
            <p:cNvSpPr>
              <a:spLocks/>
            </p:cNvSpPr>
            <p:nvPr/>
          </p:nvSpPr>
          <p:spPr bwMode="auto">
            <a:xfrm>
              <a:off x="6169025" y="5365751"/>
              <a:ext cx="9525" cy="6350"/>
            </a:xfrm>
            <a:custGeom>
              <a:avLst/>
              <a:gdLst>
                <a:gd name="T0" fmla="*/ 0 w 6"/>
                <a:gd name="T1" fmla="*/ 2 h 4"/>
                <a:gd name="T2" fmla="*/ 1 w 6"/>
                <a:gd name="T3" fmla="*/ 4 h 4"/>
                <a:gd name="T4" fmla="*/ 5 w 6"/>
                <a:gd name="T5" fmla="*/ 4 h 4"/>
                <a:gd name="T6" fmla="*/ 6 w 6"/>
                <a:gd name="T7" fmla="*/ 2 h 4"/>
                <a:gd name="T8" fmla="*/ 6 w 6"/>
                <a:gd name="T9" fmla="*/ 2 h 4"/>
                <a:gd name="T10" fmla="*/ 5 w 6"/>
                <a:gd name="T11" fmla="*/ 0 h 4"/>
                <a:gd name="T12" fmla="*/ 1 w 6"/>
                <a:gd name="T13" fmla="*/ 0 h 4"/>
                <a:gd name="T14" fmla="*/ 0 w 6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4">
                  <a:moveTo>
                    <a:pt x="0" y="2"/>
                  </a:moveTo>
                  <a:cubicBezTo>
                    <a:pt x="0" y="3"/>
                    <a:pt x="0" y="4"/>
                    <a:pt x="1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4"/>
                    <a:pt x="6" y="3"/>
                    <a:pt x="6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1"/>
                    <a:pt x="6" y="0"/>
                    <a:pt x="5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8974" name="Group 8973"/>
          <p:cNvGrpSpPr/>
          <p:nvPr/>
        </p:nvGrpSpPr>
        <p:grpSpPr>
          <a:xfrm>
            <a:off x="8575675" y="1375714"/>
            <a:ext cx="549395" cy="974186"/>
            <a:chOff x="5873750" y="5121276"/>
            <a:chExt cx="307975" cy="546101"/>
          </a:xfrm>
        </p:grpSpPr>
        <p:sp>
          <p:nvSpPr>
            <p:cNvPr id="8975" name="Freeform 6461"/>
            <p:cNvSpPr>
              <a:spLocks/>
            </p:cNvSpPr>
            <p:nvPr/>
          </p:nvSpPr>
          <p:spPr bwMode="auto">
            <a:xfrm>
              <a:off x="6007100" y="5121276"/>
              <a:ext cx="39688" cy="265113"/>
            </a:xfrm>
            <a:custGeom>
              <a:avLst/>
              <a:gdLst>
                <a:gd name="T0" fmla="*/ 2 w 25"/>
                <a:gd name="T1" fmla="*/ 167 h 167"/>
                <a:gd name="T2" fmla="*/ 12 w 25"/>
                <a:gd name="T3" fmla="*/ 17 h 167"/>
                <a:gd name="T4" fmla="*/ 23 w 25"/>
                <a:gd name="T5" fmla="*/ 167 h 167"/>
                <a:gd name="T6" fmla="*/ 25 w 25"/>
                <a:gd name="T7" fmla="*/ 167 h 167"/>
                <a:gd name="T8" fmla="*/ 14 w 25"/>
                <a:gd name="T9" fmla="*/ 0 h 167"/>
                <a:gd name="T10" fmla="*/ 11 w 25"/>
                <a:gd name="T11" fmla="*/ 0 h 167"/>
                <a:gd name="T12" fmla="*/ 0 w 25"/>
                <a:gd name="T13" fmla="*/ 167 h 167"/>
                <a:gd name="T14" fmla="*/ 2 w 25"/>
                <a:gd name="T15" fmla="*/ 16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167">
                  <a:moveTo>
                    <a:pt x="2" y="167"/>
                  </a:moveTo>
                  <a:lnTo>
                    <a:pt x="12" y="17"/>
                  </a:lnTo>
                  <a:lnTo>
                    <a:pt x="23" y="167"/>
                  </a:lnTo>
                  <a:lnTo>
                    <a:pt x="25" y="167"/>
                  </a:lnTo>
                  <a:lnTo>
                    <a:pt x="14" y="0"/>
                  </a:lnTo>
                  <a:lnTo>
                    <a:pt x="11" y="0"/>
                  </a:lnTo>
                  <a:lnTo>
                    <a:pt x="0" y="167"/>
                  </a:lnTo>
                  <a:lnTo>
                    <a:pt x="2" y="167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76" name="Freeform 6462"/>
            <p:cNvSpPr>
              <a:spLocks/>
            </p:cNvSpPr>
            <p:nvPr/>
          </p:nvSpPr>
          <p:spPr bwMode="auto">
            <a:xfrm>
              <a:off x="5981700" y="5410201"/>
              <a:ext cx="90488" cy="257175"/>
            </a:xfrm>
            <a:custGeom>
              <a:avLst/>
              <a:gdLst>
                <a:gd name="T0" fmla="*/ 0 w 57"/>
                <a:gd name="T1" fmla="*/ 162 h 162"/>
                <a:gd name="T2" fmla="*/ 57 w 57"/>
                <a:gd name="T3" fmla="*/ 162 h 162"/>
                <a:gd name="T4" fmla="*/ 42 w 57"/>
                <a:gd name="T5" fmla="*/ 0 h 162"/>
                <a:gd name="T6" fmla="*/ 40 w 57"/>
                <a:gd name="T7" fmla="*/ 1 h 162"/>
                <a:gd name="T8" fmla="*/ 55 w 57"/>
                <a:gd name="T9" fmla="*/ 159 h 162"/>
                <a:gd name="T10" fmla="*/ 2 w 57"/>
                <a:gd name="T11" fmla="*/ 159 h 162"/>
                <a:gd name="T12" fmla="*/ 17 w 57"/>
                <a:gd name="T13" fmla="*/ 1 h 162"/>
                <a:gd name="T14" fmla="*/ 15 w 57"/>
                <a:gd name="T15" fmla="*/ 0 h 162"/>
                <a:gd name="T16" fmla="*/ 0 w 57"/>
                <a:gd name="T17" fmla="*/ 16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7" h="162">
                  <a:moveTo>
                    <a:pt x="0" y="162"/>
                  </a:moveTo>
                  <a:lnTo>
                    <a:pt x="57" y="162"/>
                  </a:lnTo>
                  <a:lnTo>
                    <a:pt x="42" y="0"/>
                  </a:lnTo>
                  <a:lnTo>
                    <a:pt x="40" y="1"/>
                  </a:lnTo>
                  <a:lnTo>
                    <a:pt x="55" y="159"/>
                  </a:lnTo>
                  <a:lnTo>
                    <a:pt x="2" y="159"/>
                  </a:lnTo>
                  <a:lnTo>
                    <a:pt x="17" y="1"/>
                  </a:lnTo>
                  <a:lnTo>
                    <a:pt x="15" y="0"/>
                  </a:lnTo>
                  <a:lnTo>
                    <a:pt x="0" y="162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77" name="Freeform 6463"/>
            <p:cNvSpPr>
              <a:spLocks/>
            </p:cNvSpPr>
            <p:nvPr/>
          </p:nvSpPr>
          <p:spPr bwMode="auto">
            <a:xfrm>
              <a:off x="6034088" y="5214939"/>
              <a:ext cx="68263" cy="25400"/>
            </a:xfrm>
            <a:custGeom>
              <a:avLst/>
              <a:gdLst>
                <a:gd name="T0" fmla="*/ 1 w 43"/>
                <a:gd name="T1" fmla="*/ 16 h 16"/>
                <a:gd name="T2" fmla="*/ 43 w 43"/>
                <a:gd name="T3" fmla="*/ 0 h 16"/>
                <a:gd name="T4" fmla="*/ 0 w 43"/>
                <a:gd name="T5" fmla="*/ 0 h 16"/>
                <a:gd name="T6" fmla="*/ 0 w 43"/>
                <a:gd name="T7" fmla="*/ 2 h 16"/>
                <a:gd name="T8" fmla="*/ 30 w 43"/>
                <a:gd name="T9" fmla="*/ 2 h 16"/>
                <a:gd name="T10" fmla="*/ 0 w 43"/>
                <a:gd name="T11" fmla="*/ 13 h 16"/>
                <a:gd name="T12" fmla="*/ 1 w 43"/>
                <a:gd name="T13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16">
                  <a:moveTo>
                    <a:pt x="1" y="16"/>
                  </a:moveTo>
                  <a:lnTo>
                    <a:pt x="43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30" y="2"/>
                  </a:lnTo>
                  <a:lnTo>
                    <a:pt x="0" y="13"/>
                  </a:lnTo>
                  <a:lnTo>
                    <a:pt x="1" y="16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78" name="Freeform 6464"/>
            <p:cNvSpPr>
              <a:spLocks/>
            </p:cNvSpPr>
            <p:nvPr/>
          </p:nvSpPr>
          <p:spPr bwMode="auto">
            <a:xfrm>
              <a:off x="5949950" y="5214939"/>
              <a:ext cx="69850" cy="25400"/>
            </a:xfrm>
            <a:custGeom>
              <a:avLst/>
              <a:gdLst>
                <a:gd name="T0" fmla="*/ 43 w 44"/>
                <a:gd name="T1" fmla="*/ 16 h 16"/>
                <a:gd name="T2" fmla="*/ 44 w 44"/>
                <a:gd name="T3" fmla="*/ 13 h 16"/>
                <a:gd name="T4" fmla="*/ 14 w 44"/>
                <a:gd name="T5" fmla="*/ 2 h 16"/>
                <a:gd name="T6" fmla="*/ 44 w 44"/>
                <a:gd name="T7" fmla="*/ 2 h 16"/>
                <a:gd name="T8" fmla="*/ 44 w 44"/>
                <a:gd name="T9" fmla="*/ 0 h 16"/>
                <a:gd name="T10" fmla="*/ 0 w 44"/>
                <a:gd name="T11" fmla="*/ 0 h 16"/>
                <a:gd name="T12" fmla="*/ 43 w 44"/>
                <a:gd name="T13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" h="16">
                  <a:moveTo>
                    <a:pt x="43" y="16"/>
                  </a:moveTo>
                  <a:lnTo>
                    <a:pt x="44" y="13"/>
                  </a:lnTo>
                  <a:lnTo>
                    <a:pt x="14" y="2"/>
                  </a:lnTo>
                  <a:lnTo>
                    <a:pt x="44" y="2"/>
                  </a:lnTo>
                  <a:lnTo>
                    <a:pt x="44" y="0"/>
                  </a:lnTo>
                  <a:lnTo>
                    <a:pt x="0" y="0"/>
                  </a:lnTo>
                  <a:lnTo>
                    <a:pt x="43" y="16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79" name="Freeform 6465"/>
            <p:cNvSpPr>
              <a:spLocks/>
            </p:cNvSpPr>
            <p:nvPr/>
          </p:nvSpPr>
          <p:spPr bwMode="auto">
            <a:xfrm>
              <a:off x="5873750" y="5303839"/>
              <a:ext cx="139700" cy="31750"/>
            </a:xfrm>
            <a:custGeom>
              <a:avLst/>
              <a:gdLst>
                <a:gd name="T0" fmla="*/ 0 w 88"/>
                <a:gd name="T1" fmla="*/ 20 h 20"/>
                <a:gd name="T2" fmla="*/ 87 w 88"/>
                <a:gd name="T3" fmla="*/ 20 h 20"/>
                <a:gd name="T4" fmla="*/ 87 w 88"/>
                <a:gd name="T5" fmla="*/ 18 h 20"/>
                <a:gd name="T6" fmla="*/ 13 w 88"/>
                <a:gd name="T7" fmla="*/ 18 h 20"/>
                <a:gd name="T8" fmla="*/ 88 w 88"/>
                <a:gd name="T9" fmla="*/ 2 h 20"/>
                <a:gd name="T10" fmla="*/ 88 w 88"/>
                <a:gd name="T11" fmla="*/ 0 h 20"/>
                <a:gd name="T12" fmla="*/ 0 w 88"/>
                <a:gd name="T13" fmla="*/ 18 h 20"/>
                <a:gd name="T14" fmla="*/ 0 w 88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8" h="20">
                  <a:moveTo>
                    <a:pt x="0" y="20"/>
                  </a:moveTo>
                  <a:lnTo>
                    <a:pt x="87" y="20"/>
                  </a:lnTo>
                  <a:lnTo>
                    <a:pt x="87" y="18"/>
                  </a:lnTo>
                  <a:lnTo>
                    <a:pt x="13" y="18"/>
                  </a:lnTo>
                  <a:lnTo>
                    <a:pt x="88" y="2"/>
                  </a:lnTo>
                  <a:lnTo>
                    <a:pt x="88" y="0"/>
                  </a:lnTo>
                  <a:lnTo>
                    <a:pt x="0" y="18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80" name="Freeform 6466"/>
            <p:cNvSpPr>
              <a:spLocks/>
            </p:cNvSpPr>
            <p:nvPr/>
          </p:nvSpPr>
          <p:spPr bwMode="auto">
            <a:xfrm>
              <a:off x="6038850" y="5303839"/>
              <a:ext cx="142875" cy="31750"/>
            </a:xfrm>
            <a:custGeom>
              <a:avLst/>
              <a:gdLst>
                <a:gd name="T0" fmla="*/ 2 w 90"/>
                <a:gd name="T1" fmla="*/ 20 h 20"/>
                <a:gd name="T2" fmla="*/ 88 w 90"/>
                <a:gd name="T3" fmla="*/ 20 h 20"/>
                <a:gd name="T4" fmla="*/ 90 w 90"/>
                <a:gd name="T5" fmla="*/ 18 h 20"/>
                <a:gd name="T6" fmla="*/ 0 w 90"/>
                <a:gd name="T7" fmla="*/ 0 h 20"/>
                <a:gd name="T8" fmla="*/ 0 w 90"/>
                <a:gd name="T9" fmla="*/ 2 h 20"/>
                <a:gd name="T10" fmla="*/ 77 w 90"/>
                <a:gd name="T11" fmla="*/ 18 h 20"/>
                <a:gd name="T12" fmla="*/ 2 w 90"/>
                <a:gd name="T13" fmla="*/ 18 h 20"/>
                <a:gd name="T14" fmla="*/ 2 w 90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0" h="20">
                  <a:moveTo>
                    <a:pt x="2" y="20"/>
                  </a:moveTo>
                  <a:lnTo>
                    <a:pt x="88" y="20"/>
                  </a:lnTo>
                  <a:lnTo>
                    <a:pt x="90" y="18"/>
                  </a:lnTo>
                  <a:lnTo>
                    <a:pt x="0" y="0"/>
                  </a:lnTo>
                  <a:lnTo>
                    <a:pt x="0" y="2"/>
                  </a:lnTo>
                  <a:lnTo>
                    <a:pt x="77" y="18"/>
                  </a:lnTo>
                  <a:lnTo>
                    <a:pt x="2" y="18"/>
                  </a:lnTo>
                  <a:lnTo>
                    <a:pt x="2" y="20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81" name="Freeform 6467"/>
            <p:cNvSpPr>
              <a:spLocks noEditPoints="1"/>
            </p:cNvSpPr>
            <p:nvPr/>
          </p:nvSpPr>
          <p:spPr bwMode="auto">
            <a:xfrm>
              <a:off x="6043613" y="5384801"/>
              <a:ext cx="92075" cy="30163"/>
            </a:xfrm>
            <a:custGeom>
              <a:avLst/>
              <a:gdLst>
                <a:gd name="T0" fmla="*/ 1 w 58"/>
                <a:gd name="T1" fmla="*/ 19 h 19"/>
                <a:gd name="T2" fmla="*/ 58 w 58"/>
                <a:gd name="T3" fmla="*/ 19 h 19"/>
                <a:gd name="T4" fmla="*/ 0 w 58"/>
                <a:gd name="T5" fmla="*/ 0 h 19"/>
                <a:gd name="T6" fmla="*/ 1 w 58"/>
                <a:gd name="T7" fmla="*/ 19 h 19"/>
                <a:gd name="T8" fmla="*/ 42 w 58"/>
                <a:gd name="T9" fmla="*/ 15 h 19"/>
                <a:gd name="T10" fmla="*/ 3 w 58"/>
                <a:gd name="T11" fmla="*/ 15 h 19"/>
                <a:gd name="T12" fmla="*/ 2 w 58"/>
                <a:gd name="T13" fmla="*/ 4 h 19"/>
                <a:gd name="T14" fmla="*/ 42 w 58"/>
                <a:gd name="T15" fmla="*/ 15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8" h="19">
                  <a:moveTo>
                    <a:pt x="1" y="19"/>
                  </a:moveTo>
                  <a:lnTo>
                    <a:pt x="58" y="19"/>
                  </a:lnTo>
                  <a:lnTo>
                    <a:pt x="0" y="0"/>
                  </a:lnTo>
                  <a:lnTo>
                    <a:pt x="1" y="19"/>
                  </a:lnTo>
                  <a:close/>
                  <a:moveTo>
                    <a:pt x="42" y="15"/>
                  </a:moveTo>
                  <a:lnTo>
                    <a:pt x="3" y="15"/>
                  </a:lnTo>
                  <a:lnTo>
                    <a:pt x="2" y="4"/>
                  </a:lnTo>
                  <a:lnTo>
                    <a:pt x="42" y="15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82" name="Freeform 6468"/>
            <p:cNvSpPr>
              <a:spLocks noEditPoints="1"/>
            </p:cNvSpPr>
            <p:nvPr/>
          </p:nvSpPr>
          <p:spPr bwMode="auto">
            <a:xfrm>
              <a:off x="5918200" y="5384801"/>
              <a:ext cx="92075" cy="30163"/>
            </a:xfrm>
            <a:custGeom>
              <a:avLst/>
              <a:gdLst>
                <a:gd name="T0" fmla="*/ 0 w 58"/>
                <a:gd name="T1" fmla="*/ 19 h 19"/>
                <a:gd name="T2" fmla="*/ 57 w 58"/>
                <a:gd name="T3" fmla="*/ 19 h 19"/>
                <a:gd name="T4" fmla="*/ 58 w 58"/>
                <a:gd name="T5" fmla="*/ 0 h 19"/>
                <a:gd name="T6" fmla="*/ 0 w 58"/>
                <a:gd name="T7" fmla="*/ 19 h 19"/>
                <a:gd name="T8" fmla="*/ 55 w 58"/>
                <a:gd name="T9" fmla="*/ 15 h 19"/>
                <a:gd name="T10" fmla="*/ 16 w 58"/>
                <a:gd name="T11" fmla="*/ 15 h 19"/>
                <a:gd name="T12" fmla="*/ 56 w 58"/>
                <a:gd name="T13" fmla="*/ 4 h 19"/>
                <a:gd name="T14" fmla="*/ 55 w 58"/>
                <a:gd name="T15" fmla="*/ 15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8" h="19">
                  <a:moveTo>
                    <a:pt x="0" y="19"/>
                  </a:moveTo>
                  <a:lnTo>
                    <a:pt x="57" y="19"/>
                  </a:lnTo>
                  <a:lnTo>
                    <a:pt x="58" y="0"/>
                  </a:lnTo>
                  <a:lnTo>
                    <a:pt x="0" y="19"/>
                  </a:lnTo>
                  <a:close/>
                  <a:moveTo>
                    <a:pt x="55" y="15"/>
                  </a:moveTo>
                  <a:lnTo>
                    <a:pt x="16" y="15"/>
                  </a:lnTo>
                  <a:lnTo>
                    <a:pt x="56" y="4"/>
                  </a:lnTo>
                  <a:lnTo>
                    <a:pt x="55" y="15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83" name="Freeform 6469"/>
            <p:cNvSpPr>
              <a:spLocks/>
            </p:cNvSpPr>
            <p:nvPr/>
          </p:nvSpPr>
          <p:spPr bwMode="auto">
            <a:xfrm>
              <a:off x="5984875" y="5624514"/>
              <a:ext cx="87313" cy="42863"/>
            </a:xfrm>
            <a:custGeom>
              <a:avLst/>
              <a:gdLst>
                <a:gd name="T0" fmla="*/ 54 w 55"/>
                <a:gd name="T1" fmla="*/ 27 h 27"/>
                <a:gd name="T2" fmla="*/ 55 w 55"/>
                <a:gd name="T3" fmla="*/ 24 h 27"/>
                <a:gd name="T4" fmla="*/ 1 w 55"/>
                <a:gd name="T5" fmla="*/ 0 h 27"/>
                <a:gd name="T6" fmla="*/ 0 w 55"/>
                <a:gd name="T7" fmla="*/ 3 h 27"/>
                <a:gd name="T8" fmla="*/ 54 w 55"/>
                <a:gd name="T9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27">
                  <a:moveTo>
                    <a:pt x="54" y="27"/>
                  </a:moveTo>
                  <a:lnTo>
                    <a:pt x="55" y="24"/>
                  </a:lnTo>
                  <a:lnTo>
                    <a:pt x="1" y="0"/>
                  </a:lnTo>
                  <a:lnTo>
                    <a:pt x="0" y="3"/>
                  </a:lnTo>
                  <a:lnTo>
                    <a:pt x="54" y="27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84" name="Freeform 6470"/>
            <p:cNvSpPr>
              <a:spLocks/>
            </p:cNvSpPr>
            <p:nvPr/>
          </p:nvSpPr>
          <p:spPr bwMode="auto">
            <a:xfrm>
              <a:off x="5981700" y="5624514"/>
              <a:ext cx="87313" cy="42863"/>
            </a:xfrm>
            <a:custGeom>
              <a:avLst/>
              <a:gdLst>
                <a:gd name="T0" fmla="*/ 1 w 55"/>
                <a:gd name="T1" fmla="*/ 27 h 27"/>
                <a:gd name="T2" fmla="*/ 55 w 55"/>
                <a:gd name="T3" fmla="*/ 3 h 27"/>
                <a:gd name="T4" fmla="*/ 54 w 55"/>
                <a:gd name="T5" fmla="*/ 0 h 27"/>
                <a:gd name="T6" fmla="*/ 0 w 55"/>
                <a:gd name="T7" fmla="*/ 24 h 27"/>
                <a:gd name="T8" fmla="*/ 1 w 55"/>
                <a:gd name="T9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27">
                  <a:moveTo>
                    <a:pt x="1" y="27"/>
                  </a:moveTo>
                  <a:lnTo>
                    <a:pt x="55" y="3"/>
                  </a:lnTo>
                  <a:lnTo>
                    <a:pt x="54" y="0"/>
                  </a:lnTo>
                  <a:lnTo>
                    <a:pt x="0" y="24"/>
                  </a:lnTo>
                  <a:lnTo>
                    <a:pt x="1" y="27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85" name="Freeform 6471"/>
            <p:cNvSpPr>
              <a:spLocks/>
            </p:cNvSpPr>
            <p:nvPr/>
          </p:nvSpPr>
          <p:spPr bwMode="auto">
            <a:xfrm>
              <a:off x="5988050" y="5594351"/>
              <a:ext cx="80963" cy="34925"/>
            </a:xfrm>
            <a:custGeom>
              <a:avLst/>
              <a:gdLst>
                <a:gd name="T0" fmla="*/ 50 w 51"/>
                <a:gd name="T1" fmla="*/ 22 h 22"/>
                <a:gd name="T2" fmla="*/ 51 w 51"/>
                <a:gd name="T3" fmla="*/ 19 h 22"/>
                <a:gd name="T4" fmla="*/ 2 w 51"/>
                <a:gd name="T5" fmla="*/ 0 h 22"/>
                <a:gd name="T6" fmla="*/ 0 w 51"/>
                <a:gd name="T7" fmla="*/ 2 h 22"/>
                <a:gd name="T8" fmla="*/ 50 w 51"/>
                <a:gd name="T9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22">
                  <a:moveTo>
                    <a:pt x="50" y="22"/>
                  </a:moveTo>
                  <a:lnTo>
                    <a:pt x="51" y="19"/>
                  </a:lnTo>
                  <a:lnTo>
                    <a:pt x="2" y="0"/>
                  </a:lnTo>
                  <a:lnTo>
                    <a:pt x="0" y="2"/>
                  </a:lnTo>
                  <a:lnTo>
                    <a:pt x="50" y="22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86" name="Freeform 6472"/>
            <p:cNvSpPr>
              <a:spLocks/>
            </p:cNvSpPr>
            <p:nvPr/>
          </p:nvSpPr>
          <p:spPr bwMode="auto">
            <a:xfrm>
              <a:off x="5984875" y="5594351"/>
              <a:ext cx="79375" cy="34925"/>
            </a:xfrm>
            <a:custGeom>
              <a:avLst/>
              <a:gdLst>
                <a:gd name="T0" fmla="*/ 1 w 50"/>
                <a:gd name="T1" fmla="*/ 22 h 22"/>
                <a:gd name="T2" fmla="*/ 50 w 50"/>
                <a:gd name="T3" fmla="*/ 2 h 22"/>
                <a:gd name="T4" fmla="*/ 49 w 50"/>
                <a:gd name="T5" fmla="*/ 0 h 22"/>
                <a:gd name="T6" fmla="*/ 0 w 50"/>
                <a:gd name="T7" fmla="*/ 19 h 22"/>
                <a:gd name="T8" fmla="*/ 1 w 50"/>
                <a:gd name="T9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2">
                  <a:moveTo>
                    <a:pt x="1" y="22"/>
                  </a:moveTo>
                  <a:lnTo>
                    <a:pt x="50" y="2"/>
                  </a:lnTo>
                  <a:lnTo>
                    <a:pt x="49" y="0"/>
                  </a:lnTo>
                  <a:lnTo>
                    <a:pt x="0" y="19"/>
                  </a:lnTo>
                  <a:lnTo>
                    <a:pt x="1" y="22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87" name="Freeform 6473"/>
            <p:cNvSpPr>
              <a:spLocks/>
            </p:cNvSpPr>
            <p:nvPr/>
          </p:nvSpPr>
          <p:spPr bwMode="auto">
            <a:xfrm>
              <a:off x="5991225" y="5565776"/>
              <a:ext cx="73025" cy="31750"/>
            </a:xfrm>
            <a:custGeom>
              <a:avLst/>
              <a:gdLst>
                <a:gd name="T0" fmla="*/ 45 w 46"/>
                <a:gd name="T1" fmla="*/ 20 h 20"/>
                <a:gd name="T2" fmla="*/ 46 w 46"/>
                <a:gd name="T3" fmla="*/ 18 h 20"/>
                <a:gd name="T4" fmla="*/ 1 w 46"/>
                <a:gd name="T5" fmla="*/ 0 h 20"/>
                <a:gd name="T6" fmla="*/ 0 w 46"/>
                <a:gd name="T7" fmla="*/ 2 h 20"/>
                <a:gd name="T8" fmla="*/ 45 w 46"/>
                <a:gd name="T9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20">
                  <a:moveTo>
                    <a:pt x="45" y="20"/>
                  </a:moveTo>
                  <a:lnTo>
                    <a:pt x="46" y="18"/>
                  </a:lnTo>
                  <a:lnTo>
                    <a:pt x="1" y="0"/>
                  </a:lnTo>
                  <a:lnTo>
                    <a:pt x="0" y="2"/>
                  </a:lnTo>
                  <a:lnTo>
                    <a:pt x="45" y="20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88" name="Freeform 6474"/>
            <p:cNvSpPr>
              <a:spLocks/>
            </p:cNvSpPr>
            <p:nvPr/>
          </p:nvSpPr>
          <p:spPr bwMode="auto">
            <a:xfrm>
              <a:off x="5988050" y="5565776"/>
              <a:ext cx="74613" cy="31750"/>
            </a:xfrm>
            <a:custGeom>
              <a:avLst/>
              <a:gdLst>
                <a:gd name="T0" fmla="*/ 2 w 47"/>
                <a:gd name="T1" fmla="*/ 20 h 20"/>
                <a:gd name="T2" fmla="*/ 47 w 47"/>
                <a:gd name="T3" fmla="*/ 2 h 20"/>
                <a:gd name="T4" fmla="*/ 46 w 47"/>
                <a:gd name="T5" fmla="*/ 0 h 20"/>
                <a:gd name="T6" fmla="*/ 0 w 47"/>
                <a:gd name="T7" fmla="*/ 18 h 20"/>
                <a:gd name="T8" fmla="*/ 2 w 47"/>
                <a:gd name="T9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20">
                  <a:moveTo>
                    <a:pt x="2" y="20"/>
                  </a:moveTo>
                  <a:lnTo>
                    <a:pt x="47" y="2"/>
                  </a:lnTo>
                  <a:lnTo>
                    <a:pt x="46" y="0"/>
                  </a:lnTo>
                  <a:lnTo>
                    <a:pt x="0" y="18"/>
                  </a:lnTo>
                  <a:lnTo>
                    <a:pt x="2" y="20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89" name="Freeform 6475"/>
            <p:cNvSpPr>
              <a:spLocks/>
            </p:cNvSpPr>
            <p:nvPr/>
          </p:nvSpPr>
          <p:spPr bwMode="auto">
            <a:xfrm>
              <a:off x="5994400" y="5535614"/>
              <a:ext cx="68263" cy="33338"/>
            </a:xfrm>
            <a:custGeom>
              <a:avLst/>
              <a:gdLst>
                <a:gd name="T0" fmla="*/ 42 w 43"/>
                <a:gd name="T1" fmla="*/ 21 h 21"/>
                <a:gd name="T2" fmla="*/ 43 w 43"/>
                <a:gd name="T3" fmla="*/ 19 h 21"/>
                <a:gd name="T4" fmla="*/ 1 w 43"/>
                <a:gd name="T5" fmla="*/ 0 h 21"/>
                <a:gd name="T6" fmla="*/ 0 w 43"/>
                <a:gd name="T7" fmla="*/ 3 h 21"/>
                <a:gd name="T8" fmla="*/ 42 w 43"/>
                <a:gd name="T9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21">
                  <a:moveTo>
                    <a:pt x="42" y="21"/>
                  </a:moveTo>
                  <a:lnTo>
                    <a:pt x="43" y="19"/>
                  </a:lnTo>
                  <a:lnTo>
                    <a:pt x="1" y="0"/>
                  </a:lnTo>
                  <a:lnTo>
                    <a:pt x="0" y="3"/>
                  </a:lnTo>
                  <a:lnTo>
                    <a:pt x="42" y="21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90" name="Freeform 6476"/>
            <p:cNvSpPr>
              <a:spLocks/>
            </p:cNvSpPr>
            <p:nvPr/>
          </p:nvSpPr>
          <p:spPr bwMode="auto">
            <a:xfrm>
              <a:off x="5992813" y="5540376"/>
              <a:ext cx="66675" cy="28575"/>
            </a:xfrm>
            <a:custGeom>
              <a:avLst/>
              <a:gdLst>
                <a:gd name="T0" fmla="*/ 0 w 42"/>
                <a:gd name="T1" fmla="*/ 18 h 18"/>
                <a:gd name="T2" fmla="*/ 42 w 42"/>
                <a:gd name="T3" fmla="*/ 2 h 18"/>
                <a:gd name="T4" fmla="*/ 41 w 42"/>
                <a:gd name="T5" fmla="*/ 0 h 18"/>
                <a:gd name="T6" fmla="*/ 0 w 42"/>
                <a:gd name="T7" fmla="*/ 16 h 18"/>
                <a:gd name="T8" fmla="*/ 0 w 42"/>
                <a:gd name="T9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18">
                  <a:moveTo>
                    <a:pt x="0" y="18"/>
                  </a:moveTo>
                  <a:lnTo>
                    <a:pt x="42" y="2"/>
                  </a:lnTo>
                  <a:lnTo>
                    <a:pt x="41" y="0"/>
                  </a:lnTo>
                  <a:lnTo>
                    <a:pt x="0" y="16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91" name="Freeform 6477"/>
            <p:cNvSpPr>
              <a:spLocks/>
            </p:cNvSpPr>
            <p:nvPr/>
          </p:nvSpPr>
          <p:spPr bwMode="auto">
            <a:xfrm>
              <a:off x="5995988" y="5510214"/>
              <a:ext cx="63500" cy="33338"/>
            </a:xfrm>
            <a:custGeom>
              <a:avLst/>
              <a:gdLst>
                <a:gd name="T0" fmla="*/ 39 w 40"/>
                <a:gd name="T1" fmla="*/ 21 h 21"/>
                <a:gd name="T2" fmla="*/ 40 w 40"/>
                <a:gd name="T3" fmla="*/ 19 h 21"/>
                <a:gd name="T4" fmla="*/ 1 w 40"/>
                <a:gd name="T5" fmla="*/ 0 h 21"/>
                <a:gd name="T6" fmla="*/ 0 w 40"/>
                <a:gd name="T7" fmla="*/ 3 h 21"/>
                <a:gd name="T8" fmla="*/ 39 w 40"/>
                <a:gd name="T9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1">
                  <a:moveTo>
                    <a:pt x="39" y="21"/>
                  </a:moveTo>
                  <a:lnTo>
                    <a:pt x="40" y="19"/>
                  </a:lnTo>
                  <a:lnTo>
                    <a:pt x="1" y="0"/>
                  </a:lnTo>
                  <a:lnTo>
                    <a:pt x="0" y="3"/>
                  </a:lnTo>
                  <a:lnTo>
                    <a:pt x="39" y="21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92" name="Freeform 6478"/>
            <p:cNvSpPr>
              <a:spLocks/>
            </p:cNvSpPr>
            <p:nvPr/>
          </p:nvSpPr>
          <p:spPr bwMode="auto">
            <a:xfrm>
              <a:off x="5994400" y="5510214"/>
              <a:ext cx="63500" cy="30163"/>
            </a:xfrm>
            <a:custGeom>
              <a:avLst/>
              <a:gdLst>
                <a:gd name="T0" fmla="*/ 1 w 40"/>
                <a:gd name="T1" fmla="*/ 19 h 19"/>
                <a:gd name="T2" fmla="*/ 40 w 40"/>
                <a:gd name="T3" fmla="*/ 3 h 19"/>
                <a:gd name="T4" fmla="*/ 39 w 40"/>
                <a:gd name="T5" fmla="*/ 0 h 19"/>
                <a:gd name="T6" fmla="*/ 0 w 40"/>
                <a:gd name="T7" fmla="*/ 16 h 19"/>
                <a:gd name="T8" fmla="*/ 1 w 40"/>
                <a:gd name="T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19">
                  <a:moveTo>
                    <a:pt x="1" y="19"/>
                  </a:moveTo>
                  <a:lnTo>
                    <a:pt x="40" y="3"/>
                  </a:lnTo>
                  <a:lnTo>
                    <a:pt x="39" y="0"/>
                  </a:lnTo>
                  <a:lnTo>
                    <a:pt x="0" y="16"/>
                  </a:lnTo>
                  <a:lnTo>
                    <a:pt x="1" y="19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93" name="Freeform 6479"/>
            <p:cNvSpPr>
              <a:spLocks/>
            </p:cNvSpPr>
            <p:nvPr/>
          </p:nvSpPr>
          <p:spPr bwMode="auto">
            <a:xfrm>
              <a:off x="5999163" y="5486401"/>
              <a:ext cx="58738" cy="28575"/>
            </a:xfrm>
            <a:custGeom>
              <a:avLst/>
              <a:gdLst>
                <a:gd name="T0" fmla="*/ 36 w 37"/>
                <a:gd name="T1" fmla="*/ 18 h 18"/>
                <a:gd name="T2" fmla="*/ 37 w 37"/>
                <a:gd name="T3" fmla="*/ 15 h 18"/>
                <a:gd name="T4" fmla="*/ 0 w 37"/>
                <a:gd name="T5" fmla="*/ 0 h 18"/>
                <a:gd name="T6" fmla="*/ 0 w 37"/>
                <a:gd name="T7" fmla="*/ 3 h 18"/>
                <a:gd name="T8" fmla="*/ 36 w 37"/>
                <a:gd name="T9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18">
                  <a:moveTo>
                    <a:pt x="36" y="18"/>
                  </a:moveTo>
                  <a:lnTo>
                    <a:pt x="37" y="15"/>
                  </a:lnTo>
                  <a:lnTo>
                    <a:pt x="0" y="0"/>
                  </a:lnTo>
                  <a:lnTo>
                    <a:pt x="0" y="3"/>
                  </a:lnTo>
                  <a:lnTo>
                    <a:pt x="36" y="18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94" name="Freeform 6480"/>
            <p:cNvSpPr>
              <a:spLocks/>
            </p:cNvSpPr>
            <p:nvPr/>
          </p:nvSpPr>
          <p:spPr bwMode="auto">
            <a:xfrm>
              <a:off x="5995988" y="5486401"/>
              <a:ext cx="60325" cy="28575"/>
            </a:xfrm>
            <a:custGeom>
              <a:avLst/>
              <a:gdLst>
                <a:gd name="T0" fmla="*/ 1 w 38"/>
                <a:gd name="T1" fmla="*/ 18 h 18"/>
                <a:gd name="T2" fmla="*/ 38 w 38"/>
                <a:gd name="T3" fmla="*/ 3 h 18"/>
                <a:gd name="T4" fmla="*/ 37 w 38"/>
                <a:gd name="T5" fmla="*/ 0 h 18"/>
                <a:gd name="T6" fmla="*/ 0 w 38"/>
                <a:gd name="T7" fmla="*/ 15 h 18"/>
                <a:gd name="T8" fmla="*/ 1 w 38"/>
                <a:gd name="T9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18">
                  <a:moveTo>
                    <a:pt x="1" y="18"/>
                  </a:moveTo>
                  <a:lnTo>
                    <a:pt x="38" y="3"/>
                  </a:lnTo>
                  <a:lnTo>
                    <a:pt x="37" y="0"/>
                  </a:lnTo>
                  <a:lnTo>
                    <a:pt x="0" y="15"/>
                  </a:lnTo>
                  <a:lnTo>
                    <a:pt x="1" y="18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95" name="Freeform 6481"/>
            <p:cNvSpPr>
              <a:spLocks/>
            </p:cNvSpPr>
            <p:nvPr/>
          </p:nvSpPr>
          <p:spPr bwMode="auto">
            <a:xfrm>
              <a:off x="6000750" y="5462589"/>
              <a:ext cx="55563" cy="28575"/>
            </a:xfrm>
            <a:custGeom>
              <a:avLst/>
              <a:gdLst>
                <a:gd name="T0" fmla="*/ 34 w 35"/>
                <a:gd name="T1" fmla="*/ 18 h 18"/>
                <a:gd name="T2" fmla="*/ 35 w 35"/>
                <a:gd name="T3" fmla="*/ 15 h 18"/>
                <a:gd name="T4" fmla="*/ 2 w 35"/>
                <a:gd name="T5" fmla="*/ 0 h 18"/>
                <a:gd name="T6" fmla="*/ 0 w 35"/>
                <a:gd name="T7" fmla="*/ 3 h 18"/>
                <a:gd name="T8" fmla="*/ 34 w 35"/>
                <a:gd name="T9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8">
                  <a:moveTo>
                    <a:pt x="34" y="18"/>
                  </a:moveTo>
                  <a:lnTo>
                    <a:pt x="35" y="15"/>
                  </a:lnTo>
                  <a:lnTo>
                    <a:pt x="2" y="0"/>
                  </a:lnTo>
                  <a:lnTo>
                    <a:pt x="0" y="3"/>
                  </a:lnTo>
                  <a:lnTo>
                    <a:pt x="34" y="18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96" name="Freeform 6482"/>
            <p:cNvSpPr>
              <a:spLocks/>
            </p:cNvSpPr>
            <p:nvPr/>
          </p:nvSpPr>
          <p:spPr bwMode="auto">
            <a:xfrm>
              <a:off x="5999163" y="5462589"/>
              <a:ext cx="52388" cy="28575"/>
            </a:xfrm>
            <a:custGeom>
              <a:avLst/>
              <a:gdLst>
                <a:gd name="T0" fmla="*/ 0 w 33"/>
                <a:gd name="T1" fmla="*/ 18 h 18"/>
                <a:gd name="T2" fmla="*/ 33 w 33"/>
                <a:gd name="T3" fmla="*/ 3 h 18"/>
                <a:gd name="T4" fmla="*/ 32 w 33"/>
                <a:gd name="T5" fmla="*/ 0 h 18"/>
                <a:gd name="T6" fmla="*/ 0 w 33"/>
                <a:gd name="T7" fmla="*/ 15 h 18"/>
                <a:gd name="T8" fmla="*/ 0 w 33"/>
                <a:gd name="T9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8">
                  <a:moveTo>
                    <a:pt x="0" y="18"/>
                  </a:moveTo>
                  <a:lnTo>
                    <a:pt x="33" y="3"/>
                  </a:lnTo>
                  <a:lnTo>
                    <a:pt x="32" y="0"/>
                  </a:lnTo>
                  <a:lnTo>
                    <a:pt x="0" y="15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97" name="Freeform 6483"/>
            <p:cNvSpPr>
              <a:spLocks/>
            </p:cNvSpPr>
            <p:nvPr/>
          </p:nvSpPr>
          <p:spPr bwMode="auto">
            <a:xfrm>
              <a:off x="6003925" y="5440364"/>
              <a:ext cx="47625" cy="26988"/>
            </a:xfrm>
            <a:custGeom>
              <a:avLst/>
              <a:gdLst>
                <a:gd name="T0" fmla="*/ 29 w 30"/>
                <a:gd name="T1" fmla="*/ 17 h 17"/>
                <a:gd name="T2" fmla="*/ 30 w 30"/>
                <a:gd name="T3" fmla="*/ 14 h 17"/>
                <a:gd name="T4" fmla="*/ 1 w 30"/>
                <a:gd name="T5" fmla="*/ 0 h 17"/>
                <a:gd name="T6" fmla="*/ 0 w 30"/>
                <a:gd name="T7" fmla="*/ 1 h 17"/>
                <a:gd name="T8" fmla="*/ 29 w 30"/>
                <a:gd name="T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7">
                  <a:moveTo>
                    <a:pt x="29" y="17"/>
                  </a:moveTo>
                  <a:lnTo>
                    <a:pt x="30" y="14"/>
                  </a:lnTo>
                  <a:lnTo>
                    <a:pt x="1" y="0"/>
                  </a:lnTo>
                  <a:lnTo>
                    <a:pt x="0" y="1"/>
                  </a:lnTo>
                  <a:lnTo>
                    <a:pt x="29" y="17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98" name="Freeform 6484"/>
            <p:cNvSpPr>
              <a:spLocks/>
            </p:cNvSpPr>
            <p:nvPr/>
          </p:nvSpPr>
          <p:spPr bwMode="auto">
            <a:xfrm>
              <a:off x="6000750" y="5440364"/>
              <a:ext cx="49213" cy="26988"/>
            </a:xfrm>
            <a:custGeom>
              <a:avLst/>
              <a:gdLst>
                <a:gd name="T0" fmla="*/ 2 w 31"/>
                <a:gd name="T1" fmla="*/ 17 h 17"/>
                <a:gd name="T2" fmla="*/ 31 w 31"/>
                <a:gd name="T3" fmla="*/ 1 h 17"/>
                <a:gd name="T4" fmla="*/ 30 w 31"/>
                <a:gd name="T5" fmla="*/ 0 h 17"/>
                <a:gd name="T6" fmla="*/ 0 w 31"/>
                <a:gd name="T7" fmla="*/ 14 h 17"/>
                <a:gd name="T8" fmla="*/ 2 w 31"/>
                <a:gd name="T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2" y="17"/>
                  </a:moveTo>
                  <a:lnTo>
                    <a:pt x="31" y="1"/>
                  </a:lnTo>
                  <a:lnTo>
                    <a:pt x="30" y="0"/>
                  </a:lnTo>
                  <a:lnTo>
                    <a:pt x="0" y="14"/>
                  </a:lnTo>
                  <a:lnTo>
                    <a:pt x="2" y="17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99" name="Freeform 6485"/>
            <p:cNvSpPr>
              <a:spLocks/>
            </p:cNvSpPr>
            <p:nvPr/>
          </p:nvSpPr>
          <p:spPr bwMode="auto">
            <a:xfrm>
              <a:off x="6005513" y="5414964"/>
              <a:ext cx="44450" cy="26988"/>
            </a:xfrm>
            <a:custGeom>
              <a:avLst/>
              <a:gdLst>
                <a:gd name="T0" fmla="*/ 27 w 28"/>
                <a:gd name="T1" fmla="*/ 17 h 17"/>
                <a:gd name="T2" fmla="*/ 28 w 28"/>
                <a:gd name="T3" fmla="*/ 16 h 17"/>
                <a:gd name="T4" fmla="*/ 1 w 28"/>
                <a:gd name="T5" fmla="*/ 0 h 17"/>
                <a:gd name="T6" fmla="*/ 0 w 28"/>
                <a:gd name="T7" fmla="*/ 2 h 17"/>
                <a:gd name="T8" fmla="*/ 27 w 28"/>
                <a:gd name="T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7">
                  <a:moveTo>
                    <a:pt x="27" y="17"/>
                  </a:moveTo>
                  <a:lnTo>
                    <a:pt x="28" y="16"/>
                  </a:lnTo>
                  <a:lnTo>
                    <a:pt x="1" y="0"/>
                  </a:lnTo>
                  <a:lnTo>
                    <a:pt x="0" y="2"/>
                  </a:lnTo>
                  <a:lnTo>
                    <a:pt x="27" y="17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00" name="Freeform 6486"/>
            <p:cNvSpPr>
              <a:spLocks/>
            </p:cNvSpPr>
            <p:nvPr/>
          </p:nvSpPr>
          <p:spPr bwMode="auto">
            <a:xfrm>
              <a:off x="6003925" y="5414964"/>
              <a:ext cx="44450" cy="26988"/>
            </a:xfrm>
            <a:custGeom>
              <a:avLst/>
              <a:gdLst>
                <a:gd name="T0" fmla="*/ 1 w 28"/>
                <a:gd name="T1" fmla="*/ 17 h 17"/>
                <a:gd name="T2" fmla="*/ 28 w 28"/>
                <a:gd name="T3" fmla="*/ 2 h 17"/>
                <a:gd name="T4" fmla="*/ 27 w 28"/>
                <a:gd name="T5" fmla="*/ 0 h 17"/>
                <a:gd name="T6" fmla="*/ 0 w 28"/>
                <a:gd name="T7" fmla="*/ 16 h 17"/>
                <a:gd name="T8" fmla="*/ 1 w 28"/>
                <a:gd name="T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7">
                  <a:moveTo>
                    <a:pt x="1" y="17"/>
                  </a:moveTo>
                  <a:lnTo>
                    <a:pt x="28" y="2"/>
                  </a:lnTo>
                  <a:lnTo>
                    <a:pt x="27" y="0"/>
                  </a:lnTo>
                  <a:lnTo>
                    <a:pt x="0" y="16"/>
                  </a:lnTo>
                  <a:lnTo>
                    <a:pt x="1" y="17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01" name="Freeform 6487"/>
            <p:cNvSpPr>
              <a:spLocks/>
            </p:cNvSpPr>
            <p:nvPr/>
          </p:nvSpPr>
          <p:spPr bwMode="auto">
            <a:xfrm>
              <a:off x="6007100" y="5391151"/>
              <a:ext cx="41275" cy="26988"/>
            </a:xfrm>
            <a:custGeom>
              <a:avLst/>
              <a:gdLst>
                <a:gd name="T0" fmla="*/ 25 w 26"/>
                <a:gd name="T1" fmla="*/ 17 h 17"/>
                <a:gd name="T2" fmla="*/ 26 w 26"/>
                <a:gd name="T3" fmla="*/ 15 h 17"/>
                <a:gd name="T4" fmla="*/ 1 w 26"/>
                <a:gd name="T5" fmla="*/ 0 h 17"/>
                <a:gd name="T6" fmla="*/ 0 w 26"/>
                <a:gd name="T7" fmla="*/ 2 h 17"/>
                <a:gd name="T8" fmla="*/ 25 w 26"/>
                <a:gd name="T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17">
                  <a:moveTo>
                    <a:pt x="25" y="17"/>
                  </a:moveTo>
                  <a:lnTo>
                    <a:pt x="26" y="15"/>
                  </a:lnTo>
                  <a:lnTo>
                    <a:pt x="1" y="0"/>
                  </a:lnTo>
                  <a:lnTo>
                    <a:pt x="0" y="2"/>
                  </a:lnTo>
                  <a:lnTo>
                    <a:pt x="25" y="17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02" name="Freeform 6488"/>
            <p:cNvSpPr>
              <a:spLocks/>
            </p:cNvSpPr>
            <p:nvPr/>
          </p:nvSpPr>
          <p:spPr bwMode="auto">
            <a:xfrm>
              <a:off x="6005513" y="5391151"/>
              <a:ext cx="41275" cy="26988"/>
            </a:xfrm>
            <a:custGeom>
              <a:avLst/>
              <a:gdLst>
                <a:gd name="T0" fmla="*/ 1 w 26"/>
                <a:gd name="T1" fmla="*/ 17 h 17"/>
                <a:gd name="T2" fmla="*/ 26 w 26"/>
                <a:gd name="T3" fmla="*/ 2 h 17"/>
                <a:gd name="T4" fmla="*/ 25 w 26"/>
                <a:gd name="T5" fmla="*/ 0 h 17"/>
                <a:gd name="T6" fmla="*/ 0 w 26"/>
                <a:gd name="T7" fmla="*/ 15 h 17"/>
                <a:gd name="T8" fmla="*/ 1 w 26"/>
                <a:gd name="T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17">
                  <a:moveTo>
                    <a:pt x="1" y="17"/>
                  </a:moveTo>
                  <a:lnTo>
                    <a:pt x="26" y="2"/>
                  </a:lnTo>
                  <a:lnTo>
                    <a:pt x="25" y="0"/>
                  </a:lnTo>
                  <a:lnTo>
                    <a:pt x="0" y="15"/>
                  </a:lnTo>
                  <a:lnTo>
                    <a:pt x="1" y="17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03" name="Freeform 6489"/>
            <p:cNvSpPr>
              <a:spLocks/>
            </p:cNvSpPr>
            <p:nvPr/>
          </p:nvSpPr>
          <p:spPr bwMode="auto">
            <a:xfrm>
              <a:off x="6008688" y="5367339"/>
              <a:ext cx="38100" cy="26988"/>
            </a:xfrm>
            <a:custGeom>
              <a:avLst/>
              <a:gdLst>
                <a:gd name="T0" fmla="*/ 23 w 24"/>
                <a:gd name="T1" fmla="*/ 17 h 17"/>
                <a:gd name="T2" fmla="*/ 24 w 24"/>
                <a:gd name="T3" fmla="*/ 15 h 17"/>
                <a:gd name="T4" fmla="*/ 1 w 24"/>
                <a:gd name="T5" fmla="*/ 0 h 17"/>
                <a:gd name="T6" fmla="*/ 0 w 24"/>
                <a:gd name="T7" fmla="*/ 2 h 17"/>
                <a:gd name="T8" fmla="*/ 23 w 24"/>
                <a:gd name="T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17">
                  <a:moveTo>
                    <a:pt x="23" y="17"/>
                  </a:moveTo>
                  <a:lnTo>
                    <a:pt x="24" y="15"/>
                  </a:lnTo>
                  <a:lnTo>
                    <a:pt x="1" y="0"/>
                  </a:lnTo>
                  <a:lnTo>
                    <a:pt x="0" y="2"/>
                  </a:lnTo>
                  <a:lnTo>
                    <a:pt x="23" y="17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04" name="Freeform 6490"/>
            <p:cNvSpPr>
              <a:spLocks/>
            </p:cNvSpPr>
            <p:nvPr/>
          </p:nvSpPr>
          <p:spPr bwMode="auto">
            <a:xfrm>
              <a:off x="6007100" y="5367339"/>
              <a:ext cx="38100" cy="26988"/>
            </a:xfrm>
            <a:custGeom>
              <a:avLst/>
              <a:gdLst>
                <a:gd name="T0" fmla="*/ 2 w 24"/>
                <a:gd name="T1" fmla="*/ 17 h 17"/>
                <a:gd name="T2" fmla="*/ 24 w 24"/>
                <a:gd name="T3" fmla="*/ 2 h 17"/>
                <a:gd name="T4" fmla="*/ 23 w 24"/>
                <a:gd name="T5" fmla="*/ 0 h 17"/>
                <a:gd name="T6" fmla="*/ 0 w 24"/>
                <a:gd name="T7" fmla="*/ 15 h 17"/>
                <a:gd name="T8" fmla="*/ 2 w 24"/>
                <a:gd name="T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17">
                  <a:moveTo>
                    <a:pt x="2" y="17"/>
                  </a:moveTo>
                  <a:lnTo>
                    <a:pt x="24" y="2"/>
                  </a:lnTo>
                  <a:lnTo>
                    <a:pt x="23" y="0"/>
                  </a:lnTo>
                  <a:lnTo>
                    <a:pt x="0" y="15"/>
                  </a:lnTo>
                  <a:lnTo>
                    <a:pt x="2" y="17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05" name="Freeform 6491"/>
            <p:cNvSpPr>
              <a:spLocks/>
            </p:cNvSpPr>
            <p:nvPr/>
          </p:nvSpPr>
          <p:spPr bwMode="auto">
            <a:xfrm>
              <a:off x="6010275" y="5345114"/>
              <a:ext cx="34925" cy="25400"/>
            </a:xfrm>
            <a:custGeom>
              <a:avLst/>
              <a:gdLst>
                <a:gd name="T0" fmla="*/ 21 w 22"/>
                <a:gd name="T1" fmla="*/ 16 h 16"/>
                <a:gd name="T2" fmla="*/ 22 w 22"/>
                <a:gd name="T3" fmla="*/ 14 h 16"/>
                <a:gd name="T4" fmla="*/ 1 w 22"/>
                <a:gd name="T5" fmla="*/ 0 h 16"/>
                <a:gd name="T6" fmla="*/ 0 w 22"/>
                <a:gd name="T7" fmla="*/ 2 h 16"/>
                <a:gd name="T8" fmla="*/ 21 w 22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16">
                  <a:moveTo>
                    <a:pt x="21" y="16"/>
                  </a:moveTo>
                  <a:lnTo>
                    <a:pt x="22" y="14"/>
                  </a:lnTo>
                  <a:lnTo>
                    <a:pt x="1" y="0"/>
                  </a:lnTo>
                  <a:lnTo>
                    <a:pt x="0" y="2"/>
                  </a:lnTo>
                  <a:lnTo>
                    <a:pt x="21" y="16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06" name="Freeform 6492"/>
            <p:cNvSpPr>
              <a:spLocks/>
            </p:cNvSpPr>
            <p:nvPr/>
          </p:nvSpPr>
          <p:spPr bwMode="auto">
            <a:xfrm>
              <a:off x="6008688" y="5345114"/>
              <a:ext cx="34925" cy="25400"/>
            </a:xfrm>
            <a:custGeom>
              <a:avLst/>
              <a:gdLst>
                <a:gd name="T0" fmla="*/ 1 w 22"/>
                <a:gd name="T1" fmla="*/ 16 h 16"/>
                <a:gd name="T2" fmla="*/ 22 w 22"/>
                <a:gd name="T3" fmla="*/ 2 h 16"/>
                <a:gd name="T4" fmla="*/ 21 w 22"/>
                <a:gd name="T5" fmla="*/ 0 h 16"/>
                <a:gd name="T6" fmla="*/ 0 w 22"/>
                <a:gd name="T7" fmla="*/ 14 h 16"/>
                <a:gd name="T8" fmla="*/ 1 w 22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16">
                  <a:moveTo>
                    <a:pt x="1" y="16"/>
                  </a:moveTo>
                  <a:lnTo>
                    <a:pt x="22" y="2"/>
                  </a:lnTo>
                  <a:lnTo>
                    <a:pt x="21" y="0"/>
                  </a:lnTo>
                  <a:lnTo>
                    <a:pt x="0" y="14"/>
                  </a:lnTo>
                  <a:lnTo>
                    <a:pt x="1" y="16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07" name="Freeform 6493"/>
            <p:cNvSpPr>
              <a:spLocks/>
            </p:cNvSpPr>
            <p:nvPr/>
          </p:nvSpPr>
          <p:spPr bwMode="auto">
            <a:xfrm>
              <a:off x="6011863" y="5322889"/>
              <a:ext cx="31750" cy="25400"/>
            </a:xfrm>
            <a:custGeom>
              <a:avLst/>
              <a:gdLst>
                <a:gd name="T0" fmla="*/ 19 w 20"/>
                <a:gd name="T1" fmla="*/ 16 h 16"/>
                <a:gd name="T2" fmla="*/ 20 w 20"/>
                <a:gd name="T3" fmla="*/ 14 h 16"/>
                <a:gd name="T4" fmla="*/ 1 w 20"/>
                <a:gd name="T5" fmla="*/ 0 h 16"/>
                <a:gd name="T6" fmla="*/ 0 w 20"/>
                <a:gd name="T7" fmla="*/ 1 h 16"/>
                <a:gd name="T8" fmla="*/ 19 w 20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16">
                  <a:moveTo>
                    <a:pt x="19" y="16"/>
                  </a:moveTo>
                  <a:lnTo>
                    <a:pt x="20" y="14"/>
                  </a:lnTo>
                  <a:lnTo>
                    <a:pt x="1" y="0"/>
                  </a:lnTo>
                  <a:lnTo>
                    <a:pt x="0" y="1"/>
                  </a:lnTo>
                  <a:lnTo>
                    <a:pt x="19" y="16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08" name="Freeform 6494"/>
            <p:cNvSpPr>
              <a:spLocks/>
            </p:cNvSpPr>
            <p:nvPr/>
          </p:nvSpPr>
          <p:spPr bwMode="auto">
            <a:xfrm>
              <a:off x="6010275" y="5322889"/>
              <a:ext cx="31750" cy="25400"/>
            </a:xfrm>
            <a:custGeom>
              <a:avLst/>
              <a:gdLst>
                <a:gd name="T0" fmla="*/ 1 w 20"/>
                <a:gd name="T1" fmla="*/ 16 h 16"/>
                <a:gd name="T2" fmla="*/ 20 w 20"/>
                <a:gd name="T3" fmla="*/ 1 h 16"/>
                <a:gd name="T4" fmla="*/ 18 w 20"/>
                <a:gd name="T5" fmla="*/ 0 h 16"/>
                <a:gd name="T6" fmla="*/ 0 w 20"/>
                <a:gd name="T7" fmla="*/ 14 h 16"/>
                <a:gd name="T8" fmla="*/ 1 w 20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16">
                  <a:moveTo>
                    <a:pt x="1" y="16"/>
                  </a:moveTo>
                  <a:lnTo>
                    <a:pt x="20" y="1"/>
                  </a:lnTo>
                  <a:lnTo>
                    <a:pt x="18" y="0"/>
                  </a:lnTo>
                  <a:lnTo>
                    <a:pt x="0" y="14"/>
                  </a:lnTo>
                  <a:lnTo>
                    <a:pt x="1" y="16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09" name="Freeform 6495"/>
            <p:cNvSpPr>
              <a:spLocks/>
            </p:cNvSpPr>
            <p:nvPr/>
          </p:nvSpPr>
          <p:spPr bwMode="auto">
            <a:xfrm>
              <a:off x="6011863" y="5302251"/>
              <a:ext cx="30163" cy="22225"/>
            </a:xfrm>
            <a:custGeom>
              <a:avLst/>
              <a:gdLst>
                <a:gd name="T0" fmla="*/ 17 w 19"/>
                <a:gd name="T1" fmla="*/ 14 h 14"/>
                <a:gd name="T2" fmla="*/ 19 w 19"/>
                <a:gd name="T3" fmla="*/ 13 h 14"/>
                <a:gd name="T4" fmla="*/ 3 w 19"/>
                <a:gd name="T5" fmla="*/ 0 h 14"/>
                <a:gd name="T6" fmla="*/ 0 w 19"/>
                <a:gd name="T7" fmla="*/ 2 h 14"/>
                <a:gd name="T8" fmla="*/ 17 w 19"/>
                <a:gd name="T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4">
                  <a:moveTo>
                    <a:pt x="17" y="14"/>
                  </a:moveTo>
                  <a:lnTo>
                    <a:pt x="19" y="13"/>
                  </a:lnTo>
                  <a:lnTo>
                    <a:pt x="3" y="0"/>
                  </a:lnTo>
                  <a:lnTo>
                    <a:pt x="0" y="2"/>
                  </a:lnTo>
                  <a:lnTo>
                    <a:pt x="17" y="14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10" name="Freeform 6496"/>
            <p:cNvSpPr>
              <a:spLocks/>
            </p:cNvSpPr>
            <p:nvPr/>
          </p:nvSpPr>
          <p:spPr bwMode="auto">
            <a:xfrm>
              <a:off x="6011863" y="5302251"/>
              <a:ext cx="30163" cy="22225"/>
            </a:xfrm>
            <a:custGeom>
              <a:avLst/>
              <a:gdLst>
                <a:gd name="T0" fmla="*/ 1 w 19"/>
                <a:gd name="T1" fmla="*/ 14 h 14"/>
                <a:gd name="T2" fmla="*/ 19 w 19"/>
                <a:gd name="T3" fmla="*/ 2 h 14"/>
                <a:gd name="T4" fmla="*/ 16 w 19"/>
                <a:gd name="T5" fmla="*/ 0 h 14"/>
                <a:gd name="T6" fmla="*/ 0 w 19"/>
                <a:gd name="T7" fmla="*/ 13 h 14"/>
                <a:gd name="T8" fmla="*/ 1 w 19"/>
                <a:gd name="T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4">
                  <a:moveTo>
                    <a:pt x="1" y="14"/>
                  </a:moveTo>
                  <a:lnTo>
                    <a:pt x="19" y="2"/>
                  </a:lnTo>
                  <a:lnTo>
                    <a:pt x="16" y="0"/>
                  </a:lnTo>
                  <a:lnTo>
                    <a:pt x="0" y="13"/>
                  </a:lnTo>
                  <a:lnTo>
                    <a:pt x="1" y="14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11" name="Freeform 6497"/>
            <p:cNvSpPr>
              <a:spLocks/>
            </p:cNvSpPr>
            <p:nvPr/>
          </p:nvSpPr>
          <p:spPr bwMode="auto">
            <a:xfrm>
              <a:off x="6013450" y="5278439"/>
              <a:ext cx="28575" cy="26988"/>
            </a:xfrm>
            <a:custGeom>
              <a:avLst/>
              <a:gdLst>
                <a:gd name="T0" fmla="*/ 15 w 18"/>
                <a:gd name="T1" fmla="*/ 17 h 17"/>
                <a:gd name="T2" fmla="*/ 18 w 18"/>
                <a:gd name="T3" fmla="*/ 15 h 17"/>
                <a:gd name="T4" fmla="*/ 3 w 18"/>
                <a:gd name="T5" fmla="*/ 0 h 17"/>
                <a:gd name="T6" fmla="*/ 0 w 18"/>
                <a:gd name="T7" fmla="*/ 2 h 17"/>
                <a:gd name="T8" fmla="*/ 15 w 18"/>
                <a:gd name="T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7">
                  <a:moveTo>
                    <a:pt x="15" y="17"/>
                  </a:moveTo>
                  <a:lnTo>
                    <a:pt x="18" y="15"/>
                  </a:lnTo>
                  <a:lnTo>
                    <a:pt x="3" y="0"/>
                  </a:lnTo>
                  <a:lnTo>
                    <a:pt x="0" y="2"/>
                  </a:lnTo>
                  <a:lnTo>
                    <a:pt x="15" y="17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12" name="Freeform 6498"/>
            <p:cNvSpPr>
              <a:spLocks/>
            </p:cNvSpPr>
            <p:nvPr/>
          </p:nvSpPr>
          <p:spPr bwMode="auto">
            <a:xfrm>
              <a:off x="6011863" y="5278439"/>
              <a:ext cx="26988" cy="26988"/>
            </a:xfrm>
            <a:custGeom>
              <a:avLst/>
              <a:gdLst>
                <a:gd name="T0" fmla="*/ 3 w 17"/>
                <a:gd name="T1" fmla="*/ 17 h 17"/>
                <a:gd name="T2" fmla="*/ 17 w 17"/>
                <a:gd name="T3" fmla="*/ 2 h 17"/>
                <a:gd name="T4" fmla="*/ 15 w 17"/>
                <a:gd name="T5" fmla="*/ 0 h 17"/>
                <a:gd name="T6" fmla="*/ 0 w 17"/>
                <a:gd name="T7" fmla="*/ 15 h 17"/>
                <a:gd name="T8" fmla="*/ 3 w 17"/>
                <a:gd name="T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7">
                  <a:moveTo>
                    <a:pt x="3" y="17"/>
                  </a:moveTo>
                  <a:lnTo>
                    <a:pt x="17" y="2"/>
                  </a:lnTo>
                  <a:lnTo>
                    <a:pt x="15" y="0"/>
                  </a:lnTo>
                  <a:lnTo>
                    <a:pt x="0" y="15"/>
                  </a:lnTo>
                  <a:lnTo>
                    <a:pt x="3" y="17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13" name="Freeform 6499"/>
            <p:cNvSpPr>
              <a:spLocks/>
            </p:cNvSpPr>
            <p:nvPr/>
          </p:nvSpPr>
          <p:spPr bwMode="auto">
            <a:xfrm>
              <a:off x="6016625" y="5257801"/>
              <a:ext cx="22225" cy="23813"/>
            </a:xfrm>
            <a:custGeom>
              <a:avLst/>
              <a:gdLst>
                <a:gd name="T0" fmla="*/ 12 w 14"/>
                <a:gd name="T1" fmla="*/ 15 h 15"/>
                <a:gd name="T2" fmla="*/ 14 w 14"/>
                <a:gd name="T3" fmla="*/ 13 h 15"/>
                <a:gd name="T4" fmla="*/ 2 w 14"/>
                <a:gd name="T5" fmla="*/ 0 h 15"/>
                <a:gd name="T6" fmla="*/ 0 w 14"/>
                <a:gd name="T7" fmla="*/ 2 h 15"/>
                <a:gd name="T8" fmla="*/ 12 w 14"/>
                <a:gd name="T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5">
                  <a:moveTo>
                    <a:pt x="12" y="15"/>
                  </a:moveTo>
                  <a:lnTo>
                    <a:pt x="14" y="13"/>
                  </a:lnTo>
                  <a:lnTo>
                    <a:pt x="2" y="0"/>
                  </a:lnTo>
                  <a:lnTo>
                    <a:pt x="0" y="2"/>
                  </a:lnTo>
                  <a:lnTo>
                    <a:pt x="12" y="15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14" name="Freeform 6500"/>
            <p:cNvSpPr>
              <a:spLocks/>
            </p:cNvSpPr>
            <p:nvPr/>
          </p:nvSpPr>
          <p:spPr bwMode="auto">
            <a:xfrm>
              <a:off x="6013450" y="5257801"/>
              <a:ext cx="23813" cy="23813"/>
            </a:xfrm>
            <a:custGeom>
              <a:avLst/>
              <a:gdLst>
                <a:gd name="T0" fmla="*/ 3 w 15"/>
                <a:gd name="T1" fmla="*/ 15 h 15"/>
                <a:gd name="T2" fmla="*/ 15 w 15"/>
                <a:gd name="T3" fmla="*/ 2 h 15"/>
                <a:gd name="T4" fmla="*/ 14 w 15"/>
                <a:gd name="T5" fmla="*/ 0 h 15"/>
                <a:gd name="T6" fmla="*/ 0 w 15"/>
                <a:gd name="T7" fmla="*/ 13 h 15"/>
                <a:gd name="T8" fmla="*/ 3 w 15"/>
                <a:gd name="T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5">
                  <a:moveTo>
                    <a:pt x="3" y="15"/>
                  </a:moveTo>
                  <a:lnTo>
                    <a:pt x="15" y="2"/>
                  </a:lnTo>
                  <a:lnTo>
                    <a:pt x="14" y="0"/>
                  </a:lnTo>
                  <a:lnTo>
                    <a:pt x="0" y="13"/>
                  </a:lnTo>
                  <a:lnTo>
                    <a:pt x="3" y="15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15" name="Freeform 6501"/>
            <p:cNvSpPr>
              <a:spLocks/>
            </p:cNvSpPr>
            <p:nvPr/>
          </p:nvSpPr>
          <p:spPr bwMode="auto">
            <a:xfrm>
              <a:off x="6018213" y="5237164"/>
              <a:ext cx="19050" cy="23813"/>
            </a:xfrm>
            <a:custGeom>
              <a:avLst/>
              <a:gdLst>
                <a:gd name="T0" fmla="*/ 10 w 12"/>
                <a:gd name="T1" fmla="*/ 15 h 15"/>
                <a:gd name="T2" fmla="*/ 12 w 12"/>
                <a:gd name="T3" fmla="*/ 13 h 15"/>
                <a:gd name="T4" fmla="*/ 1 w 12"/>
                <a:gd name="T5" fmla="*/ 0 h 15"/>
                <a:gd name="T6" fmla="*/ 0 w 12"/>
                <a:gd name="T7" fmla="*/ 2 h 15"/>
                <a:gd name="T8" fmla="*/ 10 w 12"/>
                <a:gd name="T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5">
                  <a:moveTo>
                    <a:pt x="10" y="15"/>
                  </a:moveTo>
                  <a:lnTo>
                    <a:pt x="12" y="13"/>
                  </a:lnTo>
                  <a:lnTo>
                    <a:pt x="1" y="0"/>
                  </a:lnTo>
                  <a:lnTo>
                    <a:pt x="0" y="2"/>
                  </a:lnTo>
                  <a:lnTo>
                    <a:pt x="10" y="15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16" name="Freeform 6502"/>
            <p:cNvSpPr>
              <a:spLocks/>
            </p:cNvSpPr>
            <p:nvPr/>
          </p:nvSpPr>
          <p:spPr bwMode="auto">
            <a:xfrm>
              <a:off x="6016625" y="5237164"/>
              <a:ext cx="19050" cy="23813"/>
            </a:xfrm>
            <a:custGeom>
              <a:avLst/>
              <a:gdLst>
                <a:gd name="T0" fmla="*/ 2 w 12"/>
                <a:gd name="T1" fmla="*/ 15 h 15"/>
                <a:gd name="T2" fmla="*/ 12 w 12"/>
                <a:gd name="T3" fmla="*/ 2 h 15"/>
                <a:gd name="T4" fmla="*/ 10 w 12"/>
                <a:gd name="T5" fmla="*/ 0 h 15"/>
                <a:gd name="T6" fmla="*/ 0 w 12"/>
                <a:gd name="T7" fmla="*/ 13 h 15"/>
                <a:gd name="T8" fmla="*/ 2 w 12"/>
                <a:gd name="T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5">
                  <a:moveTo>
                    <a:pt x="2" y="15"/>
                  </a:moveTo>
                  <a:lnTo>
                    <a:pt x="12" y="2"/>
                  </a:lnTo>
                  <a:lnTo>
                    <a:pt x="10" y="0"/>
                  </a:lnTo>
                  <a:lnTo>
                    <a:pt x="0" y="13"/>
                  </a:lnTo>
                  <a:lnTo>
                    <a:pt x="2" y="15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17" name="Freeform 6503"/>
            <p:cNvSpPr>
              <a:spLocks/>
            </p:cNvSpPr>
            <p:nvPr/>
          </p:nvSpPr>
          <p:spPr bwMode="auto">
            <a:xfrm>
              <a:off x="6018213" y="5219701"/>
              <a:ext cx="17463" cy="20638"/>
            </a:xfrm>
            <a:custGeom>
              <a:avLst/>
              <a:gdLst>
                <a:gd name="T0" fmla="*/ 10 w 11"/>
                <a:gd name="T1" fmla="*/ 13 h 13"/>
                <a:gd name="T2" fmla="*/ 11 w 11"/>
                <a:gd name="T3" fmla="*/ 11 h 13"/>
                <a:gd name="T4" fmla="*/ 2 w 11"/>
                <a:gd name="T5" fmla="*/ 0 h 13"/>
                <a:gd name="T6" fmla="*/ 0 w 11"/>
                <a:gd name="T7" fmla="*/ 1 h 13"/>
                <a:gd name="T8" fmla="*/ 10 w 11"/>
                <a:gd name="T9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3">
                  <a:moveTo>
                    <a:pt x="10" y="13"/>
                  </a:moveTo>
                  <a:lnTo>
                    <a:pt x="11" y="11"/>
                  </a:lnTo>
                  <a:lnTo>
                    <a:pt x="2" y="0"/>
                  </a:lnTo>
                  <a:lnTo>
                    <a:pt x="0" y="1"/>
                  </a:lnTo>
                  <a:lnTo>
                    <a:pt x="10" y="13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18" name="Freeform 6504"/>
            <p:cNvSpPr>
              <a:spLocks/>
            </p:cNvSpPr>
            <p:nvPr/>
          </p:nvSpPr>
          <p:spPr bwMode="auto">
            <a:xfrm>
              <a:off x="6018213" y="5219701"/>
              <a:ext cx="17463" cy="22225"/>
            </a:xfrm>
            <a:custGeom>
              <a:avLst/>
              <a:gdLst>
                <a:gd name="T0" fmla="*/ 2 w 11"/>
                <a:gd name="T1" fmla="*/ 14 h 14"/>
                <a:gd name="T2" fmla="*/ 11 w 11"/>
                <a:gd name="T3" fmla="*/ 1 h 14"/>
                <a:gd name="T4" fmla="*/ 9 w 11"/>
                <a:gd name="T5" fmla="*/ 0 h 14"/>
                <a:gd name="T6" fmla="*/ 0 w 11"/>
                <a:gd name="T7" fmla="*/ 11 h 14"/>
                <a:gd name="T8" fmla="*/ 2 w 11"/>
                <a:gd name="T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4">
                  <a:moveTo>
                    <a:pt x="2" y="14"/>
                  </a:moveTo>
                  <a:lnTo>
                    <a:pt x="11" y="1"/>
                  </a:lnTo>
                  <a:lnTo>
                    <a:pt x="9" y="0"/>
                  </a:lnTo>
                  <a:lnTo>
                    <a:pt x="0" y="11"/>
                  </a:lnTo>
                  <a:lnTo>
                    <a:pt x="2" y="14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19" name="Freeform 6505"/>
            <p:cNvSpPr>
              <a:spLocks/>
            </p:cNvSpPr>
            <p:nvPr/>
          </p:nvSpPr>
          <p:spPr bwMode="auto">
            <a:xfrm>
              <a:off x="6019800" y="5203826"/>
              <a:ext cx="15875" cy="17463"/>
            </a:xfrm>
            <a:custGeom>
              <a:avLst/>
              <a:gdLst>
                <a:gd name="T0" fmla="*/ 8 w 10"/>
                <a:gd name="T1" fmla="*/ 11 h 11"/>
                <a:gd name="T2" fmla="*/ 10 w 10"/>
                <a:gd name="T3" fmla="*/ 10 h 11"/>
                <a:gd name="T4" fmla="*/ 2 w 10"/>
                <a:gd name="T5" fmla="*/ 0 h 11"/>
                <a:gd name="T6" fmla="*/ 0 w 10"/>
                <a:gd name="T7" fmla="*/ 1 h 11"/>
                <a:gd name="T8" fmla="*/ 8 w 10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1">
                  <a:moveTo>
                    <a:pt x="8" y="11"/>
                  </a:moveTo>
                  <a:lnTo>
                    <a:pt x="10" y="10"/>
                  </a:lnTo>
                  <a:lnTo>
                    <a:pt x="2" y="0"/>
                  </a:lnTo>
                  <a:lnTo>
                    <a:pt x="0" y="1"/>
                  </a:lnTo>
                  <a:lnTo>
                    <a:pt x="8" y="11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20" name="Freeform 6506"/>
            <p:cNvSpPr>
              <a:spLocks/>
            </p:cNvSpPr>
            <p:nvPr/>
          </p:nvSpPr>
          <p:spPr bwMode="auto">
            <a:xfrm>
              <a:off x="6018213" y="5203826"/>
              <a:ext cx="15875" cy="17463"/>
            </a:xfrm>
            <a:custGeom>
              <a:avLst/>
              <a:gdLst>
                <a:gd name="T0" fmla="*/ 2 w 10"/>
                <a:gd name="T1" fmla="*/ 11 h 11"/>
                <a:gd name="T2" fmla="*/ 10 w 10"/>
                <a:gd name="T3" fmla="*/ 1 h 11"/>
                <a:gd name="T4" fmla="*/ 8 w 10"/>
                <a:gd name="T5" fmla="*/ 0 h 11"/>
                <a:gd name="T6" fmla="*/ 0 w 10"/>
                <a:gd name="T7" fmla="*/ 10 h 11"/>
                <a:gd name="T8" fmla="*/ 2 w 10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1">
                  <a:moveTo>
                    <a:pt x="2" y="11"/>
                  </a:moveTo>
                  <a:lnTo>
                    <a:pt x="10" y="1"/>
                  </a:lnTo>
                  <a:lnTo>
                    <a:pt x="8" y="0"/>
                  </a:lnTo>
                  <a:lnTo>
                    <a:pt x="0" y="10"/>
                  </a:lnTo>
                  <a:lnTo>
                    <a:pt x="2" y="11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21" name="Freeform 6507"/>
            <p:cNvSpPr>
              <a:spLocks/>
            </p:cNvSpPr>
            <p:nvPr/>
          </p:nvSpPr>
          <p:spPr bwMode="auto">
            <a:xfrm>
              <a:off x="6021388" y="5186364"/>
              <a:ext cx="12700" cy="19050"/>
            </a:xfrm>
            <a:custGeom>
              <a:avLst/>
              <a:gdLst>
                <a:gd name="T0" fmla="*/ 6 w 8"/>
                <a:gd name="T1" fmla="*/ 12 h 12"/>
                <a:gd name="T2" fmla="*/ 8 w 8"/>
                <a:gd name="T3" fmla="*/ 11 h 12"/>
                <a:gd name="T4" fmla="*/ 1 w 8"/>
                <a:gd name="T5" fmla="*/ 0 h 12"/>
                <a:gd name="T6" fmla="*/ 0 w 8"/>
                <a:gd name="T7" fmla="*/ 1 h 12"/>
                <a:gd name="T8" fmla="*/ 6 w 8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2">
                  <a:moveTo>
                    <a:pt x="6" y="12"/>
                  </a:moveTo>
                  <a:lnTo>
                    <a:pt x="8" y="11"/>
                  </a:lnTo>
                  <a:lnTo>
                    <a:pt x="1" y="0"/>
                  </a:lnTo>
                  <a:lnTo>
                    <a:pt x="0" y="1"/>
                  </a:lnTo>
                  <a:lnTo>
                    <a:pt x="6" y="12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22" name="Freeform 6508"/>
            <p:cNvSpPr>
              <a:spLocks/>
            </p:cNvSpPr>
            <p:nvPr/>
          </p:nvSpPr>
          <p:spPr bwMode="auto">
            <a:xfrm>
              <a:off x="6019800" y="5186364"/>
              <a:ext cx="14288" cy="19050"/>
            </a:xfrm>
            <a:custGeom>
              <a:avLst/>
              <a:gdLst>
                <a:gd name="T0" fmla="*/ 2 w 9"/>
                <a:gd name="T1" fmla="*/ 12 h 12"/>
                <a:gd name="T2" fmla="*/ 9 w 9"/>
                <a:gd name="T3" fmla="*/ 1 h 12"/>
                <a:gd name="T4" fmla="*/ 7 w 9"/>
                <a:gd name="T5" fmla="*/ 0 h 12"/>
                <a:gd name="T6" fmla="*/ 0 w 9"/>
                <a:gd name="T7" fmla="*/ 11 h 12"/>
                <a:gd name="T8" fmla="*/ 2 w 9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2">
                  <a:moveTo>
                    <a:pt x="2" y="12"/>
                  </a:moveTo>
                  <a:lnTo>
                    <a:pt x="9" y="1"/>
                  </a:lnTo>
                  <a:lnTo>
                    <a:pt x="7" y="0"/>
                  </a:lnTo>
                  <a:lnTo>
                    <a:pt x="0" y="11"/>
                  </a:lnTo>
                  <a:lnTo>
                    <a:pt x="2" y="12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23" name="Freeform 6509"/>
            <p:cNvSpPr>
              <a:spLocks/>
            </p:cNvSpPr>
            <p:nvPr/>
          </p:nvSpPr>
          <p:spPr bwMode="auto">
            <a:xfrm>
              <a:off x="6021388" y="5168901"/>
              <a:ext cx="12700" cy="19050"/>
            </a:xfrm>
            <a:custGeom>
              <a:avLst/>
              <a:gdLst>
                <a:gd name="T0" fmla="*/ 6 w 8"/>
                <a:gd name="T1" fmla="*/ 12 h 12"/>
                <a:gd name="T2" fmla="*/ 8 w 8"/>
                <a:gd name="T3" fmla="*/ 11 h 12"/>
                <a:gd name="T4" fmla="*/ 2 w 8"/>
                <a:gd name="T5" fmla="*/ 0 h 12"/>
                <a:gd name="T6" fmla="*/ 0 w 8"/>
                <a:gd name="T7" fmla="*/ 1 h 12"/>
                <a:gd name="T8" fmla="*/ 6 w 8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2">
                  <a:moveTo>
                    <a:pt x="6" y="12"/>
                  </a:moveTo>
                  <a:lnTo>
                    <a:pt x="8" y="11"/>
                  </a:lnTo>
                  <a:lnTo>
                    <a:pt x="2" y="0"/>
                  </a:lnTo>
                  <a:lnTo>
                    <a:pt x="0" y="1"/>
                  </a:lnTo>
                  <a:lnTo>
                    <a:pt x="6" y="12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24" name="Freeform 6510"/>
            <p:cNvSpPr>
              <a:spLocks/>
            </p:cNvSpPr>
            <p:nvPr/>
          </p:nvSpPr>
          <p:spPr bwMode="auto">
            <a:xfrm>
              <a:off x="6021388" y="5168901"/>
              <a:ext cx="11113" cy="19050"/>
            </a:xfrm>
            <a:custGeom>
              <a:avLst/>
              <a:gdLst>
                <a:gd name="T0" fmla="*/ 1 w 7"/>
                <a:gd name="T1" fmla="*/ 12 h 12"/>
                <a:gd name="T2" fmla="*/ 7 w 7"/>
                <a:gd name="T3" fmla="*/ 1 h 12"/>
                <a:gd name="T4" fmla="*/ 5 w 7"/>
                <a:gd name="T5" fmla="*/ 0 h 12"/>
                <a:gd name="T6" fmla="*/ 0 w 7"/>
                <a:gd name="T7" fmla="*/ 11 h 12"/>
                <a:gd name="T8" fmla="*/ 1 w 7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2">
                  <a:moveTo>
                    <a:pt x="1" y="12"/>
                  </a:moveTo>
                  <a:lnTo>
                    <a:pt x="7" y="1"/>
                  </a:lnTo>
                  <a:lnTo>
                    <a:pt x="5" y="0"/>
                  </a:lnTo>
                  <a:lnTo>
                    <a:pt x="0" y="11"/>
                  </a:lnTo>
                  <a:lnTo>
                    <a:pt x="1" y="12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25" name="Freeform 6511"/>
            <p:cNvSpPr>
              <a:spLocks/>
            </p:cNvSpPr>
            <p:nvPr/>
          </p:nvSpPr>
          <p:spPr bwMode="auto">
            <a:xfrm>
              <a:off x="6043613" y="5308601"/>
              <a:ext cx="25400" cy="25400"/>
            </a:xfrm>
            <a:custGeom>
              <a:avLst/>
              <a:gdLst>
                <a:gd name="T0" fmla="*/ 1 w 16"/>
                <a:gd name="T1" fmla="*/ 16 h 16"/>
                <a:gd name="T2" fmla="*/ 16 w 16"/>
                <a:gd name="T3" fmla="*/ 2 h 16"/>
                <a:gd name="T4" fmla="*/ 15 w 16"/>
                <a:gd name="T5" fmla="*/ 0 h 16"/>
                <a:gd name="T6" fmla="*/ 0 w 16"/>
                <a:gd name="T7" fmla="*/ 15 h 16"/>
                <a:gd name="T8" fmla="*/ 1 w 16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6">
                  <a:moveTo>
                    <a:pt x="1" y="16"/>
                  </a:moveTo>
                  <a:lnTo>
                    <a:pt x="16" y="2"/>
                  </a:lnTo>
                  <a:lnTo>
                    <a:pt x="15" y="0"/>
                  </a:lnTo>
                  <a:lnTo>
                    <a:pt x="0" y="15"/>
                  </a:lnTo>
                  <a:lnTo>
                    <a:pt x="1" y="16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26" name="Freeform 6512"/>
            <p:cNvSpPr>
              <a:spLocks/>
            </p:cNvSpPr>
            <p:nvPr/>
          </p:nvSpPr>
          <p:spPr bwMode="auto">
            <a:xfrm>
              <a:off x="6043613" y="5305426"/>
              <a:ext cx="25400" cy="28575"/>
            </a:xfrm>
            <a:custGeom>
              <a:avLst/>
              <a:gdLst>
                <a:gd name="T0" fmla="*/ 15 w 16"/>
                <a:gd name="T1" fmla="*/ 18 h 18"/>
                <a:gd name="T2" fmla="*/ 16 w 16"/>
                <a:gd name="T3" fmla="*/ 17 h 18"/>
                <a:gd name="T4" fmla="*/ 1 w 16"/>
                <a:gd name="T5" fmla="*/ 0 h 18"/>
                <a:gd name="T6" fmla="*/ 0 w 16"/>
                <a:gd name="T7" fmla="*/ 1 h 18"/>
                <a:gd name="T8" fmla="*/ 15 w 16"/>
                <a:gd name="T9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8">
                  <a:moveTo>
                    <a:pt x="15" y="18"/>
                  </a:moveTo>
                  <a:lnTo>
                    <a:pt x="16" y="17"/>
                  </a:lnTo>
                  <a:lnTo>
                    <a:pt x="1" y="0"/>
                  </a:lnTo>
                  <a:lnTo>
                    <a:pt x="0" y="1"/>
                  </a:lnTo>
                  <a:lnTo>
                    <a:pt x="15" y="18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27" name="Freeform 6513"/>
            <p:cNvSpPr>
              <a:spLocks/>
            </p:cNvSpPr>
            <p:nvPr/>
          </p:nvSpPr>
          <p:spPr bwMode="auto">
            <a:xfrm>
              <a:off x="6067425" y="5314951"/>
              <a:ext cx="20638" cy="19050"/>
            </a:xfrm>
            <a:custGeom>
              <a:avLst/>
              <a:gdLst>
                <a:gd name="T0" fmla="*/ 1 w 13"/>
                <a:gd name="T1" fmla="*/ 12 h 12"/>
                <a:gd name="T2" fmla="*/ 13 w 13"/>
                <a:gd name="T3" fmla="*/ 1 h 12"/>
                <a:gd name="T4" fmla="*/ 11 w 13"/>
                <a:gd name="T5" fmla="*/ 0 h 12"/>
                <a:gd name="T6" fmla="*/ 0 w 13"/>
                <a:gd name="T7" fmla="*/ 11 h 12"/>
                <a:gd name="T8" fmla="*/ 1 w 13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2">
                  <a:moveTo>
                    <a:pt x="1" y="12"/>
                  </a:moveTo>
                  <a:lnTo>
                    <a:pt x="13" y="1"/>
                  </a:lnTo>
                  <a:lnTo>
                    <a:pt x="11" y="0"/>
                  </a:lnTo>
                  <a:lnTo>
                    <a:pt x="0" y="11"/>
                  </a:lnTo>
                  <a:lnTo>
                    <a:pt x="1" y="12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28" name="Freeform 6514"/>
            <p:cNvSpPr>
              <a:spLocks/>
            </p:cNvSpPr>
            <p:nvPr/>
          </p:nvSpPr>
          <p:spPr bwMode="auto">
            <a:xfrm>
              <a:off x="6067425" y="5308601"/>
              <a:ext cx="20638" cy="25400"/>
            </a:xfrm>
            <a:custGeom>
              <a:avLst/>
              <a:gdLst>
                <a:gd name="T0" fmla="*/ 11 w 13"/>
                <a:gd name="T1" fmla="*/ 16 h 16"/>
                <a:gd name="T2" fmla="*/ 13 w 13"/>
                <a:gd name="T3" fmla="*/ 15 h 16"/>
                <a:gd name="T4" fmla="*/ 1 w 13"/>
                <a:gd name="T5" fmla="*/ 0 h 16"/>
                <a:gd name="T6" fmla="*/ 0 w 13"/>
                <a:gd name="T7" fmla="*/ 2 h 16"/>
                <a:gd name="T8" fmla="*/ 11 w 13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6">
                  <a:moveTo>
                    <a:pt x="11" y="16"/>
                  </a:moveTo>
                  <a:lnTo>
                    <a:pt x="13" y="15"/>
                  </a:lnTo>
                  <a:lnTo>
                    <a:pt x="1" y="0"/>
                  </a:lnTo>
                  <a:lnTo>
                    <a:pt x="0" y="2"/>
                  </a:lnTo>
                  <a:lnTo>
                    <a:pt x="11" y="16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29" name="Freeform 6515"/>
            <p:cNvSpPr>
              <a:spLocks/>
            </p:cNvSpPr>
            <p:nvPr/>
          </p:nvSpPr>
          <p:spPr bwMode="auto">
            <a:xfrm>
              <a:off x="6084888" y="5318126"/>
              <a:ext cx="23813" cy="17463"/>
            </a:xfrm>
            <a:custGeom>
              <a:avLst/>
              <a:gdLst>
                <a:gd name="T0" fmla="*/ 2 w 15"/>
                <a:gd name="T1" fmla="*/ 11 h 11"/>
                <a:gd name="T2" fmla="*/ 15 w 15"/>
                <a:gd name="T3" fmla="*/ 1 h 11"/>
                <a:gd name="T4" fmla="*/ 13 w 15"/>
                <a:gd name="T5" fmla="*/ 0 h 11"/>
                <a:gd name="T6" fmla="*/ 0 w 15"/>
                <a:gd name="T7" fmla="*/ 9 h 11"/>
                <a:gd name="T8" fmla="*/ 2 w 15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1">
                  <a:moveTo>
                    <a:pt x="2" y="11"/>
                  </a:moveTo>
                  <a:lnTo>
                    <a:pt x="15" y="1"/>
                  </a:lnTo>
                  <a:lnTo>
                    <a:pt x="13" y="0"/>
                  </a:lnTo>
                  <a:lnTo>
                    <a:pt x="0" y="9"/>
                  </a:lnTo>
                  <a:lnTo>
                    <a:pt x="2" y="11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30" name="Freeform 6516"/>
            <p:cNvSpPr>
              <a:spLocks/>
            </p:cNvSpPr>
            <p:nvPr/>
          </p:nvSpPr>
          <p:spPr bwMode="auto">
            <a:xfrm>
              <a:off x="6084888" y="5314951"/>
              <a:ext cx="23813" cy="19050"/>
            </a:xfrm>
            <a:custGeom>
              <a:avLst/>
              <a:gdLst>
                <a:gd name="T0" fmla="*/ 13 w 15"/>
                <a:gd name="T1" fmla="*/ 12 h 12"/>
                <a:gd name="T2" fmla="*/ 15 w 15"/>
                <a:gd name="T3" fmla="*/ 11 h 12"/>
                <a:gd name="T4" fmla="*/ 2 w 15"/>
                <a:gd name="T5" fmla="*/ 0 h 12"/>
                <a:gd name="T6" fmla="*/ 0 w 15"/>
                <a:gd name="T7" fmla="*/ 1 h 12"/>
                <a:gd name="T8" fmla="*/ 13 w 15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2">
                  <a:moveTo>
                    <a:pt x="13" y="12"/>
                  </a:moveTo>
                  <a:lnTo>
                    <a:pt x="15" y="11"/>
                  </a:lnTo>
                  <a:lnTo>
                    <a:pt x="2" y="0"/>
                  </a:lnTo>
                  <a:lnTo>
                    <a:pt x="0" y="1"/>
                  </a:lnTo>
                  <a:lnTo>
                    <a:pt x="13" y="12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31" name="Freeform 6517"/>
            <p:cNvSpPr>
              <a:spLocks/>
            </p:cNvSpPr>
            <p:nvPr/>
          </p:nvSpPr>
          <p:spPr bwMode="auto">
            <a:xfrm>
              <a:off x="6105525" y="5321301"/>
              <a:ext cx="20638" cy="12700"/>
            </a:xfrm>
            <a:custGeom>
              <a:avLst/>
              <a:gdLst>
                <a:gd name="T0" fmla="*/ 1 w 13"/>
                <a:gd name="T1" fmla="*/ 8 h 8"/>
                <a:gd name="T2" fmla="*/ 13 w 13"/>
                <a:gd name="T3" fmla="*/ 2 h 8"/>
                <a:gd name="T4" fmla="*/ 12 w 13"/>
                <a:gd name="T5" fmla="*/ 0 h 8"/>
                <a:gd name="T6" fmla="*/ 0 w 13"/>
                <a:gd name="T7" fmla="*/ 6 h 8"/>
                <a:gd name="T8" fmla="*/ 1 w 13"/>
                <a:gd name="T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8">
                  <a:moveTo>
                    <a:pt x="1" y="8"/>
                  </a:moveTo>
                  <a:lnTo>
                    <a:pt x="13" y="2"/>
                  </a:lnTo>
                  <a:lnTo>
                    <a:pt x="12" y="0"/>
                  </a:lnTo>
                  <a:lnTo>
                    <a:pt x="0" y="6"/>
                  </a:lnTo>
                  <a:lnTo>
                    <a:pt x="1" y="8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32" name="Freeform 6518"/>
            <p:cNvSpPr>
              <a:spLocks/>
            </p:cNvSpPr>
            <p:nvPr/>
          </p:nvSpPr>
          <p:spPr bwMode="auto">
            <a:xfrm>
              <a:off x="6105525" y="5318126"/>
              <a:ext cx="20638" cy="15875"/>
            </a:xfrm>
            <a:custGeom>
              <a:avLst/>
              <a:gdLst>
                <a:gd name="T0" fmla="*/ 12 w 13"/>
                <a:gd name="T1" fmla="*/ 10 h 10"/>
                <a:gd name="T2" fmla="*/ 13 w 13"/>
                <a:gd name="T3" fmla="*/ 9 h 10"/>
                <a:gd name="T4" fmla="*/ 2 w 13"/>
                <a:gd name="T5" fmla="*/ 0 h 10"/>
                <a:gd name="T6" fmla="*/ 0 w 13"/>
                <a:gd name="T7" fmla="*/ 1 h 10"/>
                <a:gd name="T8" fmla="*/ 12 w 13"/>
                <a:gd name="T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0">
                  <a:moveTo>
                    <a:pt x="12" y="10"/>
                  </a:moveTo>
                  <a:lnTo>
                    <a:pt x="13" y="9"/>
                  </a:lnTo>
                  <a:lnTo>
                    <a:pt x="2" y="0"/>
                  </a:lnTo>
                  <a:lnTo>
                    <a:pt x="0" y="1"/>
                  </a:lnTo>
                  <a:lnTo>
                    <a:pt x="12" y="10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33" name="Freeform 6519"/>
            <p:cNvSpPr>
              <a:spLocks/>
            </p:cNvSpPr>
            <p:nvPr/>
          </p:nvSpPr>
          <p:spPr bwMode="auto">
            <a:xfrm>
              <a:off x="6126163" y="5324476"/>
              <a:ext cx="19050" cy="11113"/>
            </a:xfrm>
            <a:custGeom>
              <a:avLst/>
              <a:gdLst>
                <a:gd name="T0" fmla="*/ 1 w 12"/>
                <a:gd name="T1" fmla="*/ 7 h 7"/>
                <a:gd name="T2" fmla="*/ 12 w 12"/>
                <a:gd name="T3" fmla="*/ 3 h 7"/>
                <a:gd name="T4" fmla="*/ 11 w 12"/>
                <a:gd name="T5" fmla="*/ 0 h 7"/>
                <a:gd name="T6" fmla="*/ 0 w 12"/>
                <a:gd name="T7" fmla="*/ 5 h 7"/>
                <a:gd name="T8" fmla="*/ 1 w 12"/>
                <a:gd name="T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7">
                  <a:moveTo>
                    <a:pt x="1" y="7"/>
                  </a:moveTo>
                  <a:lnTo>
                    <a:pt x="12" y="3"/>
                  </a:lnTo>
                  <a:lnTo>
                    <a:pt x="11" y="0"/>
                  </a:lnTo>
                  <a:lnTo>
                    <a:pt x="0" y="5"/>
                  </a:lnTo>
                  <a:lnTo>
                    <a:pt x="1" y="7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34" name="Freeform 6520"/>
            <p:cNvSpPr>
              <a:spLocks/>
            </p:cNvSpPr>
            <p:nvPr/>
          </p:nvSpPr>
          <p:spPr bwMode="auto">
            <a:xfrm>
              <a:off x="5984875" y="5310189"/>
              <a:ext cx="25400" cy="25400"/>
            </a:xfrm>
            <a:custGeom>
              <a:avLst/>
              <a:gdLst>
                <a:gd name="T0" fmla="*/ 15 w 16"/>
                <a:gd name="T1" fmla="*/ 16 h 16"/>
                <a:gd name="T2" fmla="*/ 16 w 16"/>
                <a:gd name="T3" fmla="*/ 14 h 16"/>
                <a:gd name="T4" fmla="*/ 1 w 16"/>
                <a:gd name="T5" fmla="*/ 0 h 16"/>
                <a:gd name="T6" fmla="*/ 0 w 16"/>
                <a:gd name="T7" fmla="*/ 1 h 16"/>
                <a:gd name="T8" fmla="*/ 15 w 16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6">
                  <a:moveTo>
                    <a:pt x="15" y="16"/>
                  </a:moveTo>
                  <a:lnTo>
                    <a:pt x="16" y="14"/>
                  </a:lnTo>
                  <a:lnTo>
                    <a:pt x="1" y="0"/>
                  </a:lnTo>
                  <a:lnTo>
                    <a:pt x="0" y="1"/>
                  </a:lnTo>
                  <a:lnTo>
                    <a:pt x="15" y="16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35" name="Freeform 6521"/>
            <p:cNvSpPr>
              <a:spLocks/>
            </p:cNvSpPr>
            <p:nvPr/>
          </p:nvSpPr>
          <p:spPr bwMode="auto">
            <a:xfrm>
              <a:off x="5984875" y="5305426"/>
              <a:ext cx="25400" cy="30163"/>
            </a:xfrm>
            <a:custGeom>
              <a:avLst/>
              <a:gdLst>
                <a:gd name="T0" fmla="*/ 1 w 16"/>
                <a:gd name="T1" fmla="*/ 19 h 19"/>
                <a:gd name="T2" fmla="*/ 16 w 16"/>
                <a:gd name="T3" fmla="*/ 2 h 19"/>
                <a:gd name="T4" fmla="*/ 15 w 16"/>
                <a:gd name="T5" fmla="*/ 0 h 19"/>
                <a:gd name="T6" fmla="*/ 0 w 16"/>
                <a:gd name="T7" fmla="*/ 17 h 19"/>
                <a:gd name="T8" fmla="*/ 1 w 16"/>
                <a:gd name="T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9">
                  <a:moveTo>
                    <a:pt x="1" y="19"/>
                  </a:moveTo>
                  <a:lnTo>
                    <a:pt x="16" y="2"/>
                  </a:lnTo>
                  <a:lnTo>
                    <a:pt x="15" y="0"/>
                  </a:lnTo>
                  <a:lnTo>
                    <a:pt x="0" y="17"/>
                  </a:lnTo>
                  <a:lnTo>
                    <a:pt x="1" y="19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36" name="Freeform 6522"/>
            <p:cNvSpPr>
              <a:spLocks/>
            </p:cNvSpPr>
            <p:nvPr/>
          </p:nvSpPr>
          <p:spPr bwMode="auto">
            <a:xfrm>
              <a:off x="5965825" y="5314951"/>
              <a:ext cx="20638" cy="20638"/>
            </a:xfrm>
            <a:custGeom>
              <a:avLst/>
              <a:gdLst>
                <a:gd name="T0" fmla="*/ 12 w 13"/>
                <a:gd name="T1" fmla="*/ 13 h 13"/>
                <a:gd name="T2" fmla="*/ 13 w 13"/>
                <a:gd name="T3" fmla="*/ 11 h 13"/>
                <a:gd name="T4" fmla="*/ 2 w 13"/>
                <a:gd name="T5" fmla="*/ 0 h 13"/>
                <a:gd name="T6" fmla="*/ 0 w 13"/>
                <a:gd name="T7" fmla="*/ 1 h 13"/>
                <a:gd name="T8" fmla="*/ 12 w 13"/>
                <a:gd name="T9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3">
                  <a:moveTo>
                    <a:pt x="12" y="13"/>
                  </a:moveTo>
                  <a:lnTo>
                    <a:pt x="13" y="11"/>
                  </a:lnTo>
                  <a:lnTo>
                    <a:pt x="2" y="0"/>
                  </a:lnTo>
                  <a:lnTo>
                    <a:pt x="0" y="1"/>
                  </a:lnTo>
                  <a:lnTo>
                    <a:pt x="12" y="13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37" name="Freeform 6523"/>
            <p:cNvSpPr>
              <a:spLocks/>
            </p:cNvSpPr>
            <p:nvPr/>
          </p:nvSpPr>
          <p:spPr bwMode="auto">
            <a:xfrm>
              <a:off x="5965825" y="5310189"/>
              <a:ext cx="20638" cy="25400"/>
            </a:xfrm>
            <a:custGeom>
              <a:avLst/>
              <a:gdLst>
                <a:gd name="T0" fmla="*/ 2 w 13"/>
                <a:gd name="T1" fmla="*/ 16 h 16"/>
                <a:gd name="T2" fmla="*/ 13 w 13"/>
                <a:gd name="T3" fmla="*/ 1 h 16"/>
                <a:gd name="T4" fmla="*/ 12 w 13"/>
                <a:gd name="T5" fmla="*/ 0 h 16"/>
                <a:gd name="T6" fmla="*/ 0 w 13"/>
                <a:gd name="T7" fmla="*/ 14 h 16"/>
                <a:gd name="T8" fmla="*/ 2 w 13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6">
                  <a:moveTo>
                    <a:pt x="2" y="16"/>
                  </a:moveTo>
                  <a:lnTo>
                    <a:pt x="13" y="1"/>
                  </a:lnTo>
                  <a:lnTo>
                    <a:pt x="12" y="0"/>
                  </a:lnTo>
                  <a:lnTo>
                    <a:pt x="0" y="14"/>
                  </a:lnTo>
                  <a:lnTo>
                    <a:pt x="2" y="16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38" name="Freeform 6524"/>
            <p:cNvSpPr>
              <a:spLocks/>
            </p:cNvSpPr>
            <p:nvPr/>
          </p:nvSpPr>
          <p:spPr bwMode="auto">
            <a:xfrm>
              <a:off x="5946775" y="5318126"/>
              <a:ext cx="22225" cy="17463"/>
            </a:xfrm>
            <a:custGeom>
              <a:avLst/>
              <a:gdLst>
                <a:gd name="T0" fmla="*/ 12 w 14"/>
                <a:gd name="T1" fmla="*/ 11 h 11"/>
                <a:gd name="T2" fmla="*/ 14 w 14"/>
                <a:gd name="T3" fmla="*/ 9 h 11"/>
                <a:gd name="T4" fmla="*/ 1 w 14"/>
                <a:gd name="T5" fmla="*/ 0 h 11"/>
                <a:gd name="T6" fmla="*/ 0 w 14"/>
                <a:gd name="T7" fmla="*/ 2 h 11"/>
                <a:gd name="T8" fmla="*/ 12 w 14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1">
                  <a:moveTo>
                    <a:pt x="12" y="11"/>
                  </a:moveTo>
                  <a:lnTo>
                    <a:pt x="14" y="9"/>
                  </a:lnTo>
                  <a:lnTo>
                    <a:pt x="1" y="0"/>
                  </a:lnTo>
                  <a:lnTo>
                    <a:pt x="0" y="2"/>
                  </a:lnTo>
                  <a:lnTo>
                    <a:pt x="12" y="11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39" name="Freeform 6525"/>
            <p:cNvSpPr>
              <a:spLocks/>
            </p:cNvSpPr>
            <p:nvPr/>
          </p:nvSpPr>
          <p:spPr bwMode="auto">
            <a:xfrm>
              <a:off x="5945188" y="5314951"/>
              <a:ext cx="23813" cy="20638"/>
            </a:xfrm>
            <a:custGeom>
              <a:avLst/>
              <a:gdLst>
                <a:gd name="T0" fmla="*/ 2 w 15"/>
                <a:gd name="T1" fmla="*/ 13 h 13"/>
                <a:gd name="T2" fmla="*/ 15 w 15"/>
                <a:gd name="T3" fmla="*/ 1 h 13"/>
                <a:gd name="T4" fmla="*/ 13 w 15"/>
                <a:gd name="T5" fmla="*/ 0 h 13"/>
                <a:gd name="T6" fmla="*/ 0 w 15"/>
                <a:gd name="T7" fmla="*/ 11 h 13"/>
                <a:gd name="T8" fmla="*/ 2 w 15"/>
                <a:gd name="T9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3">
                  <a:moveTo>
                    <a:pt x="2" y="13"/>
                  </a:moveTo>
                  <a:lnTo>
                    <a:pt x="15" y="1"/>
                  </a:lnTo>
                  <a:lnTo>
                    <a:pt x="13" y="0"/>
                  </a:lnTo>
                  <a:lnTo>
                    <a:pt x="0" y="11"/>
                  </a:lnTo>
                  <a:lnTo>
                    <a:pt x="2" y="13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40" name="Freeform 6526"/>
            <p:cNvSpPr>
              <a:spLocks/>
            </p:cNvSpPr>
            <p:nvPr/>
          </p:nvSpPr>
          <p:spPr bwMode="auto">
            <a:xfrm>
              <a:off x="5927725" y="5321301"/>
              <a:ext cx="20638" cy="12700"/>
            </a:xfrm>
            <a:custGeom>
              <a:avLst/>
              <a:gdLst>
                <a:gd name="T0" fmla="*/ 12 w 13"/>
                <a:gd name="T1" fmla="*/ 8 h 8"/>
                <a:gd name="T2" fmla="*/ 13 w 13"/>
                <a:gd name="T3" fmla="*/ 6 h 8"/>
                <a:gd name="T4" fmla="*/ 1 w 13"/>
                <a:gd name="T5" fmla="*/ 0 h 8"/>
                <a:gd name="T6" fmla="*/ 0 w 13"/>
                <a:gd name="T7" fmla="*/ 2 h 8"/>
                <a:gd name="T8" fmla="*/ 12 w 13"/>
                <a:gd name="T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8">
                  <a:moveTo>
                    <a:pt x="12" y="8"/>
                  </a:moveTo>
                  <a:lnTo>
                    <a:pt x="13" y="6"/>
                  </a:lnTo>
                  <a:lnTo>
                    <a:pt x="1" y="0"/>
                  </a:lnTo>
                  <a:lnTo>
                    <a:pt x="0" y="2"/>
                  </a:lnTo>
                  <a:lnTo>
                    <a:pt x="12" y="8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41" name="Freeform 6527"/>
            <p:cNvSpPr>
              <a:spLocks/>
            </p:cNvSpPr>
            <p:nvPr/>
          </p:nvSpPr>
          <p:spPr bwMode="auto">
            <a:xfrm>
              <a:off x="5927725" y="5318126"/>
              <a:ext cx="20638" cy="17463"/>
            </a:xfrm>
            <a:custGeom>
              <a:avLst/>
              <a:gdLst>
                <a:gd name="T0" fmla="*/ 1 w 13"/>
                <a:gd name="T1" fmla="*/ 11 h 11"/>
                <a:gd name="T2" fmla="*/ 13 w 13"/>
                <a:gd name="T3" fmla="*/ 2 h 11"/>
                <a:gd name="T4" fmla="*/ 12 w 13"/>
                <a:gd name="T5" fmla="*/ 0 h 11"/>
                <a:gd name="T6" fmla="*/ 0 w 13"/>
                <a:gd name="T7" fmla="*/ 9 h 11"/>
                <a:gd name="T8" fmla="*/ 1 w 13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1">
                  <a:moveTo>
                    <a:pt x="1" y="11"/>
                  </a:moveTo>
                  <a:lnTo>
                    <a:pt x="13" y="2"/>
                  </a:lnTo>
                  <a:lnTo>
                    <a:pt x="12" y="0"/>
                  </a:lnTo>
                  <a:lnTo>
                    <a:pt x="0" y="9"/>
                  </a:lnTo>
                  <a:lnTo>
                    <a:pt x="1" y="11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42" name="Freeform 6528"/>
            <p:cNvSpPr>
              <a:spLocks/>
            </p:cNvSpPr>
            <p:nvPr/>
          </p:nvSpPr>
          <p:spPr bwMode="auto">
            <a:xfrm>
              <a:off x="5910263" y="5324476"/>
              <a:ext cx="17463" cy="11113"/>
            </a:xfrm>
            <a:custGeom>
              <a:avLst/>
              <a:gdLst>
                <a:gd name="T0" fmla="*/ 11 w 11"/>
                <a:gd name="T1" fmla="*/ 7 h 7"/>
                <a:gd name="T2" fmla="*/ 11 w 11"/>
                <a:gd name="T3" fmla="*/ 5 h 7"/>
                <a:gd name="T4" fmla="*/ 0 w 11"/>
                <a:gd name="T5" fmla="*/ 0 h 7"/>
                <a:gd name="T6" fmla="*/ 0 w 11"/>
                <a:gd name="T7" fmla="*/ 3 h 7"/>
                <a:gd name="T8" fmla="*/ 11 w 11"/>
                <a:gd name="T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">
                  <a:moveTo>
                    <a:pt x="11" y="7"/>
                  </a:moveTo>
                  <a:lnTo>
                    <a:pt x="11" y="5"/>
                  </a:lnTo>
                  <a:lnTo>
                    <a:pt x="0" y="0"/>
                  </a:lnTo>
                  <a:lnTo>
                    <a:pt x="0" y="3"/>
                  </a:lnTo>
                  <a:lnTo>
                    <a:pt x="11" y="7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43" name="Freeform 6529"/>
            <p:cNvSpPr>
              <a:spLocks/>
            </p:cNvSpPr>
            <p:nvPr/>
          </p:nvSpPr>
          <p:spPr bwMode="auto">
            <a:xfrm>
              <a:off x="6048375" y="5392739"/>
              <a:ext cx="22225" cy="19050"/>
            </a:xfrm>
            <a:custGeom>
              <a:avLst/>
              <a:gdLst>
                <a:gd name="T0" fmla="*/ 1 w 14"/>
                <a:gd name="T1" fmla="*/ 12 h 12"/>
                <a:gd name="T2" fmla="*/ 14 w 14"/>
                <a:gd name="T3" fmla="*/ 2 h 12"/>
                <a:gd name="T4" fmla="*/ 13 w 14"/>
                <a:gd name="T5" fmla="*/ 0 h 12"/>
                <a:gd name="T6" fmla="*/ 0 w 14"/>
                <a:gd name="T7" fmla="*/ 10 h 12"/>
                <a:gd name="T8" fmla="*/ 1 w 14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2">
                  <a:moveTo>
                    <a:pt x="1" y="12"/>
                  </a:moveTo>
                  <a:lnTo>
                    <a:pt x="14" y="2"/>
                  </a:lnTo>
                  <a:lnTo>
                    <a:pt x="13" y="0"/>
                  </a:lnTo>
                  <a:lnTo>
                    <a:pt x="0" y="10"/>
                  </a:lnTo>
                  <a:lnTo>
                    <a:pt x="1" y="12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44" name="Freeform 6530"/>
            <p:cNvSpPr>
              <a:spLocks/>
            </p:cNvSpPr>
            <p:nvPr/>
          </p:nvSpPr>
          <p:spPr bwMode="auto">
            <a:xfrm>
              <a:off x="6046788" y="5386389"/>
              <a:ext cx="23813" cy="25400"/>
            </a:xfrm>
            <a:custGeom>
              <a:avLst/>
              <a:gdLst>
                <a:gd name="T0" fmla="*/ 14 w 15"/>
                <a:gd name="T1" fmla="*/ 16 h 16"/>
                <a:gd name="T2" fmla="*/ 15 w 15"/>
                <a:gd name="T3" fmla="*/ 15 h 16"/>
                <a:gd name="T4" fmla="*/ 1 w 15"/>
                <a:gd name="T5" fmla="*/ 0 h 16"/>
                <a:gd name="T6" fmla="*/ 0 w 15"/>
                <a:gd name="T7" fmla="*/ 1 h 16"/>
                <a:gd name="T8" fmla="*/ 14 w 15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6">
                  <a:moveTo>
                    <a:pt x="14" y="16"/>
                  </a:moveTo>
                  <a:lnTo>
                    <a:pt x="15" y="15"/>
                  </a:lnTo>
                  <a:lnTo>
                    <a:pt x="1" y="0"/>
                  </a:lnTo>
                  <a:lnTo>
                    <a:pt x="0" y="1"/>
                  </a:lnTo>
                  <a:lnTo>
                    <a:pt x="14" y="16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45" name="Freeform 6531"/>
            <p:cNvSpPr>
              <a:spLocks/>
            </p:cNvSpPr>
            <p:nvPr/>
          </p:nvSpPr>
          <p:spPr bwMode="auto">
            <a:xfrm>
              <a:off x="6069013" y="5397501"/>
              <a:ext cx="19050" cy="14288"/>
            </a:xfrm>
            <a:custGeom>
              <a:avLst/>
              <a:gdLst>
                <a:gd name="T0" fmla="*/ 1 w 12"/>
                <a:gd name="T1" fmla="*/ 9 h 9"/>
                <a:gd name="T2" fmla="*/ 12 w 12"/>
                <a:gd name="T3" fmla="*/ 3 h 9"/>
                <a:gd name="T4" fmla="*/ 11 w 12"/>
                <a:gd name="T5" fmla="*/ 0 h 9"/>
                <a:gd name="T6" fmla="*/ 0 w 12"/>
                <a:gd name="T7" fmla="*/ 8 h 9"/>
                <a:gd name="T8" fmla="*/ 1 w 12"/>
                <a:gd name="T9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9">
                  <a:moveTo>
                    <a:pt x="1" y="9"/>
                  </a:moveTo>
                  <a:lnTo>
                    <a:pt x="12" y="3"/>
                  </a:lnTo>
                  <a:lnTo>
                    <a:pt x="11" y="0"/>
                  </a:lnTo>
                  <a:lnTo>
                    <a:pt x="0" y="8"/>
                  </a:lnTo>
                  <a:lnTo>
                    <a:pt x="1" y="9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46" name="Freeform 6532"/>
            <p:cNvSpPr>
              <a:spLocks/>
            </p:cNvSpPr>
            <p:nvPr/>
          </p:nvSpPr>
          <p:spPr bwMode="auto">
            <a:xfrm>
              <a:off x="6069013" y="5392739"/>
              <a:ext cx="19050" cy="19050"/>
            </a:xfrm>
            <a:custGeom>
              <a:avLst/>
              <a:gdLst>
                <a:gd name="T0" fmla="*/ 11 w 12"/>
                <a:gd name="T1" fmla="*/ 12 h 12"/>
                <a:gd name="T2" fmla="*/ 12 w 12"/>
                <a:gd name="T3" fmla="*/ 11 h 12"/>
                <a:gd name="T4" fmla="*/ 1 w 12"/>
                <a:gd name="T5" fmla="*/ 0 h 12"/>
                <a:gd name="T6" fmla="*/ 0 w 12"/>
                <a:gd name="T7" fmla="*/ 2 h 12"/>
                <a:gd name="T8" fmla="*/ 11 w 12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2">
                  <a:moveTo>
                    <a:pt x="11" y="12"/>
                  </a:moveTo>
                  <a:lnTo>
                    <a:pt x="12" y="11"/>
                  </a:lnTo>
                  <a:lnTo>
                    <a:pt x="1" y="0"/>
                  </a:lnTo>
                  <a:lnTo>
                    <a:pt x="0" y="2"/>
                  </a:lnTo>
                  <a:lnTo>
                    <a:pt x="11" y="12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47" name="Freeform 6533"/>
            <p:cNvSpPr>
              <a:spLocks/>
            </p:cNvSpPr>
            <p:nvPr/>
          </p:nvSpPr>
          <p:spPr bwMode="auto">
            <a:xfrm>
              <a:off x="6086475" y="5403851"/>
              <a:ext cx="14288" cy="7938"/>
            </a:xfrm>
            <a:custGeom>
              <a:avLst/>
              <a:gdLst>
                <a:gd name="T0" fmla="*/ 1 w 9"/>
                <a:gd name="T1" fmla="*/ 5 h 5"/>
                <a:gd name="T2" fmla="*/ 9 w 9"/>
                <a:gd name="T3" fmla="*/ 1 h 5"/>
                <a:gd name="T4" fmla="*/ 8 w 9"/>
                <a:gd name="T5" fmla="*/ 0 h 5"/>
                <a:gd name="T6" fmla="*/ 0 w 9"/>
                <a:gd name="T7" fmla="*/ 4 h 5"/>
                <a:gd name="T8" fmla="*/ 1 w 9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5">
                  <a:moveTo>
                    <a:pt x="1" y="5"/>
                  </a:moveTo>
                  <a:lnTo>
                    <a:pt x="9" y="1"/>
                  </a:lnTo>
                  <a:lnTo>
                    <a:pt x="8" y="0"/>
                  </a:lnTo>
                  <a:lnTo>
                    <a:pt x="0" y="4"/>
                  </a:lnTo>
                  <a:lnTo>
                    <a:pt x="1" y="5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48" name="Freeform 6534"/>
            <p:cNvSpPr>
              <a:spLocks/>
            </p:cNvSpPr>
            <p:nvPr/>
          </p:nvSpPr>
          <p:spPr bwMode="auto">
            <a:xfrm>
              <a:off x="5983288" y="5392739"/>
              <a:ext cx="22225" cy="19050"/>
            </a:xfrm>
            <a:custGeom>
              <a:avLst/>
              <a:gdLst>
                <a:gd name="T0" fmla="*/ 13 w 14"/>
                <a:gd name="T1" fmla="*/ 12 h 12"/>
                <a:gd name="T2" fmla="*/ 14 w 14"/>
                <a:gd name="T3" fmla="*/ 10 h 12"/>
                <a:gd name="T4" fmla="*/ 2 w 14"/>
                <a:gd name="T5" fmla="*/ 0 h 12"/>
                <a:gd name="T6" fmla="*/ 0 w 14"/>
                <a:gd name="T7" fmla="*/ 2 h 12"/>
                <a:gd name="T8" fmla="*/ 13 w 14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2">
                  <a:moveTo>
                    <a:pt x="13" y="12"/>
                  </a:moveTo>
                  <a:lnTo>
                    <a:pt x="14" y="10"/>
                  </a:lnTo>
                  <a:lnTo>
                    <a:pt x="2" y="0"/>
                  </a:lnTo>
                  <a:lnTo>
                    <a:pt x="0" y="2"/>
                  </a:lnTo>
                  <a:lnTo>
                    <a:pt x="13" y="12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49" name="Freeform 6535"/>
            <p:cNvSpPr>
              <a:spLocks/>
            </p:cNvSpPr>
            <p:nvPr/>
          </p:nvSpPr>
          <p:spPr bwMode="auto">
            <a:xfrm>
              <a:off x="5983288" y="5386389"/>
              <a:ext cx="25400" cy="25400"/>
            </a:xfrm>
            <a:custGeom>
              <a:avLst/>
              <a:gdLst>
                <a:gd name="T0" fmla="*/ 2 w 16"/>
                <a:gd name="T1" fmla="*/ 16 h 16"/>
                <a:gd name="T2" fmla="*/ 16 w 16"/>
                <a:gd name="T3" fmla="*/ 1 h 16"/>
                <a:gd name="T4" fmla="*/ 14 w 16"/>
                <a:gd name="T5" fmla="*/ 0 h 16"/>
                <a:gd name="T6" fmla="*/ 0 w 16"/>
                <a:gd name="T7" fmla="*/ 15 h 16"/>
                <a:gd name="T8" fmla="*/ 2 w 16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6">
                  <a:moveTo>
                    <a:pt x="2" y="16"/>
                  </a:moveTo>
                  <a:lnTo>
                    <a:pt x="16" y="1"/>
                  </a:lnTo>
                  <a:lnTo>
                    <a:pt x="14" y="0"/>
                  </a:lnTo>
                  <a:lnTo>
                    <a:pt x="0" y="15"/>
                  </a:lnTo>
                  <a:lnTo>
                    <a:pt x="2" y="16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50" name="Freeform 6536"/>
            <p:cNvSpPr>
              <a:spLocks/>
            </p:cNvSpPr>
            <p:nvPr/>
          </p:nvSpPr>
          <p:spPr bwMode="auto">
            <a:xfrm>
              <a:off x="5965825" y="5397501"/>
              <a:ext cx="20638" cy="14288"/>
            </a:xfrm>
            <a:custGeom>
              <a:avLst/>
              <a:gdLst>
                <a:gd name="T0" fmla="*/ 11 w 13"/>
                <a:gd name="T1" fmla="*/ 9 h 9"/>
                <a:gd name="T2" fmla="*/ 13 w 13"/>
                <a:gd name="T3" fmla="*/ 7 h 9"/>
                <a:gd name="T4" fmla="*/ 2 w 13"/>
                <a:gd name="T5" fmla="*/ 0 h 9"/>
                <a:gd name="T6" fmla="*/ 0 w 13"/>
                <a:gd name="T7" fmla="*/ 3 h 9"/>
                <a:gd name="T8" fmla="*/ 11 w 13"/>
                <a:gd name="T9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9">
                  <a:moveTo>
                    <a:pt x="11" y="9"/>
                  </a:moveTo>
                  <a:lnTo>
                    <a:pt x="13" y="7"/>
                  </a:lnTo>
                  <a:lnTo>
                    <a:pt x="2" y="0"/>
                  </a:lnTo>
                  <a:lnTo>
                    <a:pt x="0" y="3"/>
                  </a:lnTo>
                  <a:lnTo>
                    <a:pt x="11" y="9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51" name="Freeform 6537"/>
            <p:cNvSpPr>
              <a:spLocks/>
            </p:cNvSpPr>
            <p:nvPr/>
          </p:nvSpPr>
          <p:spPr bwMode="auto">
            <a:xfrm>
              <a:off x="5965825" y="5392739"/>
              <a:ext cx="20638" cy="19050"/>
            </a:xfrm>
            <a:custGeom>
              <a:avLst/>
              <a:gdLst>
                <a:gd name="T0" fmla="*/ 2 w 13"/>
                <a:gd name="T1" fmla="*/ 12 h 12"/>
                <a:gd name="T2" fmla="*/ 13 w 13"/>
                <a:gd name="T3" fmla="*/ 2 h 12"/>
                <a:gd name="T4" fmla="*/ 11 w 13"/>
                <a:gd name="T5" fmla="*/ 0 h 12"/>
                <a:gd name="T6" fmla="*/ 0 w 13"/>
                <a:gd name="T7" fmla="*/ 10 h 12"/>
                <a:gd name="T8" fmla="*/ 2 w 13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2">
                  <a:moveTo>
                    <a:pt x="2" y="12"/>
                  </a:moveTo>
                  <a:lnTo>
                    <a:pt x="13" y="2"/>
                  </a:lnTo>
                  <a:lnTo>
                    <a:pt x="11" y="0"/>
                  </a:lnTo>
                  <a:lnTo>
                    <a:pt x="0" y="10"/>
                  </a:lnTo>
                  <a:lnTo>
                    <a:pt x="2" y="12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52" name="Freeform 6538"/>
            <p:cNvSpPr>
              <a:spLocks/>
            </p:cNvSpPr>
            <p:nvPr/>
          </p:nvSpPr>
          <p:spPr bwMode="auto">
            <a:xfrm>
              <a:off x="5954713" y="5402264"/>
              <a:ext cx="14288" cy="9525"/>
            </a:xfrm>
            <a:custGeom>
              <a:avLst/>
              <a:gdLst>
                <a:gd name="T0" fmla="*/ 7 w 9"/>
                <a:gd name="T1" fmla="*/ 6 h 6"/>
                <a:gd name="T2" fmla="*/ 9 w 9"/>
                <a:gd name="T3" fmla="*/ 4 h 6"/>
                <a:gd name="T4" fmla="*/ 1 w 9"/>
                <a:gd name="T5" fmla="*/ 0 h 6"/>
                <a:gd name="T6" fmla="*/ 0 w 9"/>
                <a:gd name="T7" fmla="*/ 2 h 6"/>
                <a:gd name="T8" fmla="*/ 7 w 9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6">
                  <a:moveTo>
                    <a:pt x="7" y="6"/>
                  </a:moveTo>
                  <a:lnTo>
                    <a:pt x="9" y="4"/>
                  </a:lnTo>
                  <a:lnTo>
                    <a:pt x="1" y="0"/>
                  </a:lnTo>
                  <a:lnTo>
                    <a:pt x="0" y="2"/>
                  </a:lnTo>
                  <a:lnTo>
                    <a:pt x="7" y="6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53" name="Freeform 6539"/>
            <p:cNvSpPr>
              <a:spLocks/>
            </p:cNvSpPr>
            <p:nvPr/>
          </p:nvSpPr>
          <p:spPr bwMode="auto">
            <a:xfrm>
              <a:off x="6000750" y="5216526"/>
              <a:ext cx="19050" cy="17463"/>
            </a:xfrm>
            <a:custGeom>
              <a:avLst/>
              <a:gdLst>
                <a:gd name="T0" fmla="*/ 2 w 12"/>
                <a:gd name="T1" fmla="*/ 11 h 11"/>
                <a:gd name="T2" fmla="*/ 12 w 12"/>
                <a:gd name="T3" fmla="*/ 1 h 11"/>
                <a:gd name="T4" fmla="*/ 10 w 12"/>
                <a:gd name="T5" fmla="*/ 0 h 11"/>
                <a:gd name="T6" fmla="*/ 0 w 12"/>
                <a:gd name="T7" fmla="*/ 9 h 11"/>
                <a:gd name="T8" fmla="*/ 2 w 12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1">
                  <a:moveTo>
                    <a:pt x="2" y="11"/>
                  </a:moveTo>
                  <a:lnTo>
                    <a:pt x="12" y="1"/>
                  </a:lnTo>
                  <a:lnTo>
                    <a:pt x="10" y="0"/>
                  </a:lnTo>
                  <a:lnTo>
                    <a:pt x="0" y="9"/>
                  </a:lnTo>
                  <a:lnTo>
                    <a:pt x="2" y="11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54" name="Freeform 6540"/>
            <p:cNvSpPr>
              <a:spLocks/>
            </p:cNvSpPr>
            <p:nvPr/>
          </p:nvSpPr>
          <p:spPr bwMode="auto">
            <a:xfrm>
              <a:off x="6000750" y="5216526"/>
              <a:ext cx="19050" cy="20638"/>
            </a:xfrm>
            <a:custGeom>
              <a:avLst/>
              <a:gdLst>
                <a:gd name="T0" fmla="*/ 10 w 12"/>
                <a:gd name="T1" fmla="*/ 13 h 13"/>
                <a:gd name="T2" fmla="*/ 12 w 12"/>
                <a:gd name="T3" fmla="*/ 12 h 13"/>
                <a:gd name="T4" fmla="*/ 3 w 12"/>
                <a:gd name="T5" fmla="*/ 0 h 13"/>
                <a:gd name="T6" fmla="*/ 0 w 12"/>
                <a:gd name="T7" fmla="*/ 1 h 13"/>
                <a:gd name="T8" fmla="*/ 10 w 12"/>
                <a:gd name="T9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3">
                  <a:moveTo>
                    <a:pt x="10" y="13"/>
                  </a:moveTo>
                  <a:lnTo>
                    <a:pt x="12" y="12"/>
                  </a:lnTo>
                  <a:lnTo>
                    <a:pt x="3" y="0"/>
                  </a:lnTo>
                  <a:lnTo>
                    <a:pt x="0" y="1"/>
                  </a:lnTo>
                  <a:lnTo>
                    <a:pt x="10" y="13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55" name="Freeform 6541"/>
            <p:cNvSpPr>
              <a:spLocks/>
            </p:cNvSpPr>
            <p:nvPr/>
          </p:nvSpPr>
          <p:spPr bwMode="auto">
            <a:xfrm>
              <a:off x="5986463" y="5214939"/>
              <a:ext cx="17463" cy="14288"/>
            </a:xfrm>
            <a:custGeom>
              <a:avLst/>
              <a:gdLst>
                <a:gd name="T0" fmla="*/ 1 w 11"/>
                <a:gd name="T1" fmla="*/ 9 h 9"/>
                <a:gd name="T2" fmla="*/ 11 w 11"/>
                <a:gd name="T3" fmla="*/ 2 h 9"/>
                <a:gd name="T4" fmla="*/ 9 w 11"/>
                <a:gd name="T5" fmla="*/ 0 h 9"/>
                <a:gd name="T6" fmla="*/ 0 w 11"/>
                <a:gd name="T7" fmla="*/ 6 h 9"/>
                <a:gd name="T8" fmla="*/ 1 w 11"/>
                <a:gd name="T9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9">
                  <a:moveTo>
                    <a:pt x="1" y="9"/>
                  </a:moveTo>
                  <a:lnTo>
                    <a:pt x="11" y="2"/>
                  </a:lnTo>
                  <a:lnTo>
                    <a:pt x="9" y="0"/>
                  </a:lnTo>
                  <a:lnTo>
                    <a:pt x="0" y="6"/>
                  </a:lnTo>
                  <a:lnTo>
                    <a:pt x="1" y="9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56" name="Freeform 6542"/>
            <p:cNvSpPr>
              <a:spLocks/>
            </p:cNvSpPr>
            <p:nvPr/>
          </p:nvSpPr>
          <p:spPr bwMode="auto">
            <a:xfrm>
              <a:off x="5986463" y="5216526"/>
              <a:ext cx="17463" cy="17463"/>
            </a:xfrm>
            <a:custGeom>
              <a:avLst/>
              <a:gdLst>
                <a:gd name="T0" fmla="*/ 9 w 11"/>
                <a:gd name="T1" fmla="*/ 11 h 11"/>
                <a:gd name="T2" fmla="*/ 11 w 11"/>
                <a:gd name="T3" fmla="*/ 9 h 11"/>
                <a:gd name="T4" fmla="*/ 1 w 11"/>
                <a:gd name="T5" fmla="*/ 0 h 11"/>
                <a:gd name="T6" fmla="*/ 0 w 11"/>
                <a:gd name="T7" fmla="*/ 1 h 11"/>
                <a:gd name="T8" fmla="*/ 9 w 11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1">
                  <a:moveTo>
                    <a:pt x="9" y="11"/>
                  </a:moveTo>
                  <a:lnTo>
                    <a:pt x="11" y="9"/>
                  </a:lnTo>
                  <a:lnTo>
                    <a:pt x="1" y="0"/>
                  </a:lnTo>
                  <a:lnTo>
                    <a:pt x="0" y="1"/>
                  </a:lnTo>
                  <a:lnTo>
                    <a:pt x="9" y="11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57" name="Freeform 6543"/>
            <p:cNvSpPr>
              <a:spLocks/>
            </p:cNvSpPr>
            <p:nvPr/>
          </p:nvSpPr>
          <p:spPr bwMode="auto">
            <a:xfrm>
              <a:off x="6035675" y="5216526"/>
              <a:ext cx="15875" cy="17463"/>
            </a:xfrm>
            <a:custGeom>
              <a:avLst/>
              <a:gdLst>
                <a:gd name="T0" fmla="*/ 9 w 10"/>
                <a:gd name="T1" fmla="*/ 11 h 11"/>
                <a:gd name="T2" fmla="*/ 10 w 10"/>
                <a:gd name="T3" fmla="*/ 9 h 11"/>
                <a:gd name="T4" fmla="*/ 1 w 10"/>
                <a:gd name="T5" fmla="*/ 0 h 11"/>
                <a:gd name="T6" fmla="*/ 0 w 10"/>
                <a:gd name="T7" fmla="*/ 1 h 11"/>
                <a:gd name="T8" fmla="*/ 9 w 10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1">
                  <a:moveTo>
                    <a:pt x="9" y="11"/>
                  </a:moveTo>
                  <a:lnTo>
                    <a:pt x="10" y="9"/>
                  </a:lnTo>
                  <a:lnTo>
                    <a:pt x="1" y="0"/>
                  </a:lnTo>
                  <a:lnTo>
                    <a:pt x="0" y="1"/>
                  </a:lnTo>
                  <a:lnTo>
                    <a:pt x="9" y="11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58" name="Freeform 6544"/>
            <p:cNvSpPr>
              <a:spLocks/>
            </p:cNvSpPr>
            <p:nvPr/>
          </p:nvSpPr>
          <p:spPr bwMode="auto">
            <a:xfrm>
              <a:off x="6034088" y="5216526"/>
              <a:ext cx="17463" cy="20638"/>
            </a:xfrm>
            <a:custGeom>
              <a:avLst/>
              <a:gdLst>
                <a:gd name="T0" fmla="*/ 2 w 11"/>
                <a:gd name="T1" fmla="*/ 13 h 13"/>
                <a:gd name="T2" fmla="*/ 11 w 11"/>
                <a:gd name="T3" fmla="*/ 1 h 13"/>
                <a:gd name="T4" fmla="*/ 10 w 11"/>
                <a:gd name="T5" fmla="*/ 0 h 13"/>
                <a:gd name="T6" fmla="*/ 0 w 11"/>
                <a:gd name="T7" fmla="*/ 12 h 13"/>
                <a:gd name="T8" fmla="*/ 2 w 11"/>
                <a:gd name="T9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3">
                  <a:moveTo>
                    <a:pt x="2" y="13"/>
                  </a:moveTo>
                  <a:lnTo>
                    <a:pt x="11" y="1"/>
                  </a:lnTo>
                  <a:lnTo>
                    <a:pt x="10" y="0"/>
                  </a:lnTo>
                  <a:lnTo>
                    <a:pt x="0" y="12"/>
                  </a:lnTo>
                  <a:lnTo>
                    <a:pt x="2" y="13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59" name="Freeform 6545"/>
            <p:cNvSpPr>
              <a:spLocks/>
            </p:cNvSpPr>
            <p:nvPr/>
          </p:nvSpPr>
          <p:spPr bwMode="auto">
            <a:xfrm>
              <a:off x="6049963" y="5214939"/>
              <a:ext cx="17463" cy="14288"/>
            </a:xfrm>
            <a:custGeom>
              <a:avLst/>
              <a:gdLst>
                <a:gd name="T0" fmla="*/ 9 w 11"/>
                <a:gd name="T1" fmla="*/ 9 h 9"/>
                <a:gd name="T2" fmla="*/ 11 w 11"/>
                <a:gd name="T3" fmla="*/ 6 h 9"/>
                <a:gd name="T4" fmla="*/ 1 w 11"/>
                <a:gd name="T5" fmla="*/ 0 h 9"/>
                <a:gd name="T6" fmla="*/ 0 w 11"/>
                <a:gd name="T7" fmla="*/ 2 h 9"/>
                <a:gd name="T8" fmla="*/ 9 w 11"/>
                <a:gd name="T9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9">
                  <a:moveTo>
                    <a:pt x="9" y="9"/>
                  </a:moveTo>
                  <a:lnTo>
                    <a:pt x="11" y="6"/>
                  </a:lnTo>
                  <a:lnTo>
                    <a:pt x="1" y="0"/>
                  </a:lnTo>
                  <a:lnTo>
                    <a:pt x="0" y="2"/>
                  </a:lnTo>
                  <a:lnTo>
                    <a:pt x="9" y="9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60" name="Freeform 6546"/>
            <p:cNvSpPr>
              <a:spLocks/>
            </p:cNvSpPr>
            <p:nvPr/>
          </p:nvSpPr>
          <p:spPr bwMode="auto">
            <a:xfrm>
              <a:off x="6049963" y="5216526"/>
              <a:ext cx="17463" cy="17463"/>
            </a:xfrm>
            <a:custGeom>
              <a:avLst/>
              <a:gdLst>
                <a:gd name="T0" fmla="*/ 1 w 11"/>
                <a:gd name="T1" fmla="*/ 11 h 11"/>
                <a:gd name="T2" fmla="*/ 11 w 11"/>
                <a:gd name="T3" fmla="*/ 1 h 11"/>
                <a:gd name="T4" fmla="*/ 9 w 11"/>
                <a:gd name="T5" fmla="*/ 0 h 11"/>
                <a:gd name="T6" fmla="*/ 0 w 11"/>
                <a:gd name="T7" fmla="*/ 9 h 11"/>
                <a:gd name="T8" fmla="*/ 1 w 11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1">
                  <a:moveTo>
                    <a:pt x="1" y="11"/>
                  </a:moveTo>
                  <a:lnTo>
                    <a:pt x="11" y="1"/>
                  </a:lnTo>
                  <a:lnTo>
                    <a:pt x="9" y="0"/>
                  </a:lnTo>
                  <a:lnTo>
                    <a:pt x="0" y="9"/>
                  </a:lnTo>
                  <a:lnTo>
                    <a:pt x="1" y="11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61" name="Freeform 6547"/>
            <p:cNvSpPr>
              <a:spLocks/>
            </p:cNvSpPr>
            <p:nvPr/>
          </p:nvSpPr>
          <p:spPr bwMode="auto">
            <a:xfrm>
              <a:off x="6064250" y="5216526"/>
              <a:ext cx="11113" cy="7938"/>
            </a:xfrm>
            <a:custGeom>
              <a:avLst/>
              <a:gdLst>
                <a:gd name="T0" fmla="*/ 5 w 7"/>
                <a:gd name="T1" fmla="*/ 5 h 5"/>
                <a:gd name="T2" fmla="*/ 7 w 7"/>
                <a:gd name="T3" fmla="*/ 3 h 5"/>
                <a:gd name="T4" fmla="*/ 2 w 7"/>
                <a:gd name="T5" fmla="*/ 0 h 5"/>
                <a:gd name="T6" fmla="*/ 0 w 7"/>
                <a:gd name="T7" fmla="*/ 1 h 5"/>
                <a:gd name="T8" fmla="*/ 5 w 7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5">
                  <a:moveTo>
                    <a:pt x="5" y="5"/>
                  </a:moveTo>
                  <a:lnTo>
                    <a:pt x="7" y="3"/>
                  </a:lnTo>
                  <a:lnTo>
                    <a:pt x="2" y="0"/>
                  </a:lnTo>
                  <a:lnTo>
                    <a:pt x="0" y="1"/>
                  </a:lnTo>
                  <a:lnTo>
                    <a:pt x="5" y="5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62" name="Freeform 6548"/>
            <p:cNvSpPr>
              <a:spLocks/>
            </p:cNvSpPr>
            <p:nvPr/>
          </p:nvSpPr>
          <p:spPr bwMode="auto">
            <a:xfrm>
              <a:off x="5975350" y="5214939"/>
              <a:ext cx="12700" cy="9525"/>
            </a:xfrm>
            <a:custGeom>
              <a:avLst/>
              <a:gdLst>
                <a:gd name="T0" fmla="*/ 3 w 8"/>
                <a:gd name="T1" fmla="*/ 6 h 6"/>
                <a:gd name="T2" fmla="*/ 8 w 8"/>
                <a:gd name="T3" fmla="*/ 2 h 6"/>
                <a:gd name="T4" fmla="*/ 7 w 8"/>
                <a:gd name="T5" fmla="*/ 0 h 6"/>
                <a:gd name="T6" fmla="*/ 0 w 8"/>
                <a:gd name="T7" fmla="*/ 4 h 6"/>
                <a:gd name="T8" fmla="*/ 3 w 8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6">
                  <a:moveTo>
                    <a:pt x="3" y="6"/>
                  </a:moveTo>
                  <a:lnTo>
                    <a:pt x="8" y="2"/>
                  </a:lnTo>
                  <a:lnTo>
                    <a:pt x="7" y="0"/>
                  </a:lnTo>
                  <a:lnTo>
                    <a:pt x="0" y="4"/>
                  </a:lnTo>
                  <a:lnTo>
                    <a:pt x="3" y="6"/>
                  </a:ln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63" name="Freeform 6549"/>
            <p:cNvSpPr>
              <a:spLocks/>
            </p:cNvSpPr>
            <p:nvPr/>
          </p:nvSpPr>
          <p:spPr bwMode="auto">
            <a:xfrm>
              <a:off x="5918200" y="5411789"/>
              <a:ext cx="12700" cy="7938"/>
            </a:xfrm>
            <a:custGeom>
              <a:avLst/>
              <a:gdLst>
                <a:gd name="T0" fmla="*/ 0 w 7"/>
                <a:gd name="T1" fmla="*/ 2 h 4"/>
                <a:gd name="T2" fmla="*/ 2 w 7"/>
                <a:gd name="T3" fmla="*/ 4 h 4"/>
                <a:gd name="T4" fmla="*/ 5 w 7"/>
                <a:gd name="T5" fmla="*/ 4 h 4"/>
                <a:gd name="T6" fmla="*/ 7 w 7"/>
                <a:gd name="T7" fmla="*/ 2 h 4"/>
                <a:gd name="T8" fmla="*/ 7 w 7"/>
                <a:gd name="T9" fmla="*/ 2 h 4"/>
                <a:gd name="T10" fmla="*/ 5 w 7"/>
                <a:gd name="T11" fmla="*/ 0 h 4"/>
                <a:gd name="T12" fmla="*/ 2 w 7"/>
                <a:gd name="T13" fmla="*/ 0 h 4"/>
                <a:gd name="T14" fmla="*/ 0 w 7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4">
                  <a:moveTo>
                    <a:pt x="0" y="2"/>
                  </a:moveTo>
                  <a:cubicBezTo>
                    <a:pt x="0" y="3"/>
                    <a:pt x="1" y="4"/>
                    <a:pt x="2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4"/>
                    <a:pt x="7" y="3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1"/>
                    <a:pt x="6" y="0"/>
                    <a:pt x="5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64" name="Freeform 6550"/>
            <p:cNvSpPr>
              <a:spLocks/>
            </p:cNvSpPr>
            <p:nvPr/>
          </p:nvSpPr>
          <p:spPr bwMode="auto">
            <a:xfrm>
              <a:off x="5918200" y="5419726"/>
              <a:ext cx="12700" cy="4763"/>
            </a:xfrm>
            <a:custGeom>
              <a:avLst/>
              <a:gdLst>
                <a:gd name="T0" fmla="*/ 0 w 7"/>
                <a:gd name="T1" fmla="*/ 1 h 3"/>
                <a:gd name="T2" fmla="*/ 2 w 7"/>
                <a:gd name="T3" fmla="*/ 3 h 3"/>
                <a:gd name="T4" fmla="*/ 5 w 7"/>
                <a:gd name="T5" fmla="*/ 3 h 3"/>
                <a:gd name="T6" fmla="*/ 7 w 7"/>
                <a:gd name="T7" fmla="*/ 1 h 3"/>
                <a:gd name="T8" fmla="*/ 7 w 7"/>
                <a:gd name="T9" fmla="*/ 1 h 3"/>
                <a:gd name="T10" fmla="*/ 5 w 7"/>
                <a:gd name="T11" fmla="*/ 0 h 3"/>
                <a:gd name="T12" fmla="*/ 2 w 7"/>
                <a:gd name="T13" fmla="*/ 0 h 3"/>
                <a:gd name="T14" fmla="*/ 0 w 7"/>
                <a:gd name="T1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3">
                  <a:moveTo>
                    <a:pt x="0" y="1"/>
                  </a:moveTo>
                  <a:cubicBezTo>
                    <a:pt x="0" y="2"/>
                    <a:pt x="1" y="3"/>
                    <a:pt x="2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6" y="3"/>
                    <a:pt x="7" y="2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6" y="0"/>
                    <a:pt x="5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65" name="Freeform 6551"/>
            <p:cNvSpPr>
              <a:spLocks/>
            </p:cNvSpPr>
            <p:nvPr/>
          </p:nvSpPr>
          <p:spPr bwMode="auto">
            <a:xfrm>
              <a:off x="5918200" y="5424489"/>
              <a:ext cx="12700" cy="6350"/>
            </a:xfrm>
            <a:custGeom>
              <a:avLst/>
              <a:gdLst>
                <a:gd name="T0" fmla="*/ 0 w 7"/>
                <a:gd name="T1" fmla="*/ 2 h 3"/>
                <a:gd name="T2" fmla="*/ 2 w 7"/>
                <a:gd name="T3" fmla="*/ 3 h 3"/>
                <a:gd name="T4" fmla="*/ 5 w 7"/>
                <a:gd name="T5" fmla="*/ 3 h 3"/>
                <a:gd name="T6" fmla="*/ 7 w 7"/>
                <a:gd name="T7" fmla="*/ 2 h 3"/>
                <a:gd name="T8" fmla="*/ 7 w 7"/>
                <a:gd name="T9" fmla="*/ 2 h 3"/>
                <a:gd name="T10" fmla="*/ 5 w 7"/>
                <a:gd name="T11" fmla="*/ 0 h 3"/>
                <a:gd name="T12" fmla="*/ 2 w 7"/>
                <a:gd name="T13" fmla="*/ 0 h 3"/>
                <a:gd name="T14" fmla="*/ 0 w 7"/>
                <a:gd name="T15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3">
                  <a:moveTo>
                    <a:pt x="0" y="2"/>
                  </a:moveTo>
                  <a:cubicBezTo>
                    <a:pt x="0" y="3"/>
                    <a:pt x="1" y="3"/>
                    <a:pt x="2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6" y="3"/>
                    <a:pt x="7" y="3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1"/>
                    <a:pt x="6" y="0"/>
                    <a:pt x="5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66" name="Freeform 6552"/>
            <p:cNvSpPr>
              <a:spLocks/>
            </p:cNvSpPr>
            <p:nvPr/>
          </p:nvSpPr>
          <p:spPr bwMode="auto">
            <a:xfrm>
              <a:off x="5918200" y="5430839"/>
              <a:ext cx="12700" cy="6350"/>
            </a:xfrm>
            <a:custGeom>
              <a:avLst/>
              <a:gdLst>
                <a:gd name="T0" fmla="*/ 0 w 7"/>
                <a:gd name="T1" fmla="*/ 2 h 4"/>
                <a:gd name="T2" fmla="*/ 2 w 7"/>
                <a:gd name="T3" fmla="*/ 4 h 4"/>
                <a:gd name="T4" fmla="*/ 5 w 7"/>
                <a:gd name="T5" fmla="*/ 4 h 4"/>
                <a:gd name="T6" fmla="*/ 7 w 7"/>
                <a:gd name="T7" fmla="*/ 2 h 4"/>
                <a:gd name="T8" fmla="*/ 7 w 7"/>
                <a:gd name="T9" fmla="*/ 2 h 4"/>
                <a:gd name="T10" fmla="*/ 5 w 7"/>
                <a:gd name="T11" fmla="*/ 0 h 4"/>
                <a:gd name="T12" fmla="*/ 2 w 7"/>
                <a:gd name="T13" fmla="*/ 0 h 4"/>
                <a:gd name="T14" fmla="*/ 0 w 7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4">
                  <a:moveTo>
                    <a:pt x="0" y="2"/>
                  </a:moveTo>
                  <a:cubicBezTo>
                    <a:pt x="0" y="3"/>
                    <a:pt x="1" y="4"/>
                    <a:pt x="2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4"/>
                    <a:pt x="7" y="3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1"/>
                    <a:pt x="6" y="0"/>
                    <a:pt x="5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67" name="Freeform 6553"/>
            <p:cNvSpPr>
              <a:spLocks/>
            </p:cNvSpPr>
            <p:nvPr/>
          </p:nvSpPr>
          <p:spPr bwMode="auto">
            <a:xfrm>
              <a:off x="6124575" y="5411789"/>
              <a:ext cx="12700" cy="7938"/>
            </a:xfrm>
            <a:custGeom>
              <a:avLst/>
              <a:gdLst>
                <a:gd name="T0" fmla="*/ 0 w 7"/>
                <a:gd name="T1" fmla="*/ 2 h 4"/>
                <a:gd name="T2" fmla="*/ 2 w 7"/>
                <a:gd name="T3" fmla="*/ 4 h 4"/>
                <a:gd name="T4" fmla="*/ 5 w 7"/>
                <a:gd name="T5" fmla="*/ 4 h 4"/>
                <a:gd name="T6" fmla="*/ 7 w 7"/>
                <a:gd name="T7" fmla="*/ 2 h 4"/>
                <a:gd name="T8" fmla="*/ 7 w 7"/>
                <a:gd name="T9" fmla="*/ 2 h 4"/>
                <a:gd name="T10" fmla="*/ 5 w 7"/>
                <a:gd name="T11" fmla="*/ 0 h 4"/>
                <a:gd name="T12" fmla="*/ 2 w 7"/>
                <a:gd name="T13" fmla="*/ 0 h 4"/>
                <a:gd name="T14" fmla="*/ 0 w 7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4">
                  <a:moveTo>
                    <a:pt x="0" y="2"/>
                  </a:moveTo>
                  <a:cubicBezTo>
                    <a:pt x="0" y="3"/>
                    <a:pt x="1" y="4"/>
                    <a:pt x="2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4"/>
                    <a:pt x="7" y="3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1"/>
                    <a:pt x="6" y="0"/>
                    <a:pt x="5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68" name="Freeform 6554"/>
            <p:cNvSpPr>
              <a:spLocks/>
            </p:cNvSpPr>
            <p:nvPr/>
          </p:nvSpPr>
          <p:spPr bwMode="auto">
            <a:xfrm>
              <a:off x="6124575" y="5419726"/>
              <a:ext cx="12700" cy="4763"/>
            </a:xfrm>
            <a:custGeom>
              <a:avLst/>
              <a:gdLst>
                <a:gd name="T0" fmla="*/ 0 w 7"/>
                <a:gd name="T1" fmla="*/ 1 h 3"/>
                <a:gd name="T2" fmla="*/ 2 w 7"/>
                <a:gd name="T3" fmla="*/ 3 h 3"/>
                <a:gd name="T4" fmla="*/ 5 w 7"/>
                <a:gd name="T5" fmla="*/ 3 h 3"/>
                <a:gd name="T6" fmla="*/ 7 w 7"/>
                <a:gd name="T7" fmla="*/ 1 h 3"/>
                <a:gd name="T8" fmla="*/ 7 w 7"/>
                <a:gd name="T9" fmla="*/ 1 h 3"/>
                <a:gd name="T10" fmla="*/ 5 w 7"/>
                <a:gd name="T11" fmla="*/ 0 h 3"/>
                <a:gd name="T12" fmla="*/ 2 w 7"/>
                <a:gd name="T13" fmla="*/ 0 h 3"/>
                <a:gd name="T14" fmla="*/ 0 w 7"/>
                <a:gd name="T1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3">
                  <a:moveTo>
                    <a:pt x="0" y="1"/>
                  </a:moveTo>
                  <a:cubicBezTo>
                    <a:pt x="0" y="2"/>
                    <a:pt x="1" y="3"/>
                    <a:pt x="2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6" y="3"/>
                    <a:pt x="7" y="2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6" y="0"/>
                    <a:pt x="5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69" name="Freeform 6555"/>
            <p:cNvSpPr>
              <a:spLocks/>
            </p:cNvSpPr>
            <p:nvPr/>
          </p:nvSpPr>
          <p:spPr bwMode="auto">
            <a:xfrm>
              <a:off x="6124575" y="5424489"/>
              <a:ext cx="12700" cy="6350"/>
            </a:xfrm>
            <a:custGeom>
              <a:avLst/>
              <a:gdLst>
                <a:gd name="T0" fmla="*/ 0 w 7"/>
                <a:gd name="T1" fmla="*/ 2 h 3"/>
                <a:gd name="T2" fmla="*/ 2 w 7"/>
                <a:gd name="T3" fmla="*/ 3 h 3"/>
                <a:gd name="T4" fmla="*/ 5 w 7"/>
                <a:gd name="T5" fmla="*/ 3 h 3"/>
                <a:gd name="T6" fmla="*/ 7 w 7"/>
                <a:gd name="T7" fmla="*/ 2 h 3"/>
                <a:gd name="T8" fmla="*/ 7 w 7"/>
                <a:gd name="T9" fmla="*/ 2 h 3"/>
                <a:gd name="T10" fmla="*/ 5 w 7"/>
                <a:gd name="T11" fmla="*/ 0 h 3"/>
                <a:gd name="T12" fmla="*/ 2 w 7"/>
                <a:gd name="T13" fmla="*/ 0 h 3"/>
                <a:gd name="T14" fmla="*/ 0 w 7"/>
                <a:gd name="T15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3">
                  <a:moveTo>
                    <a:pt x="0" y="2"/>
                  </a:moveTo>
                  <a:cubicBezTo>
                    <a:pt x="0" y="3"/>
                    <a:pt x="1" y="3"/>
                    <a:pt x="2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6" y="3"/>
                    <a:pt x="7" y="3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1"/>
                    <a:pt x="6" y="0"/>
                    <a:pt x="5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70" name="Freeform 6556"/>
            <p:cNvSpPr>
              <a:spLocks/>
            </p:cNvSpPr>
            <p:nvPr/>
          </p:nvSpPr>
          <p:spPr bwMode="auto">
            <a:xfrm>
              <a:off x="6124575" y="5430839"/>
              <a:ext cx="12700" cy="6350"/>
            </a:xfrm>
            <a:custGeom>
              <a:avLst/>
              <a:gdLst>
                <a:gd name="T0" fmla="*/ 0 w 7"/>
                <a:gd name="T1" fmla="*/ 2 h 4"/>
                <a:gd name="T2" fmla="*/ 2 w 7"/>
                <a:gd name="T3" fmla="*/ 4 h 4"/>
                <a:gd name="T4" fmla="*/ 5 w 7"/>
                <a:gd name="T5" fmla="*/ 4 h 4"/>
                <a:gd name="T6" fmla="*/ 7 w 7"/>
                <a:gd name="T7" fmla="*/ 2 h 4"/>
                <a:gd name="T8" fmla="*/ 7 w 7"/>
                <a:gd name="T9" fmla="*/ 2 h 4"/>
                <a:gd name="T10" fmla="*/ 5 w 7"/>
                <a:gd name="T11" fmla="*/ 0 h 4"/>
                <a:gd name="T12" fmla="*/ 2 w 7"/>
                <a:gd name="T13" fmla="*/ 0 h 4"/>
                <a:gd name="T14" fmla="*/ 0 w 7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4">
                  <a:moveTo>
                    <a:pt x="0" y="2"/>
                  </a:moveTo>
                  <a:cubicBezTo>
                    <a:pt x="0" y="3"/>
                    <a:pt x="1" y="4"/>
                    <a:pt x="2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4"/>
                    <a:pt x="7" y="3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1"/>
                    <a:pt x="6" y="0"/>
                    <a:pt x="5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71" name="Freeform 6557"/>
            <p:cNvSpPr>
              <a:spLocks/>
            </p:cNvSpPr>
            <p:nvPr/>
          </p:nvSpPr>
          <p:spPr bwMode="auto">
            <a:xfrm>
              <a:off x="5948363" y="5216526"/>
              <a:ext cx="12700" cy="4763"/>
            </a:xfrm>
            <a:custGeom>
              <a:avLst/>
              <a:gdLst>
                <a:gd name="T0" fmla="*/ 0 w 7"/>
                <a:gd name="T1" fmla="*/ 1 h 3"/>
                <a:gd name="T2" fmla="*/ 2 w 7"/>
                <a:gd name="T3" fmla="*/ 3 h 3"/>
                <a:gd name="T4" fmla="*/ 5 w 7"/>
                <a:gd name="T5" fmla="*/ 3 h 3"/>
                <a:gd name="T6" fmla="*/ 7 w 7"/>
                <a:gd name="T7" fmla="*/ 1 h 3"/>
                <a:gd name="T8" fmla="*/ 7 w 7"/>
                <a:gd name="T9" fmla="*/ 1 h 3"/>
                <a:gd name="T10" fmla="*/ 5 w 7"/>
                <a:gd name="T11" fmla="*/ 0 h 3"/>
                <a:gd name="T12" fmla="*/ 2 w 7"/>
                <a:gd name="T13" fmla="*/ 0 h 3"/>
                <a:gd name="T14" fmla="*/ 0 w 7"/>
                <a:gd name="T1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3">
                  <a:moveTo>
                    <a:pt x="0" y="1"/>
                  </a:moveTo>
                  <a:cubicBezTo>
                    <a:pt x="0" y="2"/>
                    <a:pt x="1" y="3"/>
                    <a:pt x="2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6" y="3"/>
                    <a:pt x="7" y="2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6" y="0"/>
                    <a:pt x="5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72" name="Freeform 6558"/>
            <p:cNvSpPr>
              <a:spLocks/>
            </p:cNvSpPr>
            <p:nvPr/>
          </p:nvSpPr>
          <p:spPr bwMode="auto">
            <a:xfrm>
              <a:off x="5948363" y="5221289"/>
              <a:ext cx="12700" cy="6350"/>
            </a:xfrm>
            <a:custGeom>
              <a:avLst/>
              <a:gdLst>
                <a:gd name="T0" fmla="*/ 0 w 7"/>
                <a:gd name="T1" fmla="*/ 2 h 3"/>
                <a:gd name="T2" fmla="*/ 2 w 7"/>
                <a:gd name="T3" fmla="*/ 3 h 3"/>
                <a:gd name="T4" fmla="*/ 5 w 7"/>
                <a:gd name="T5" fmla="*/ 3 h 3"/>
                <a:gd name="T6" fmla="*/ 7 w 7"/>
                <a:gd name="T7" fmla="*/ 2 h 3"/>
                <a:gd name="T8" fmla="*/ 7 w 7"/>
                <a:gd name="T9" fmla="*/ 2 h 3"/>
                <a:gd name="T10" fmla="*/ 5 w 7"/>
                <a:gd name="T11" fmla="*/ 0 h 3"/>
                <a:gd name="T12" fmla="*/ 2 w 7"/>
                <a:gd name="T13" fmla="*/ 0 h 3"/>
                <a:gd name="T14" fmla="*/ 0 w 7"/>
                <a:gd name="T15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3">
                  <a:moveTo>
                    <a:pt x="0" y="2"/>
                  </a:moveTo>
                  <a:cubicBezTo>
                    <a:pt x="0" y="3"/>
                    <a:pt x="1" y="3"/>
                    <a:pt x="2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6" y="3"/>
                    <a:pt x="7" y="3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1"/>
                    <a:pt x="6" y="0"/>
                    <a:pt x="5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73" name="Freeform 6559"/>
            <p:cNvSpPr>
              <a:spLocks/>
            </p:cNvSpPr>
            <p:nvPr/>
          </p:nvSpPr>
          <p:spPr bwMode="auto">
            <a:xfrm>
              <a:off x="5948363" y="5227639"/>
              <a:ext cx="12700" cy="6350"/>
            </a:xfrm>
            <a:custGeom>
              <a:avLst/>
              <a:gdLst>
                <a:gd name="T0" fmla="*/ 0 w 7"/>
                <a:gd name="T1" fmla="*/ 2 h 4"/>
                <a:gd name="T2" fmla="*/ 2 w 7"/>
                <a:gd name="T3" fmla="*/ 4 h 4"/>
                <a:gd name="T4" fmla="*/ 5 w 7"/>
                <a:gd name="T5" fmla="*/ 4 h 4"/>
                <a:gd name="T6" fmla="*/ 7 w 7"/>
                <a:gd name="T7" fmla="*/ 2 h 4"/>
                <a:gd name="T8" fmla="*/ 7 w 7"/>
                <a:gd name="T9" fmla="*/ 2 h 4"/>
                <a:gd name="T10" fmla="*/ 5 w 7"/>
                <a:gd name="T11" fmla="*/ 0 h 4"/>
                <a:gd name="T12" fmla="*/ 2 w 7"/>
                <a:gd name="T13" fmla="*/ 0 h 4"/>
                <a:gd name="T14" fmla="*/ 0 w 7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4">
                  <a:moveTo>
                    <a:pt x="0" y="2"/>
                  </a:moveTo>
                  <a:cubicBezTo>
                    <a:pt x="0" y="3"/>
                    <a:pt x="1" y="4"/>
                    <a:pt x="2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4"/>
                    <a:pt x="7" y="3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1"/>
                    <a:pt x="6" y="0"/>
                    <a:pt x="5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74" name="Freeform 6560"/>
            <p:cNvSpPr>
              <a:spLocks/>
            </p:cNvSpPr>
            <p:nvPr/>
          </p:nvSpPr>
          <p:spPr bwMode="auto">
            <a:xfrm>
              <a:off x="5948363" y="5233989"/>
              <a:ext cx="12700" cy="6350"/>
            </a:xfrm>
            <a:custGeom>
              <a:avLst/>
              <a:gdLst>
                <a:gd name="T0" fmla="*/ 0 w 7"/>
                <a:gd name="T1" fmla="*/ 1 h 3"/>
                <a:gd name="T2" fmla="*/ 2 w 7"/>
                <a:gd name="T3" fmla="*/ 3 h 3"/>
                <a:gd name="T4" fmla="*/ 5 w 7"/>
                <a:gd name="T5" fmla="*/ 3 h 3"/>
                <a:gd name="T6" fmla="*/ 7 w 7"/>
                <a:gd name="T7" fmla="*/ 1 h 3"/>
                <a:gd name="T8" fmla="*/ 7 w 7"/>
                <a:gd name="T9" fmla="*/ 1 h 3"/>
                <a:gd name="T10" fmla="*/ 5 w 7"/>
                <a:gd name="T11" fmla="*/ 0 h 3"/>
                <a:gd name="T12" fmla="*/ 2 w 7"/>
                <a:gd name="T13" fmla="*/ 0 h 3"/>
                <a:gd name="T14" fmla="*/ 0 w 7"/>
                <a:gd name="T1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3">
                  <a:moveTo>
                    <a:pt x="0" y="1"/>
                  </a:moveTo>
                  <a:cubicBezTo>
                    <a:pt x="0" y="2"/>
                    <a:pt x="1" y="3"/>
                    <a:pt x="2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6" y="3"/>
                    <a:pt x="7" y="2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6" y="0"/>
                    <a:pt x="5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75" name="Freeform 6561"/>
            <p:cNvSpPr>
              <a:spLocks/>
            </p:cNvSpPr>
            <p:nvPr/>
          </p:nvSpPr>
          <p:spPr bwMode="auto">
            <a:xfrm>
              <a:off x="6092825" y="5216526"/>
              <a:ext cx="12700" cy="4763"/>
            </a:xfrm>
            <a:custGeom>
              <a:avLst/>
              <a:gdLst>
                <a:gd name="T0" fmla="*/ 0 w 7"/>
                <a:gd name="T1" fmla="*/ 1 h 3"/>
                <a:gd name="T2" fmla="*/ 2 w 7"/>
                <a:gd name="T3" fmla="*/ 3 h 3"/>
                <a:gd name="T4" fmla="*/ 5 w 7"/>
                <a:gd name="T5" fmla="*/ 3 h 3"/>
                <a:gd name="T6" fmla="*/ 7 w 7"/>
                <a:gd name="T7" fmla="*/ 1 h 3"/>
                <a:gd name="T8" fmla="*/ 7 w 7"/>
                <a:gd name="T9" fmla="*/ 1 h 3"/>
                <a:gd name="T10" fmla="*/ 5 w 7"/>
                <a:gd name="T11" fmla="*/ 0 h 3"/>
                <a:gd name="T12" fmla="*/ 2 w 7"/>
                <a:gd name="T13" fmla="*/ 0 h 3"/>
                <a:gd name="T14" fmla="*/ 0 w 7"/>
                <a:gd name="T1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3">
                  <a:moveTo>
                    <a:pt x="0" y="1"/>
                  </a:moveTo>
                  <a:cubicBezTo>
                    <a:pt x="0" y="2"/>
                    <a:pt x="1" y="3"/>
                    <a:pt x="2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6" y="3"/>
                    <a:pt x="7" y="2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6" y="0"/>
                    <a:pt x="5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76" name="Freeform 6562"/>
            <p:cNvSpPr>
              <a:spLocks/>
            </p:cNvSpPr>
            <p:nvPr/>
          </p:nvSpPr>
          <p:spPr bwMode="auto">
            <a:xfrm>
              <a:off x="6092825" y="5221289"/>
              <a:ext cx="12700" cy="6350"/>
            </a:xfrm>
            <a:custGeom>
              <a:avLst/>
              <a:gdLst>
                <a:gd name="T0" fmla="*/ 0 w 7"/>
                <a:gd name="T1" fmla="*/ 2 h 3"/>
                <a:gd name="T2" fmla="*/ 2 w 7"/>
                <a:gd name="T3" fmla="*/ 3 h 3"/>
                <a:gd name="T4" fmla="*/ 5 w 7"/>
                <a:gd name="T5" fmla="*/ 3 h 3"/>
                <a:gd name="T6" fmla="*/ 7 w 7"/>
                <a:gd name="T7" fmla="*/ 2 h 3"/>
                <a:gd name="T8" fmla="*/ 7 w 7"/>
                <a:gd name="T9" fmla="*/ 2 h 3"/>
                <a:gd name="T10" fmla="*/ 5 w 7"/>
                <a:gd name="T11" fmla="*/ 0 h 3"/>
                <a:gd name="T12" fmla="*/ 2 w 7"/>
                <a:gd name="T13" fmla="*/ 0 h 3"/>
                <a:gd name="T14" fmla="*/ 0 w 7"/>
                <a:gd name="T15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3">
                  <a:moveTo>
                    <a:pt x="0" y="2"/>
                  </a:moveTo>
                  <a:cubicBezTo>
                    <a:pt x="0" y="3"/>
                    <a:pt x="1" y="3"/>
                    <a:pt x="2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6" y="3"/>
                    <a:pt x="7" y="3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1"/>
                    <a:pt x="6" y="0"/>
                    <a:pt x="5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77" name="Freeform 6563"/>
            <p:cNvSpPr>
              <a:spLocks/>
            </p:cNvSpPr>
            <p:nvPr/>
          </p:nvSpPr>
          <p:spPr bwMode="auto">
            <a:xfrm>
              <a:off x="6092825" y="5227639"/>
              <a:ext cx="12700" cy="6350"/>
            </a:xfrm>
            <a:custGeom>
              <a:avLst/>
              <a:gdLst>
                <a:gd name="T0" fmla="*/ 0 w 7"/>
                <a:gd name="T1" fmla="*/ 2 h 4"/>
                <a:gd name="T2" fmla="*/ 2 w 7"/>
                <a:gd name="T3" fmla="*/ 4 h 4"/>
                <a:gd name="T4" fmla="*/ 5 w 7"/>
                <a:gd name="T5" fmla="*/ 4 h 4"/>
                <a:gd name="T6" fmla="*/ 7 w 7"/>
                <a:gd name="T7" fmla="*/ 2 h 4"/>
                <a:gd name="T8" fmla="*/ 7 w 7"/>
                <a:gd name="T9" fmla="*/ 2 h 4"/>
                <a:gd name="T10" fmla="*/ 5 w 7"/>
                <a:gd name="T11" fmla="*/ 0 h 4"/>
                <a:gd name="T12" fmla="*/ 2 w 7"/>
                <a:gd name="T13" fmla="*/ 0 h 4"/>
                <a:gd name="T14" fmla="*/ 0 w 7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4">
                  <a:moveTo>
                    <a:pt x="0" y="2"/>
                  </a:moveTo>
                  <a:cubicBezTo>
                    <a:pt x="0" y="3"/>
                    <a:pt x="1" y="4"/>
                    <a:pt x="2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4"/>
                    <a:pt x="7" y="3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1"/>
                    <a:pt x="6" y="0"/>
                    <a:pt x="5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78" name="Freeform 6564"/>
            <p:cNvSpPr>
              <a:spLocks/>
            </p:cNvSpPr>
            <p:nvPr/>
          </p:nvSpPr>
          <p:spPr bwMode="auto">
            <a:xfrm>
              <a:off x="6092825" y="5233989"/>
              <a:ext cx="12700" cy="6350"/>
            </a:xfrm>
            <a:custGeom>
              <a:avLst/>
              <a:gdLst>
                <a:gd name="T0" fmla="*/ 0 w 7"/>
                <a:gd name="T1" fmla="*/ 1 h 3"/>
                <a:gd name="T2" fmla="*/ 2 w 7"/>
                <a:gd name="T3" fmla="*/ 3 h 3"/>
                <a:gd name="T4" fmla="*/ 5 w 7"/>
                <a:gd name="T5" fmla="*/ 3 h 3"/>
                <a:gd name="T6" fmla="*/ 7 w 7"/>
                <a:gd name="T7" fmla="*/ 1 h 3"/>
                <a:gd name="T8" fmla="*/ 7 w 7"/>
                <a:gd name="T9" fmla="*/ 1 h 3"/>
                <a:gd name="T10" fmla="*/ 5 w 7"/>
                <a:gd name="T11" fmla="*/ 0 h 3"/>
                <a:gd name="T12" fmla="*/ 2 w 7"/>
                <a:gd name="T13" fmla="*/ 0 h 3"/>
                <a:gd name="T14" fmla="*/ 0 w 7"/>
                <a:gd name="T1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3">
                  <a:moveTo>
                    <a:pt x="0" y="1"/>
                  </a:moveTo>
                  <a:cubicBezTo>
                    <a:pt x="0" y="2"/>
                    <a:pt x="1" y="3"/>
                    <a:pt x="2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6" y="3"/>
                    <a:pt x="7" y="2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6" y="0"/>
                    <a:pt x="5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79" name="Freeform 6565"/>
            <p:cNvSpPr>
              <a:spLocks/>
            </p:cNvSpPr>
            <p:nvPr/>
          </p:nvSpPr>
          <p:spPr bwMode="auto">
            <a:xfrm>
              <a:off x="5873750" y="5335589"/>
              <a:ext cx="11113" cy="6350"/>
            </a:xfrm>
            <a:custGeom>
              <a:avLst/>
              <a:gdLst>
                <a:gd name="T0" fmla="*/ 0 w 6"/>
                <a:gd name="T1" fmla="*/ 1 h 3"/>
                <a:gd name="T2" fmla="*/ 1 w 6"/>
                <a:gd name="T3" fmla="*/ 3 h 3"/>
                <a:gd name="T4" fmla="*/ 5 w 6"/>
                <a:gd name="T5" fmla="*/ 3 h 3"/>
                <a:gd name="T6" fmla="*/ 6 w 6"/>
                <a:gd name="T7" fmla="*/ 1 h 3"/>
                <a:gd name="T8" fmla="*/ 6 w 6"/>
                <a:gd name="T9" fmla="*/ 1 h 3"/>
                <a:gd name="T10" fmla="*/ 5 w 6"/>
                <a:gd name="T11" fmla="*/ 0 h 3"/>
                <a:gd name="T12" fmla="*/ 1 w 6"/>
                <a:gd name="T13" fmla="*/ 0 h 3"/>
                <a:gd name="T14" fmla="*/ 0 w 6"/>
                <a:gd name="T1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3">
                  <a:moveTo>
                    <a:pt x="0" y="1"/>
                  </a:moveTo>
                  <a:cubicBezTo>
                    <a:pt x="0" y="2"/>
                    <a:pt x="1" y="3"/>
                    <a:pt x="1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6" y="3"/>
                    <a:pt x="6" y="2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80" name="Freeform 6566"/>
            <p:cNvSpPr>
              <a:spLocks/>
            </p:cNvSpPr>
            <p:nvPr/>
          </p:nvSpPr>
          <p:spPr bwMode="auto">
            <a:xfrm>
              <a:off x="5873750" y="5341939"/>
              <a:ext cx="11113" cy="4763"/>
            </a:xfrm>
            <a:custGeom>
              <a:avLst/>
              <a:gdLst>
                <a:gd name="T0" fmla="*/ 0 w 6"/>
                <a:gd name="T1" fmla="*/ 2 h 3"/>
                <a:gd name="T2" fmla="*/ 1 w 6"/>
                <a:gd name="T3" fmla="*/ 3 h 3"/>
                <a:gd name="T4" fmla="*/ 5 w 6"/>
                <a:gd name="T5" fmla="*/ 3 h 3"/>
                <a:gd name="T6" fmla="*/ 6 w 6"/>
                <a:gd name="T7" fmla="*/ 2 h 3"/>
                <a:gd name="T8" fmla="*/ 6 w 6"/>
                <a:gd name="T9" fmla="*/ 2 h 3"/>
                <a:gd name="T10" fmla="*/ 5 w 6"/>
                <a:gd name="T11" fmla="*/ 0 h 3"/>
                <a:gd name="T12" fmla="*/ 1 w 6"/>
                <a:gd name="T13" fmla="*/ 0 h 3"/>
                <a:gd name="T14" fmla="*/ 0 w 6"/>
                <a:gd name="T15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3">
                  <a:moveTo>
                    <a:pt x="0" y="2"/>
                  </a:moveTo>
                  <a:cubicBezTo>
                    <a:pt x="0" y="3"/>
                    <a:pt x="1" y="3"/>
                    <a:pt x="1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6" y="3"/>
                    <a:pt x="6" y="3"/>
                    <a:pt x="6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1"/>
                    <a:pt x="6" y="0"/>
                    <a:pt x="5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81" name="Freeform 6567"/>
            <p:cNvSpPr>
              <a:spLocks/>
            </p:cNvSpPr>
            <p:nvPr/>
          </p:nvSpPr>
          <p:spPr bwMode="auto">
            <a:xfrm>
              <a:off x="5873750" y="5346701"/>
              <a:ext cx="11113" cy="7938"/>
            </a:xfrm>
            <a:custGeom>
              <a:avLst/>
              <a:gdLst>
                <a:gd name="T0" fmla="*/ 0 w 6"/>
                <a:gd name="T1" fmla="*/ 2 h 4"/>
                <a:gd name="T2" fmla="*/ 1 w 6"/>
                <a:gd name="T3" fmla="*/ 4 h 4"/>
                <a:gd name="T4" fmla="*/ 5 w 6"/>
                <a:gd name="T5" fmla="*/ 4 h 4"/>
                <a:gd name="T6" fmla="*/ 6 w 6"/>
                <a:gd name="T7" fmla="*/ 2 h 4"/>
                <a:gd name="T8" fmla="*/ 6 w 6"/>
                <a:gd name="T9" fmla="*/ 2 h 4"/>
                <a:gd name="T10" fmla="*/ 5 w 6"/>
                <a:gd name="T11" fmla="*/ 0 h 4"/>
                <a:gd name="T12" fmla="*/ 1 w 6"/>
                <a:gd name="T13" fmla="*/ 0 h 4"/>
                <a:gd name="T14" fmla="*/ 0 w 6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4">
                  <a:moveTo>
                    <a:pt x="0" y="2"/>
                  </a:moveTo>
                  <a:cubicBezTo>
                    <a:pt x="0" y="3"/>
                    <a:pt x="1" y="4"/>
                    <a:pt x="1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4"/>
                    <a:pt x="6" y="3"/>
                    <a:pt x="6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1"/>
                    <a:pt x="6" y="0"/>
                    <a:pt x="5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82" name="Freeform 6568"/>
            <p:cNvSpPr>
              <a:spLocks/>
            </p:cNvSpPr>
            <p:nvPr/>
          </p:nvSpPr>
          <p:spPr bwMode="auto">
            <a:xfrm>
              <a:off x="5873750" y="5354639"/>
              <a:ext cx="11113" cy="4763"/>
            </a:xfrm>
            <a:custGeom>
              <a:avLst/>
              <a:gdLst>
                <a:gd name="T0" fmla="*/ 0 w 6"/>
                <a:gd name="T1" fmla="*/ 1 h 3"/>
                <a:gd name="T2" fmla="*/ 1 w 6"/>
                <a:gd name="T3" fmla="*/ 3 h 3"/>
                <a:gd name="T4" fmla="*/ 5 w 6"/>
                <a:gd name="T5" fmla="*/ 3 h 3"/>
                <a:gd name="T6" fmla="*/ 6 w 6"/>
                <a:gd name="T7" fmla="*/ 1 h 3"/>
                <a:gd name="T8" fmla="*/ 6 w 6"/>
                <a:gd name="T9" fmla="*/ 1 h 3"/>
                <a:gd name="T10" fmla="*/ 5 w 6"/>
                <a:gd name="T11" fmla="*/ 0 h 3"/>
                <a:gd name="T12" fmla="*/ 1 w 6"/>
                <a:gd name="T13" fmla="*/ 0 h 3"/>
                <a:gd name="T14" fmla="*/ 0 w 6"/>
                <a:gd name="T1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3">
                  <a:moveTo>
                    <a:pt x="0" y="1"/>
                  </a:moveTo>
                  <a:cubicBezTo>
                    <a:pt x="0" y="2"/>
                    <a:pt x="1" y="3"/>
                    <a:pt x="1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6" y="3"/>
                    <a:pt x="6" y="2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83" name="Freeform 6569"/>
            <p:cNvSpPr>
              <a:spLocks/>
            </p:cNvSpPr>
            <p:nvPr/>
          </p:nvSpPr>
          <p:spPr bwMode="auto">
            <a:xfrm>
              <a:off x="5873750" y="5359401"/>
              <a:ext cx="11113" cy="6350"/>
            </a:xfrm>
            <a:custGeom>
              <a:avLst/>
              <a:gdLst>
                <a:gd name="T0" fmla="*/ 0 w 6"/>
                <a:gd name="T1" fmla="*/ 2 h 3"/>
                <a:gd name="T2" fmla="*/ 1 w 6"/>
                <a:gd name="T3" fmla="*/ 3 h 3"/>
                <a:gd name="T4" fmla="*/ 5 w 6"/>
                <a:gd name="T5" fmla="*/ 3 h 3"/>
                <a:gd name="T6" fmla="*/ 6 w 6"/>
                <a:gd name="T7" fmla="*/ 2 h 3"/>
                <a:gd name="T8" fmla="*/ 6 w 6"/>
                <a:gd name="T9" fmla="*/ 2 h 3"/>
                <a:gd name="T10" fmla="*/ 5 w 6"/>
                <a:gd name="T11" fmla="*/ 0 h 3"/>
                <a:gd name="T12" fmla="*/ 1 w 6"/>
                <a:gd name="T13" fmla="*/ 0 h 3"/>
                <a:gd name="T14" fmla="*/ 0 w 6"/>
                <a:gd name="T15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3">
                  <a:moveTo>
                    <a:pt x="0" y="2"/>
                  </a:moveTo>
                  <a:cubicBezTo>
                    <a:pt x="0" y="2"/>
                    <a:pt x="1" y="3"/>
                    <a:pt x="1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1"/>
                    <a:pt x="6" y="0"/>
                    <a:pt x="5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84" name="Freeform 6570"/>
            <p:cNvSpPr>
              <a:spLocks/>
            </p:cNvSpPr>
            <p:nvPr/>
          </p:nvSpPr>
          <p:spPr bwMode="auto">
            <a:xfrm>
              <a:off x="5873750" y="5365751"/>
              <a:ext cx="11113" cy="6350"/>
            </a:xfrm>
            <a:custGeom>
              <a:avLst/>
              <a:gdLst>
                <a:gd name="T0" fmla="*/ 0 w 6"/>
                <a:gd name="T1" fmla="*/ 2 h 4"/>
                <a:gd name="T2" fmla="*/ 1 w 6"/>
                <a:gd name="T3" fmla="*/ 4 h 4"/>
                <a:gd name="T4" fmla="*/ 5 w 6"/>
                <a:gd name="T5" fmla="*/ 4 h 4"/>
                <a:gd name="T6" fmla="*/ 6 w 6"/>
                <a:gd name="T7" fmla="*/ 2 h 4"/>
                <a:gd name="T8" fmla="*/ 6 w 6"/>
                <a:gd name="T9" fmla="*/ 2 h 4"/>
                <a:gd name="T10" fmla="*/ 5 w 6"/>
                <a:gd name="T11" fmla="*/ 0 h 4"/>
                <a:gd name="T12" fmla="*/ 1 w 6"/>
                <a:gd name="T13" fmla="*/ 0 h 4"/>
                <a:gd name="T14" fmla="*/ 0 w 6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4">
                  <a:moveTo>
                    <a:pt x="0" y="2"/>
                  </a:moveTo>
                  <a:cubicBezTo>
                    <a:pt x="0" y="3"/>
                    <a:pt x="1" y="4"/>
                    <a:pt x="1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4"/>
                    <a:pt x="6" y="3"/>
                    <a:pt x="6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1"/>
                    <a:pt x="6" y="0"/>
                    <a:pt x="5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85" name="Freeform 6571"/>
            <p:cNvSpPr>
              <a:spLocks/>
            </p:cNvSpPr>
            <p:nvPr/>
          </p:nvSpPr>
          <p:spPr bwMode="auto">
            <a:xfrm>
              <a:off x="6169025" y="5335589"/>
              <a:ext cx="9525" cy="6350"/>
            </a:xfrm>
            <a:custGeom>
              <a:avLst/>
              <a:gdLst>
                <a:gd name="T0" fmla="*/ 0 w 6"/>
                <a:gd name="T1" fmla="*/ 1 h 3"/>
                <a:gd name="T2" fmla="*/ 1 w 6"/>
                <a:gd name="T3" fmla="*/ 3 h 3"/>
                <a:gd name="T4" fmla="*/ 5 w 6"/>
                <a:gd name="T5" fmla="*/ 3 h 3"/>
                <a:gd name="T6" fmla="*/ 6 w 6"/>
                <a:gd name="T7" fmla="*/ 1 h 3"/>
                <a:gd name="T8" fmla="*/ 6 w 6"/>
                <a:gd name="T9" fmla="*/ 1 h 3"/>
                <a:gd name="T10" fmla="*/ 5 w 6"/>
                <a:gd name="T11" fmla="*/ 0 h 3"/>
                <a:gd name="T12" fmla="*/ 1 w 6"/>
                <a:gd name="T13" fmla="*/ 0 h 3"/>
                <a:gd name="T14" fmla="*/ 0 w 6"/>
                <a:gd name="T1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3">
                  <a:moveTo>
                    <a:pt x="0" y="1"/>
                  </a:moveTo>
                  <a:cubicBezTo>
                    <a:pt x="0" y="2"/>
                    <a:pt x="0" y="3"/>
                    <a:pt x="1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6" y="3"/>
                    <a:pt x="6" y="2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86" name="Freeform 6572"/>
            <p:cNvSpPr>
              <a:spLocks/>
            </p:cNvSpPr>
            <p:nvPr/>
          </p:nvSpPr>
          <p:spPr bwMode="auto">
            <a:xfrm>
              <a:off x="6169025" y="5341939"/>
              <a:ext cx="9525" cy="4763"/>
            </a:xfrm>
            <a:custGeom>
              <a:avLst/>
              <a:gdLst>
                <a:gd name="T0" fmla="*/ 0 w 6"/>
                <a:gd name="T1" fmla="*/ 2 h 3"/>
                <a:gd name="T2" fmla="*/ 1 w 6"/>
                <a:gd name="T3" fmla="*/ 3 h 3"/>
                <a:gd name="T4" fmla="*/ 5 w 6"/>
                <a:gd name="T5" fmla="*/ 3 h 3"/>
                <a:gd name="T6" fmla="*/ 6 w 6"/>
                <a:gd name="T7" fmla="*/ 2 h 3"/>
                <a:gd name="T8" fmla="*/ 6 w 6"/>
                <a:gd name="T9" fmla="*/ 2 h 3"/>
                <a:gd name="T10" fmla="*/ 5 w 6"/>
                <a:gd name="T11" fmla="*/ 0 h 3"/>
                <a:gd name="T12" fmla="*/ 1 w 6"/>
                <a:gd name="T13" fmla="*/ 0 h 3"/>
                <a:gd name="T14" fmla="*/ 0 w 6"/>
                <a:gd name="T15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3">
                  <a:moveTo>
                    <a:pt x="0" y="2"/>
                  </a:moveTo>
                  <a:cubicBezTo>
                    <a:pt x="0" y="3"/>
                    <a:pt x="0" y="3"/>
                    <a:pt x="1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6" y="3"/>
                    <a:pt x="6" y="3"/>
                    <a:pt x="6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1"/>
                    <a:pt x="6" y="0"/>
                    <a:pt x="5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87" name="Freeform 6573"/>
            <p:cNvSpPr>
              <a:spLocks/>
            </p:cNvSpPr>
            <p:nvPr/>
          </p:nvSpPr>
          <p:spPr bwMode="auto">
            <a:xfrm>
              <a:off x="6169025" y="5346701"/>
              <a:ext cx="9525" cy="7938"/>
            </a:xfrm>
            <a:custGeom>
              <a:avLst/>
              <a:gdLst>
                <a:gd name="T0" fmla="*/ 0 w 6"/>
                <a:gd name="T1" fmla="*/ 2 h 4"/>
                <a:gd name="T2" fmla="*/ 1 w 6"/>
                <a:gd name="T3" fmla="*/ 4 h 4"/>
                <a:gd name="T4" fmla="*/ 5 w 6"/>
                <a:gd name="T5" fmla="*/ 4 h 4"/>
                <a:gd name="T6" fmla="*/ 6 w 6"/>
                <a:gd name="T7" fmla="*/ 2 h 4"/>
                <a:gd name="T8" fmla="*/ 6 w 6"/>
                <a:gd name="T9" fmla="*/ 2 h 4"/>
                <a:gd name="T10" fmla="*/ 5 w 6"/>
                <a:gd name="T11" fmla="*/ 0 h 4"/>
                <a:gd name="T12" fmla="*/ 1 w 6"/>
                <a:gd name="T13" fmla="*/ 0 h 4"/>
                <a:gd name="T14" fmla="*/ 0 w 6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4">
                  <a:moveTo>
                    <a:pt x="0" y="2"/>
                  </a:moveTo>
                  <a:cubicBezTo>
                    <a:pt x="0" y="3"/>
                    <a:pt x="0" y="4"/>
                    <a:pt x="1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4"/>
                    <a:pt x="6" y="3"/>
                    <a:pt x="6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1"/>
                    <a:pt x="6" y="0"/>
                    <a:pt x="5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88" name="Freeform 6574"/>
            <p:cNvSpPr>
              <a:spLocks/>
            </p:cNvSpPr>
            <p:nvPr/>
          </p:nvSpPr>
          <p:spPr bwMode="auto">
            <a:xfrm>
              <a:off x="6169025" y="5354639"/>
              <a:ext cx="9525" cy="4763"/>
            </a:xfrm>
            <a:custGeom>
              <a:avLst/>
              <a:gdLst>
                <a:gd name="T0" fmla="*/ 0 w 6"/>
                <a:gd name="T1" fmla="*/ 1 h 3"/>
                <a:gd name="T2" fmla="*/ 1 w 6"/>
                <a:gd name="T3" fmla="*/ 3 h 3"/>
                <a:gd name="T4" fmla="*/ 5 w 6"/>
                <a:gd name="T5" fmla="*/ 3 h 3"/>
                <a:gd name="T6" fmla="*/ 6 w 6"/>
                <a:gd name="T7" fmla="*/ 1 h 3"/>
                <a:gd name="T8" fmla="*/ 6 w 6"/>
                <a:gd name="T9" fmla="*/ 1 h 3"/>
                <a:gd name="T10" fmla="*/ 5 w 6"/>
                <a:gd name="T11" fmla="*/ 0 h 3"/>
                <a:gd name="T12" fmla="*/ 1 w 6"/>
                <a:gd name="T13" fmla="*/ 0 h 3"/>
                <a:gd name="T14" fmla="*/ 0 w 6"/>
                <a:gd name="T1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3">
                  <a:moveTo>
                    <a:pt x="0" y="1"/>
                  </a:moveTo>
                  <a:cubicBezTo>
                    <a:pt x="0" y="2"/>
                    <a:pt x="0" y="3"/>
                    <a:pt x="1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6" y="3"/>
                    <a:pt x="6" y="2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89" name="Freeform 6575"/>
            <p:cNvSpPr>
              <a:spLocks/>
            </p:cNvSpPr>
            <p:nvPr/>
          </p:nvSpPr>
          <p:spPr bwMode="auto">
            <a:xfrm>
              <a:off x="6169025" y="5359401"/>
              <a:ext cx="9525" cy="6350"/>
            </a:xfrm>
            <a:custGeom>
              <a:avLst/>
              <a:gdLst>
                <a:gd name="T0" fmla="*/ 0 w 6"/>
                <a:gd name="T1" fmla="*/ 2 h 3"/>
                <a:gd name="T2" fmla="*/ 1 w 6"/>
                <a:gd name="T3" fmla="*/ 3 h 3"/>
                <a:gd name="T4" fmla="*/ 5 w 6"/>
                <a:gd name="T5" fmla="*/ 3 h 3"/>
                <a:gd name="T6" fmla="*/ 6 w 6"/>
                <a:gd name="T7" fmla="*/ 2 h 3"/>
                <a:gd name="T8" fmla="*/ 6 w 6"/>
                <a:gd name="T9" fmla="*/ 2 h 3"/>
                <a:gd name="T10" fmla="*/ 5 w 6"/>
                <a:gd name="T11" fmla="*/ 0 h 3"/>
                <a:gd name="T12" fmla="*/ 1 w 6"/>
                <a:gd name="T13" fmla="*/ 0 h 3"/>
                <a:gd name="T14" fmla="*/ 0 w 6"/>
                <a:gd name="T15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3">
                  <a:moveTo>
                    <a:pt x="0" y="2"/>
                  </a:moveTo>
                  <a:cubicBezTo>
                    <a:pt x="0" y="2"/>
                    <a:pt x="0" y="3"/>
                    <a:pt x="1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1"/>
                    <a:pt x="6" y="0"/>
                    <a:pt x="5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90" name="Freeform 6576"/>
            <p:cNvSpPr>
              <a:spLocks/>
            </p:cNvSpPr>
            <p:nvPr/>
          </p:nvSpPr>
          <p:spPr bwMode="auto">
            <a:xfrm>
              <a:off x="6169025" y="5365751"/>
              <a:ext cx="9525" cy="6350"/>
            </a:xfrm>
            <a:custGeom>
              <a:avLst/>
              <a:gdLst>
                <a:gd name="T0" fmla="*/ 0 w 6"/>
                <a:gd name="T1" fmla="*/ 2 h 4"/>
                <a:gd name="T2" fmla="*/ 1 w 6"/>
                <a:gd name="T3" fmla="*/ 4 h 4"/>
                <a:gd name="T4" fmla="*/ 5 w 6"/>
                <a:gd name="T5" fmla="*/ 4 h 4"/>
                <a:gd name="T6" fmla="*/ 6 w 6"/>
                <a:gd name="T7" fmla="*/ 2 h 4"/>
                <a:gd name="T8" fmla="*/ 6 w 6"/>
                <a:gd name="T9" fmla="*/ 2 h 4"/>
                <a:gd name="T10" fmla="*/ 5 w 6"/>
                <a:gd name="T11" fmla="*/ 0 h 4"/>
                <a:gd name="T12" fmla="*/ 1 w 6"/>
                <a:gd name="T13" fmla="*/ 0 h 4"/>
                <a:gd name="T14" fmla="*/ 0 w 6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4">
                  <a:moveTo>
                    <a:pt x="0" y="2"/>
                  </a:moveTo>
                  <a:cubicBezTo>
                    <a:pt x="0" y="3"/>
                    <a:pt x="0" y="4"/>
                    <a:pt x="1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4"/>
                    <a:pt x="6" y="3"/>
                    <a:pt x="6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1"/>
                    <a:pt x="6" y="0"/>
                    <a:pt x="5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9190" name="Group 9189"/>
          <p:cNvGrpSpPr/>
          <p:nvPr/>
        </p:nvGrpSpPr>
        <p:grpSpPr>
          <a:xfrm>
            <a:off x="213526" y="2155485"/>
            <a:ext cx="1576941" cy="1121320"/>
            <a:chOff x="202203" y="1752475"/>
            <a:chExt cx="1576941" cy="1121320"/>
          </a:xfrm>
        </p:grpSpPr>
        <p:sp>
          <p:nvSpPr>
            <p:cNvPr id="9122" name="AutoShape 6872"/>
            <p:cNvSpPr>
              <a:spLocks noChangeAspect="1" noChangeArrowheads="1" noTextEdit="1"/>
            </p:cNvSpPr>
            <p:nvPr/>
          </p:nvSpPr>
          <p:spPr bwMode="auto">
            <a:xfrm>
              <a:off x="220663" y="1787525"/>
              <a:ext cx="1449387" cy="10858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123" name="Oval 6874"/>
            <p:cNvSpPr>
              <a:spLocks noChangeArrowheads="1"/>
            </p:cNvSpPr>
            <p:nvPr/>
          </p:nvSpPr>
          <p:spPr bwMode="auto">
            <a:xfrm>
              <a:off x="998538" y="1789113"/>
              <a:ext cx="390525" cy="390525"/>
            </a:xfrm>
            <a:prstGeom prst="ellipse">
              <a:avLst/>
            </a:prstGeom>
            <a:solidFill>
              <a:srgbClr val="FBB2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124" name="Oval 6875"/>
            <p:cNvSpPr>
              <a:spLocks noChangeArrowheads="1"/>
            </p:cNvSpPr>
            <p:nvPr/>
          </p:nvSpPr>
          <p:spPr bwMode="auto">
            <a:xfrm>
              <a:off x="693738" y="1935163"/>
              <a:ext cx="390525" cy="390525"/>
            </a:xfrm>
            <a:prstGeom prst="ellipse">
              <a:avLst/>
            </a:prstGeom>
            <a:solidFill>
              <a:srgbClr val="FBB2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125" name="Oval 6876"/>
            <p:cNvSpPr>
              <a:spLocks noChangeArrowheads="1"/>
            </p:cNvSpPr>
            <p:nvPr/>
          </p:nvSpPr>
          <p:spPr bwMode="auto">
            <a:xfrm>
              <a:off x="938213" y="2016125"/>
              <a:ext cx="192087" cy="192088"/>
            </a:xfrm>
            <a:prstGeom prst="ellipse">
              <a:avLst/>
            </a:prstGeom>
            <a:solidFill>
              <a:srgbClr val="FFE1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126" name="Oval 6877"/>
            <p:cNvSpPr>
              <a:spLocks noChangeArrowheads="1"/>
            </p:cNvSpPr>
            <p:nvPr/>
          </p:nvSpPr>
          <p:spPr bwMode="auto">
            <a:xfrm>
              <a:off x="984250" y="2128838"/>
              <a:ext cx="352425" cy="352425"/>
            </a:xfrm>
            <a:prstGeom prst="ellipse">
              <a:avLst/>
            </a:prstGeom>
            <a:solidFill>
              <a:srgbClr val="FBB2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127" name="Oval 6878"/>
            <p:cNvSpPr>
              <a:spLocks noChangeArrowheads="1"/>
            </p:cNvSpPr>
            <p:nvPr/>
          </p:nvSpPr>
          <p:spPr bwMode="auto">
            <a:xfrm>
              <a:off x="849313" y="1833563"/>
              <a:ext cx="263525" cy="263525"/>
            </a:xfrm>
            <a:prstGeom prst="ellipse">
              <a:avLst/>
            </a:prstGeom>
            <a:solidFill>
              <a:srgbClr val="FFE1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128" name="Oval 6879"/>
            <p:cNvSpPr>
              <a:spLocks noChangeArrowheads="1"/>
            </p:cNvSpPr>
            <p:nvPr/>
          </p:nvSpPr>
          <p:spPr bwMode="auto">
            <a:xfrm>
              <a:off x="814388" y="2165350"/>
              <a:ext cx="239712" cy="238125"/>
            </a:xfrm>
            <a:prstGeom prst="ellipse">
              <a:avLst/>
            </a:prstGeom>
            <a:solidFill>
              <a:srgbClr val="FFE1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129" name="Freeform 6880"/>
            <p:cNvSpPr>
              <a:spLocks/>
            </p:cNvSpPr>
            <p:nvPr/>
          </p:nvSpPr>
          <p:spPr bwMode="auto">
            <a:xfrm>
              <a:off x="893763" y="2016125"/>
              <a:ext cx="220662" cy="682625"/>
            </a:xfrm>
            <a:custGeom>
              <a:avLst/>
              <a:gdLst>
                <a:gd name="T0" fmla="*/ 97 w 109"/>
                <a:gd name="T1" fmla="*/ 316 h 338"/>
                <a:gd name="T2" fmla="*/ 0 w 109"/>
                <a:gd name="T3" fmla="*/ 316 h 338"/>
                <a:gd name="T4" fmla="*/ 57 w 109"/>
                <a:gd name="T5" fmla="*/ 85 h 338"/>
                <a:gd name="T6" fmla="*/ 109 w 109"/>
                <a:gd name="T7" fmla="*/ 0 h 338"/>
                <a:gd name="T8" fmla="*/ 60 w 109"/>
                <a:gd name="T9" fmla="*/ 218 h 338"/>
                <a:gd name="T10" fmla="*/ 97 w 109"/>
                <a:gd name="T11" fmla="*/ 316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9" h="338">
                  <a:moveTo>
                    <a:pt x="97" y="316"/>
                  </a:moveTo>
                  <a:cubicBezTo>
                    <a:pt x="97" y="316"/>
                    <a:pt x="55" y="338"/>
                    <a:pt x="0" y="316"/>
                  </a:cubicBezTo>
                  <a:cubicBezTo>
                    <a:pt x="0" y="316"/>
                    <a:pt x="38" y="119"/>
                    <a:pt x="57" y="85"/>
                  </a:cubicBezTo>
                  <a:cubicBezTo>
                    <a:pt x="57" y="85"/>
                    <a:pt x="74" y="33"/>
                    <a:pt x="109" y="0"/>
                  </a:cubicBezTo>
                  <a:cubicBezTo>
                    <a:pt x="109" y="0"/>
                    <a:pt x="49" y="87"/>
                    <a:pt x="60" y="218"/>
                  </a:cubicBezTo>
                  <a:cubicBezTo>
                    <a:pt x="60" y="218"/>
                    <a:pt x="68" y="291"/>
                    <a:pt x="97" y="316"/>
                  </a:cubicBezTo>
                  <a:close/>
                </a:path>
              </a:pathLst>
            </a:custGeom>
            <a:solidFill>
              <a:srgbClr val="543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130" name="Freeform 6881"/>
            <p:cNvSpPr>
              <a:spLocks/>
            </p:cNvSpPr>
            <p:nvPr/>
          </p:nvSpPr>
          <p:spPr bwMode="auto">
            <a:xfrm>
              <a:off x="1017588" y="2236788"/>
              <a:ext cx="220662" cy="60325"/>
            </a:xfrm>
            <a:custGeom>
              <a:avLst/>
              <a:gdLst>
                <a:gd name="T0" fmla="*/ 3 w 109"/>
                <a:gd name="T1" fmla="*/ 16 h 30"/>
                <a:gd name="T2" fmla="*/ 29 w 109"/>
                <a:gd name="T3" fmla="*/ 18 h 30"/>
                <a:gd name="T4" fmla="*/ 56 w 109"/>
                <a:gd name="T5" fmla="*/ 16 h 30"/>
                <a:gd name="T6" fmla="*/ 108 w 109"/>
                <a:gd name="T7" fmla="*/ 0 h 30"/>
                <a:gd name="T8" fmla="*/ 109 w 109"/>
                <a:gd name="T9" fmla="*/ 1 h 30"/>
                <a:gd name="T10" fmla="*/ 58 w 109"/>
                <a:gd name="T11" fmla="*/ 24 h 30"/>
                <a:gd name="T12" fmla="*/ 30 w 109"/>
                <a:gd name="T13" fmla="*/ 29 h 30"/>
                <a:gd name="T14" fmla="*/ 0 w 109"/>
                <a:gd name="T15" fmla="*/ 29 h 30"/>
                <a:gd name="T16" fmla="*/ 3 w 109"/>
                <a:gd name="T17" fmla="*/ 16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9" h="30">
                  <a:moveTo>
                    <a:pt x="3" y="16"/>
                  </a:moveTo>
                  <a:cubicBezTo>
                    <a:pt x="11" y="17"/>
                    <a:pt x="20" y="18"/>
                    <a:pt x="29" y="18"/>
                  </a:cubicBezTo>
                  <a:cubicBezTo>
                    <a:pt x="38" y="18"/>
                    <a:pt x="47" y="17"/>
                    <a:pt x="56" y="16"/>
                  </a:cubicBezTo>
                  <a:cubicBezTo>
                    <a:pt x="74" y="14"/>
                    <a:pt x="92" y="9"/>
                    <a:pt x="108" y="0"/>
                  </a:cubicBezTo>
                  <a:cubicBezTo>
                    <a:pt x="109" y="1"/>
                    <a:pt x="109" y="1"/>
                    <a:pt x="109" y="1"/>
                  </a:cubicBezTo>
                  <a:cubicBezTo>
                    <a:pt x="94" y="12"/>
                    <a:pt x="76" y="20"/>
                    <a:pt x="58" y="24"/>
                  </a:cubicBezTo>
                  <a:cubicBezTo>
                    <a:pt x="49" y="26"/>
                    <a:pt x="39" y="28"/>
                    <a:pt x="30" y="29"/>
                  </a:cubicBezTo>
                  <a:cubicBezTo>
                    <a:pt x="20" y="30"/>
                    <a:pt x="10" y="30"/>
                    <a:pt x="0" y="29"/>
                  </a:cubicBezTo>
                  <a:lnTo>
                    <a:pt x="3" y="16"/>
                  </a:lnTo>
                  <a:close/>
                </a:path>
              </a:pathLst>
            </a:custGeom>
            <a:solidFill>
              <a:srgbClr val="543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131" name="Freeform 6882"/>
            <p:cNvSpPr>
              <a:spLocks/>
            </p:cNvSpPr>
            <p:nvPr/>
          </p:nvSpPr>
          <p:spPr bwMode="auto">
            <a:xfrm>
              <a:off x="938213" y="1944688"/>
              <a:ext cx="87312" cy="236538"/>
            </a:xfrm>
            <a:custGeom>
              <a:avLst/>
              <a:gdLst>
                <a:gd name="T0" fmla="*/ 36 w 43"/>
                <a:gd name="T1" fmla="*/ 117 h 117"/>
                <a:gd name="T2" fmla="*/ 20 w 43"/>
                <a:gd name="T3" fmla="*/ 87 h 117"/>
                <a:gd name="T4" fmla="*/ 8 w 43"/>
                <a:gd name="T5" fmla="*/ 59 h 117"/>
                <a:gd name="T6" fmla="*/ 1 w 43"/>
                <a:gd name="T7" fmla="*/ 30 h 117"/>
                <a:gd name="T8" fmla="*/ 2 w 43"/>
                <a:gd name="T9" fmla="*/ 0 h 117"/>
                <a:gd name="T10" fmla="*/ 3 w 43"/>
                <a:gd name="T11" fmla="*/ 0 h 117"/>
                <a:gd name="T12" fmla="*/ 5 w 43"/>
                <a:gd name="T13" fmla="*/ 29 h 117"/>
                <a:gd name="T14" fmla="*/ 13 w 43"/>
                <a:gd name="T15" fmla="*/ 57 h 117"/>
                <a:gd name="T16" fmla="*/ 27 w 43"/>
                <a:gd name="T17" fmla="*/ 83 h 117"/>
                <a:gd name="T18" fmla="*/ 43 w 43"/>
                <a:gd name="T19" fmla="*/ 107 h 117"/>
                <a:gd name="T20" fmla="*/ 36 w 43"/>
                <a:gd name="T21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3" h="117">
                  <a:moveTo>
                    <a:pt x="36" y="117"/>
                  </a:moveTo>
                  <a:cubicBezTo>
                    <a:pt x="31" y="108"/>
                    <a:pt x="24" y="96"/>
                    <a:pt x="20" y="87"/>
                  </a:cubicBezTo>
                  <a:cubicBezTo>
                    <a:pt x="15" y="78"/>
                    <a:pt x="11" y="69"/>
                    <a:pt x="8" y="59"/>
                  </a:cubicBezTo>
                  <a:cubicBezTo>
                    <a:pt x="5" y="50"/>
                    <a:pt x="3" y="40"/>
                    <a:pt x="1" y="30"/>
                  </a:cubicBezTo>
                  <a:cubicBezTo>
                    <a:pt x="0" y="20"/>
                    <a:pt x="0" y="10"/>
                    <a:pt x="2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10"/>
                    <a:pt x="3" y="20"/>
                    <a:pt x="5" y="29"/>
                  </a:cubicBezTo>
                  <a:cubicBezTo>
                    <a:pt x="7" y="39"/>
                    <a:pt x="10" y="48"/>
                    <a:pt x="13" y="57"/>
                  </a:cubicBezTo>
                  <a:cubicBezTo>
                    <a:pt x="17" y="66"/>
                    <a:pt x="22" y="75"/>
                    <a:pt x="27" y="83"/>
                  </a:cubicBezTo>
                  <a:cubicBezTo>
                    <a:pt x="31" y="92"/>
                    <a:pt x="37" y="100"/>
                    <a:pt x="43" y="107"/>
                  </a:cubicBezTo>
                  <a:lnTo>
                    <a:pt x="36" y="117"/>
                  </a:lnTo>
                  <a:close/>
                </a:path>
              </a:pathLst>
            </a:custGeom>
            <a:solidFill>
              <a:srgbClr val="543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132" name="Freeform 6883"/>
            <p:cNvSpPr>
              <a:spLocks/>
            </p:cNvSpPr>
            <p:nvPr/>
          </p:nvSpPr>
          <p:spPr bwMode="auto">
            <a:xfrm>
              <a:off x="1058863" y="1927225"/>
              <a:ext cx="19050" cy="141288"/>
            </a:xfrm>
            <a:custGeom>
              <a:avLst/>
              <a:gdLst>
                <a:gd name="T0" fmla="*/ 5 w 9"/>
                <a:gd name="T1" fmla="*/ 70 h 70"/>
                <a:gd name="T2" fmla="*/ 1 w 9"/>
                <a:gd name="T3" fmla="*/ 51 h 70"/>
                <a:gd name="T4" fmla="*/ 0 w 9"/>
                <a:gd name="T5" fmla="*/ 33 h 70"/>
                <a:gd name="T6" fmla="*/ 6 w 9"/>
                <a:gd name="T7" fmla="*/ 0 h 70"/>
                <a:gd name="T8" fmla="*/ 8 w 9"/>
                <a:gd name="T9" fmla="*/ 0 h 70"/>
                <a:gd name="T10" fmla="*/ 4 w 9"/>
                <a:gd name="T11" fmla="*/ 33 h 70"/>
                <a:gd name="T12" fmla="*/ 6 w 9"/>
                <a:gd name="T13" fmla="*/ 50 h 70"/>
                <a:gd name="T14" fmla="*/ 9 w 9"/>
                <a:gd name="T15" fmla="*/ 66 h 70"/>
                <a:gd name="T16" fmla="*/ 5 w 9"/>
                <a:gd name="T17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70">
                  <a:moveTo>
                    <a:pt x="5" y="70"/>
                  </a:moveTo>
                  <a:cubicBezTo>
                    <a:pt x="4" y="65"/>
                    <a:pt x="2" y="56"/>
                    <a:pt x="1" y="51"/>
                  </a:cubicBezTo>
                  <a:cubicBezTo>
                    <a:pt x="1" y="45"/>
                    <a:pt x="0" y="39"/>
                    <a:pt x="0" y="33"/>
                  </a:cubicBezTo>
                  <a:cubicBezTo>
                    <a:pt x="1" y="22"/>
                    <a:pt x="2" y="10"/>
                    <a:pt x="6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11"/>
                    <a:pt x="3" y="22"/>
                    <a:pt x="4" y="33"/>
                  </a:cubicBezTo>
                  <a:cubicBezTo>
                    <a:pt x="4" y="39"/>
                    <a:pt x="5" y="44"/>
                    <a:pt x="6" y="50"/>
                  </a:cubicBezTo>
                  <a:cubicBezTo>
                    <a:pt x="7" y="56"/>
                    <a:pt x="8" y="61"/>
                    <a:pt x="9" y="66"/>
                  </a:cubicBezTo>
                  <a:lnTo>
                    <a:pt x="5" y="70"/>
                  </a:lnTo>
                  <a:close/>
                </a:path>
              </a:pathLst>
            </a:custGeom>
            <a:solidFill>
              <a:srgbClr val="543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133" name="Freeform 6884"/>
            <p:cNvSpPr>
              <a:spLocks/>
            </p:cNvSpPr>
            <p:nvPr/>
          </p:nvSpPr>
          <p:spPr bwMode="auto">
            <a:xfrm>
              <a:off x="1054100" y="2060575"/>
              <a:ext cx="166687" cy="84138"/>
            </a:xfrm>
            <a:custGeom>
              <a:avLst/>
              <a:gdLst>
                <a:gd name="T0" fmla="*/ 4 w 83"/>
                <a:gd name="T1" fmla="*/ 30 h 42"/>
                <a:gd name="T2" fmla="*/ 25 w 83"/>
                <a:gd name="T3" fmla="*/ 28 h 42"/>
                <a:gd name="T4" fmla="*/ 45 w 83"/>
                <a:gd name="T5" fmla="*/ 22 h 42"/>
                <a:gd name="T6" fmla="*/ 82 w 83"/>
                <a:gd name="T7" fmla="*/ 0 h 42"/>
                <a:gd name="T8" fmla="*/ 83 w 83"/>
                <a:gd name="T9" fmla="*/ 2 h 42"/>
                <a:gd name="T10" fmla="*/ 67 w 83"/>
                <a:gd name="T11" fmla="*/ 17 h 42"/>
                <a:gd name="T12" fmla="*/ 48 w 83"/>
                <a:gd name="T13" fmla="*/ 29 h 42"/>
                <a:gd name="T14" fmla="*/ 27 w 83"/>
                <a:gd name="T15" fmla="*/ 37 h 42"/>
                <a:gd name="T16" fmla="*/ 16 w 83"/>
                <a:gd name="T17" fmla="*/ 39 h 42"/>
                <a:gd name="T18" fmla="*/ 10 w 83"/>
                <a:gd name="T19" fmla="*/ 40 h 42"/>
                <a:gd name="T20" fmla="*/ 7 w 83"/>
                <a:gd name="T21" fmla="*/ 40 h 42"/>
                <a:gd name="T22" fmla="*/ 0 w 83"/>
                <a:gd name="T23" fmla="*/ 42 h 42"/>
                <a:gd name="T24" fmla="*/ 0 w 83"/>
                <a:gd name="T25" fmla="*/ 39 h 42"/>
                <a:gd name="T26" fmla="*/ 1 w 83"/>
                <a:gd name="T27" fmla="*/ 37 h 42"/>
                <a:gd name="T28" fmla="*/ 2 w 83"/>
                <a:gd name="T29" fmla="*/ 35 h 42"/>
                <a:gd name="T30" fmla="*/ 4 w 83"/>
                <a:gd name="T31" fmla="*/ 3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3" h="42">
                  <a:moveTo>
                    <a:pt x="4" y="30"/>
                  </a:moveTo>
                  <a:cubicBezTo>
                    <a:pt x="11" y="30"/>
                    <a:pt x="18" y="29"/>
                    <a:pt x="25" y="28"/>
                  </a:cubicBezTo>
                  <a:cubicBezTo>
                    <a:pt x="32" y="26"/>
                    <a:pt x="39" y="24"/>
                    <a:pt x="45" y="22"/>
                  </a:cubicBezTo>
                  <a:cubicBezTo>
                    <a:pt x="59" y="17"/>
                    <a:pt x="71" y="10"/>
                    <a:pt x="82" y="0"/>
                  </a:cubicBezTo>
                  <a:cubicBezTo>
                    <a:pt x="83" y="2"/>
                    <a:pt x="83" y="2"/>
                    <a:pt x="83" y="2"/>
                  </a:cubicBezTo>
                  <a:cubicBezTo>
                    <a:pt x="79" y="7"/>
                    <a:pt x="73" y="12"/>
                    <a:pt x="67" y="17"/>
                  </a:cubicBezTo>
                  <a:cubicBezTo>
                    <a:pt x="61" y="22"/>
                    <a:pt x="55" y="26"/>
                    <a:pt x="48" y="29"/>
                  </a:cubicBezTo>
                  <a:cubicBezTo>
                    <a:pt x="41" y="32"/>
                    <a:pt x="34" y="35"/>
                    <a:pt x="27" y="37"/>
                  </a:cubicBezTo>
                  <a:cubicBezTo>
                    <a:pt x="23" y="38"/>
                    <a:pt x="19" y="38"/>
                    <a:pt x="16" y="39"/>
                  </a:cubicBezTo>
                  <a:cubicBezTo>
                    <a:pt x="14" y="39"/>
                    <a:pt x="12" y="40"/>
                    <a:pt x="10" y="40"/>
                  </a:cubicBezTo>
                  <a:cubicBezTo>
                    <a:pt x="7" y="40"/>
                    <a:pt x="7" y="40"/>
                    <a:pt x="7" y="40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2"/>
                    <a:pt x="0" y="40"/>
                    <a:pt x="0" y="39"/>
                  </a:cubicBezTo>
                  <a:cubicBezTo>
                    <a:pt x="1" y="37"/>
                    <a:pt x="1" y="37"/>
                    <a:pt x="1" y="37"/>
                  </a:cubicBezTo>
                  <a:cubicBezTo>
                    <a:pt x="2" y="35"/>
                    <a:pt x="2" y="35"/>
                    <a:pt x="2" y="35"/>
                  </a:cubicBezTo>
                  <a:lnTo>
                    <a:pt x="4" y="30"/>
                  </a:lnTo>
                  <a:close/>
                </a:path>
              </a:pathLst>
            </a:custGeom>
            <a:solidFill>
              <a:srgbClr val="543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9160" name="Group 9159"/>
            <p:cNvGrpSpPr/>
            <p:nvPr/>
          </p:nvGrpSpPr>
          <p:grpSpPr>
            <a:xfrm>
              <a:off x="1071155" y="1972147"/>
              <a:ext cx="707989" cy="901648"/>
              <a:chOff x="3591719" y="5970382"/>
              <a:chExt cx="376237" cy="479152"/>
            </a:xfrm>
          </p:grpSpPr>
          <p:sp>
            <p:nvSpPr>
              <p:cNvPr id="9161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3611099" y="5975060"/>
                <a:ext cx="336141" cy="4731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9162" name="Freeform 5"/>
              <p:cNvSpPr>
                <a:spLocks/>
              </p:cNvSpPr>
              <p:nvPr/>
            </p:nvSpPr>
            <p:spPr bwMode="auto">
              <a:xfrm>
                <a:off x="3591719" y="5984416"/>
                <a:ext cx="174419" cy="263300"/>
              </a:xfrm>
              <a:custGeom>
                <a:avLst/>
                <a:gdLst>
                  <a:gd name="T0" fmla="*/ 23 w 109"/>
                  <a:gd name="T1" fmla="*/ 78 h 165"/>
                  <a:gd name="T2" fmla="*/ 42 w 109"/>
                  <a:gd name="T3" fmla="*/ 51 h 165"/>
                  <a:gd name="T4" fmla="*/ 59 w 109"/>
                  <a:gd name="T5" fmla="*/ 31 h 165"/>
                  <a:gd name="T6" fmla="*/ 88 w 109"/>
                  <a:gd name="T7" fmla="*/ 15 h 165"/>
                  <a:gd name="T8" fmla="*/ 88 w 109"/>
                  <a:gd name="T9" fmla="*/ 66 h 165"/>
                  <a:gd name="T10" fmla="*/ 72 w 109"/>
                  <a:gd name="T11" fmla="*/ 109 h 165"/>
                  <a:gd name="T12" fmla="*/ 61 w 109"/>
                  <a:gd name="T13" fmla="*/ 137 h 165"/>
                  <a:gd name="T14" fmla="*/ 43 w 109"/>
                  <a:gd name="T15" fmla="*/ 165 h 165"/>
                  <a:gd name="T16" fmla="*/ 30 w 109"/>
                  <a:gd name="T17" fmla="*/ 143 h 165"/>
                  <a:gd name="T18" fmla="*/ 23 w 109"/>
                  <a:gd name="T19" fmla="*/ 109 h 165"/>
                  <a:gd name="T20" fmla="*/ 23 w 109"/>
                  <a:gd name="T21" fmla="*/ 78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9" h="165">
                    <a:moveTo>
                      <a:pt x="23" y="78"/>
                    </a:moveTo>
                    <a:cubicBezTo>
                      <a:pt x="11" y="41"/>
                      <a:pt x="42" y="51"/>
                      <a:pt x="42" y="51"/>
                    </a:cubicBezTo>
                    <a:cubicBezTo>
                      <a:pt x="40" y="29"/>
                      <a:pt x="59" y="31"/>
                      <a:pt x="59" y="31"/>
                    </a:cubicBezTo>
                    <a:cubicBezTo>
                      <a:pt x="62" y="0"/>
                      <a:pt x="88" y="15"/>
                      <a:pt x="88" y="15"/>
                    </a:cubicBezTo>
                    <a:cubicBezTo>
                      <a:pt x="102" y="24"/>
                      <a:pt x="88" y="66"/>
                      <a:pt x="88" y="66"/>
                    </a:cubicBezTo>
                    <a:cubicBezTo>
                      <a:pt x="109" y="82"/>
                      <a:pt x="72" y="109"/>
                      <a:pt x="72" y="109"/>
                    </a:cubicBezTo>
                    <a:cubicBezTo>
                      <a:pt x="88" y="127"/>
                      <a:pt x="61" y="137"/>
                      <a:pt x="61" y="137"/>
                    </a:cubicBezTo>
                    <a:cubicBezTo>
                      <a:pt x="65" y="164"/>
                      <a:pt x="43" y="165"/>
                      <a:pt x="43" y="165"/>
                    </a:cubicBezTo>
                    <a:cubicBezTo>
                      <a:pt x="25" y="163"/>
                      <a:pt x="30" y="143"/>
                      <a:pt x="30" y="143"/>
                    </a:cubicBezTo>
                    <a:cubicBezTo>
                      <a:pt x="3" y="132"/>
                      <a:pt x="23" y="109"/>
                      <a:pt x="23" y="109"/>
                    </a:cubicBezTo>
                    <a:cubicBezTo>
                      <a:pt x="0" y="92"/>
                      <a:pt x="23" y="78"/>
                      <a:pt x="23" y="78"/>
                    </a:cubicBezTo>
                    <a:close/>
                  </a:path>
                </a:pathLst>
              </a:custGeom>
              <a:solidFill>
                <a:srgbClr val="09B89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9163" name="Freeform 6"/>
              <p:cNvSpPr>
                <a:spLocks/>
              </p:cNvSpPr>
              <p:nvPr/>
            </p:nvSpPr>
            <p:spPr bwMode="auto">
              <a:xfrm>
                <a:off x="3726042" y="6226999"/>
                <a:ext cx="82197" cy="222535"/>
              </a:xfrm>
              <a:custGeom>
                <a:avLst/>
                <a:gdLst>
                  <a:gd name="T0" fmla="*/ 4 w 51"/>
                  <a:gd name="T1" fmla="*/ 12 h 140"/>
                  <a:gd name="T2" fmla="*/ 18 w 51"/>
                  <a:gd name="T3" fmla="*/ 38 h 140"/>
                  <a:gd name="T4" fmla="*/ 19 w 51"/>
                  <a:gd name="T5" fmla="*/ 39 h 140"/>
                  <a:gd name="T6" fmla="*/ 18 w 51"/>
                  <a:gd name="T7" fmla="*/ 38 h 140"/>
                  <a:gd name="T8" fmla="*/ 23 w 51"/>
                  <a:gd name="T9" fmla="*/ 0 h 140"/>
                  <a:gd name="T10" fmla="*/ 32 w 51"/>
                  <a:gd name="T11" fmla="*/ 5 h 140"/>
                  <a:gd name="T12" fmla="*/ 26 w 51"/>
                  <a:gd name="T13" fmla="*/ 46 h 140"/>
                  <a:gd name="T14" fmla="*/ 26 w 51"/>
                  <a:gd name="T15" fmla="*/ 48 h 140"/>
                  <a:gd name="T16" fmla="*/ 26 w 51"/>
                  <a:gd name="T17" fmla="*/ 46 h 140"/>
                  <a:gd name="T18" fmla="*/ 50 w 51"/>
                  <a:gd name="T19" fmla="*/ 6 h 140"/>
                  <a:gd name="T20" fmla="*/ 51 w 51"/>
                  <a:gd name="T21" fmla="*/ 19 h 140"/>
                  <a:gd name="T22" fmla="*/ 32 w 51"/>
                  <a:gd name="T23" fmla="*/ 63 h 140"/>
                  <a:gd name="T24" fmla="*/ 35 w 51"/>
                  <a:gd name="T25" fmla="*/ 137 h 140"/>
                  <a:gd name="T26" fmla="*/ 19 w 51"/>
                  <a:gd name="T27" fmla="*/ 140 h 140"/>
                  <a:gd name="T28" fmla="*/ 7 w 51"/>
                  <a:gd name="T29" fmla="*/ 138 h 140"/>
                  <a:gd name="T30" fmla="*/ 4 w 51"/>
                  <a:gd name="T31" fmla="*/ 137 h 140"/>
                  <a:gd name="T32" fmla="*/ 10 w 51"/>
                  <a:gd name="T33" fmla="*/ 81 h 140"/>
                  <a:gd name="T34" fmla="*/ 0 w 51"/>
                  <a:gd name="T35" fmla="*/ 25 h 140"/>
                  <a:gd name="T36" fmla="*/ 4 w 51"/>
                  <a:gd name="T37" fmla="*/ 12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1" h="140">
                    <a:moveTo>
                      <a:pt x="4" y="12"/>
                    </a:moveTo>
                    <a:cubicBezTo>
                      <a:pt x="14" y="21"/>
                      <a:pt x="18" y="34"/>
                      <a:pt x="18" y="38"/>
                    </a:cubicBezTo>
                    <a:cubicBezTo>
                      <a:pt x="18" y="39"/>
                      <a:pt x="19" y="39"/>
                      <a:pt x="19" y="39"/>
                    </a:cubicBezTo>
                    <a:cubicBezTo>
                      <a:pt x="19" y="39"/>
                      <a:pt x="19" y="39"/>
                      <a:pt x="18" y="38"/>
                    </a:cubicBezTo>
                    <a:cubicBezTo>
                      <a:pt x="18" y="32"/>
                      <a:pt x="23" y="0"/>
                      <a:pt x="23" y="0"/>
                    </a:cubicBezTo>
                    <a:cubicBezTo>
                      <a:pt x="32" y="5"/>
                      <a:pt x="32" y="5"/>
                      <a:pt x="32" y="5"/>
                    </a:cubicBezTo>
                    <a:cubicBezTo>
                      <a:pt x="28" y="11"/>
                      <a:pt x="26" y="38"/>
                      <a:pt x="26" y="46"/>
                    </a:cubicBezTo>
                    <a:cubicBezTo>
                      <a:pt x="26" y="47"/>
                      <a:pt x="26" y="47"/>
                      <a:pt x="26" y="48"/>
                    </a:cubicBezTo>
                    <a:cubicBezTo>
                      <a:pt x="26" y="48"/>
                      <a:pt x="26" y="47"/>
                      <a:pt x="26" y="46"/>
                    </a:cubicBezTo>
                    <a:cubicBezTo>
                      <a:pt x="28" y="29"/>
                      <a:pt x="50" y="6"/>
                      <a:pt x="50" y="6"/>
                    </a:cubicBezTo>
                    <a:cubicBezTo>
                      <a:pt x="51" y="19"/>
                      <a:pt x="51" y="19"/>
                      <a:pt x="51" y="19"/>
                    </a:cubicBezTo>
                    <a:cubicBezTo>
                      <a:pt x="44" y="21"/>
                      <a:pt x="37" y="41"/>
                      <a:pt x="32" y="63"/>
                    </a:cubicBezTo>
                    <a:cubicBezTo>
                      <a:pt x="27" y="85"/>
                      <a:pt x="35" y="137"/>
                      <a:pt x="35" y="137"/>
                    </a:cubicBezTo>
                    <a:cubicBezTo>
                      <a:pt x="35" y="137"/>
                      <a:pt x="23" y="140"/>
                      <a:pt x="19" y="140"/>
                    </a:cubicBezTo>
                    <a:cubicBezTo>
                      <a:pt x="16" y="140"/>
                      <a:pt x="7" y="138"/>
                      <a:pt x="7" y="138"/>
                    </a:cubicBezTo>
                    <a:cubicBezTo>
                      <a:pt x="4" y="137"/>
                      <a:pt x="4" y="137"/>
                      <a:pt x="4" y="137"/>
                    </a:cubicBezTo>
                    <a:cubicBezTo>
                      <a:pt x="7" y="130"/>
                      <a:pt x="10" y="81"/>
                      <a:pt x="10" y="81"/>
                    </a:cubicBezTo>
                    <a:cubicBezTo>
                      <a:pt x="13" y="38"/>
                      <a:pt x="0" y="25"/>
                      <a:pt x="0" y="25"/>
                    </a:cubicBezTo>
                    <a:lnTo>
                      <a:pt x="4" y="12"/>
                    </a:lnTo>
                    <a:close/>
                  </a:path>
                </a:pathLst>
              </a:custGeom>
              <a:solidFill>
                <a:srgbClr val="5435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9164" name="Freeform 7"/>
              <p:cNvSpPr>
                <a:spLocks/>
              </p:cNvSpPr>
              <p:nvPr/>
            </p:nvSpPr>
            <p:spPr bwMode="auto">
              <a:xfrm>
                <a:off x="3754777" y="6287143"/>
                <a:ext cx="2005" cy="2005"/>
              </a:xfrm>
              <a:custGeom>
                <a:avLst/>
                <a:gdLst>
                  <a:gd name="T0" fmla="*/ 0 w 1"/>
                  <a:gd name="T1" fmla="*/ 0 h 1"/>
                  <a:gd name="T2" fmla="*/ 1 w 1"/>
                  <a:gd name="T3" fmla="*/ 1 h 1"/>
                  <a:gd name="T4" fmla="*/ 0 w 1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0" y="1"/>
                      <a:pt x="0" y="0"/>
                    </a:cubicBezTo>
                    <a:close/>
                  </a:path>
                </a:pathLst>
              </a:custGeom>
              <a:solidFill>
                <a:srgbClr val="5435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9165" name="Freeform 8"/>
              <p:cNvSpPr>
                <a:spLocks/>
              </p:cNvSpPr>
              <p:nvPr/>
            </p:nvSpPr>
            <p:spPr bwMode="auto">
              <a:xfrm>
                <a:off x="3768143" y="6299840"/>
                <a:ext cx="0" cy="3342"/>
              </a:xfrm>
              <a:custGeom>
                <a:avLst/>
                <a:gdLst>
                  <a:gd name="T0" fmla="*/ 0 h 2"/>
                  <a:gd name="T1" fmla="*/ 2 h 2"/>
                  <a:gd name="T2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cubicBezTo>
                      <a:pt x="0" y="1"/>
                      <a:pt x="0" y="2"/>
                      <a:pt x="0" y="2"/>
                    </a:cubicBezTo>
                    <a:cubicBezTo>
                      <a:pt x="0" y="1"/>
                      <a:pt x="0" y="1"/>
                      <a:pt x="0" y="0"/>
                    </a:cubicBezTo>
                    <a:close/>
                  </a:path>
                </a:pathLst>
              </a:custGeom>
              <a:solidFill>
                <a:srgbClr val="5435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9166" name="Freeform 9"/>
              <p:cNvSpPr>
                <a:spLocks/>
              </p:cNvSpPr>
              <p:nvPr/>
            </p:nvSpPr>
            <p:spPr bwMode="auto">
              <a:xfrm>
                <a:off x="3638498" y="6092676"/>
                <a:ext cx="87544" cy="126304"/>
              </a:xfrm>
              <a:custGeom>
                <a:avLst/>
                <a:gdLst>
                  <a:gd name="T0" fmla="*/ 18 w 55"/>
                  <a:gd name="T1" fmla="*/ 26 h 79"/>
                  <a:gd name="T2" fmla="*/ 36 w 55"/>
                  <a:gd name="T3" fmla="*/ 6 h 79"/>
                  <a:gd name="T4" fmla="*/ 32 w 55"/>
                  <a:gd name="T5" fmla="*/ 73 h 79"/>
                  <a:gd name="T6" fmla="*/ 16 w 55"/>
                  <a:gd name="T7" fmla="*/ 51 h 79"/>
                  <a:gd name="T8" fmla="*/ 18 w 55"/>
                  <a:gd name="T9" fmla="*/ 26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5" h="79">
                    <a:moveTo>
                      <a:pt x="18" y="26"/>
                    </a:moveTo>
                    <a:cubicBezTo>
                      <a:pt x="7" y="0"/>
                      <a:pt x="36" y="6"/>
                      <a:pt x="36" y="6"/>
                    </a:cubicBezTo>
                    <a:cubicBezTo>
                      <a:pt x="55" y="10"/>
                      <a:pt x="32" y="73"/>
                      <a:pt x="32" y="73"/>
                    </a:cubicBezTo>
                    <a:cubicBezTo>
                      <a:pt x="5" y="79"/>
                      <a:pt x="16" y="51"/>
                      <a:pt x="16" y="51"/>
                    </a:cubicBezTo>
                    <a:cubicBezTo>
                      <a:pt x="0" y="35"/>
                      <a:pt x="18" y="26"/>
                      <a:pt x="18" y="26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9167" name="Freeform 10"/>
              <p:cNvSpPr>
                <a:spLocks/>
              </p:cNvSpPr>
              <p:nvPr/>
            </p:nvSpPr>
            <p:spPr bwMode="auto">
              <a:xfrm>
                <a:off x="3729383" y="6051243"/>
                <a:ext cx="4678" cy="2005"/>
              </a:xfrm>
              <a:custGeom>
                <a:avLst/>
                <a:gdLst>
                  <a:gd name="T0" fmla="*/ 0 w 3"/>
                  <a:gd name="T1" fmla="*/ 0 h 1"/>
                  <a:gd name="T2" fmla="*/ 3 w 3"/>
                  <a:gd name="T3" fmla="*/ 1 h 1"/>
                  <a:gd name="T4" fmla="*/ 0 w 3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1">
                    <a:moveTo>
                      <a:pt x="0" y="0"/>
                    </a:moveTo>
                    <a:cubicBezTo>
                      <a:pt x="2" y="0"/>
                      <a:pt x="3" y="1"/>
                      <a:pt x="3" y="1"/>
                    </a:cubicBezTo>
                    <a:cubicBezTo>
                      <a:pt x="2" y="1"/>
                      <a:pt x="1" y="0"/>
                      <a:pt x="0" y="0"/>
                    </a:cubicBezTo>
                    <a:close/>
                  </a:path>
                </a:pathLst>
              </a:custGeom>
              <a:solidFill>
                <a:srgbClr val="57B9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9168" name="Freeform 11"/>
              <p:cNvSpPr>
                <a:spLocks/>
              </p:cNvSpPr>
              <p:nvPr/>
            </p:nvSpPr>
            <p:spPr bwMode="auto">
              <a:xfrm>
                <a:off x="3691291" y="5970382"/>
                <a:ext cx="142342" cy="173751"/>
              </a:xfrm>
              <a:custGeom>
                <a:avLst/>
                <a:gdLst>
                  <a:gd name="T0" fmla="*/ 12 w 89"/>
                  <a:gd name="T1" fmla="*/ 77 h 109"/>
                  <a:gd name="T2" fmla="*/ 9 w 89"/>
                  <a:gd name="T3" fmla="*/ 60 h 109"/>
                  <a:gd name="T4" fmla="*/ 24 w 89"/>
                  <a:gd name="T5" fmla="*/ 51 h 109"/>
                  <a:gd name="T6" fmla="*/ 27 w 89"/>
                  <a:gd name="T7" fmla="*/ 52 h 109"/>
                  <a:gd name="T8" fmla="*/ 24 w 89"/>
                  <a:gd name="T9" fmla="*/ 51 h 109"/>
                  <a:gd name="T10" fmla="*/ 20 w 89"/>
                  <a:gd name="T11" fmla="*/ 33 h 109"/>
                  <a:gd name="T12" fmla="*/ 46 w 89"/>
                  <a:gd name="T13" fmla="*/ 19 h 109"/>
                  <a:gd name="T14" fmla="*/ 67 w 89"/>
                  <a:gd name="T15" fmla="*/ 3 h 109"/>
                  <a:gd name="T16" fmla="*/ 79 w 89"/>
                  <a:gd name="T17" fmla="*/ 19 h 109"/>
                  <a:gd name="T18" fmla="*/ 71 w 89"/>
                  <a:gd name="T19" fmla="*/ 40 h 109"/>
                  <a:gd name="T20" fmla="*/ 59 w 89"/>
                  <a:gd name="T21" fmla="*/ 59 h 109"/>
                  <a:gd name="T22" fmla="*/ 45 w 89"/>
                  <a:gd name="T23" fmla="*/ 83 h 109"/>
                  <a:gd name="T24" fmla="*/ 23 w 89"/>
                  <a:gd name="T25" fmla="*/ 107 h 109"/>
                  <a:gd name="T26" fmla="*/ 3 w 89"/>
                  <a:gd name="T27" fmla="*/ 94 h 109"/>
                  <a:gd name="T28" fmla="*/ 12 w 89"/>
                  <a:gd name="T29" fmla="*/ 77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89" h="109">
                    <a:moveTo>
                      <a:pt x="12" y="77"/>
                    </a:moveTo>
                    <a:cubicBezTo>
                      <a:pt x="6" y="64"/>
                      <a:pt x="9" y="60"/>
                      <a:pt x="9" y="60"/>
                    </a:cubicBezTo>
                    <a:cubicBezTo>
                      <a:pt x="11" y="50"/>
                      <a:pt x="20" y="50"/>
                      <a:pt x="24" y="51"/>
                    </a:cubicBezTo>
                    <a:cubicBezTo>
                      <a:pt x="25" y="51"/>
                      <a:pt x="26" y="52"/>
                      <a:pt x="27" y="52"/>
                    </a:cubicBezTo>
                    <a:cubicBezTo>
                      <a:pt x="27" y="52"/>
                      <a:pt x="26" y="51"/>
                      <a:pt x="24" y="51"/>
                    </a:cubicBezTo>
                    <a:cubicBezTo>
                      <a:pt x="18" y="48"/>
                      <a:pt x="20" y="33"/>
                      <a:pt x="20" y="33"/>
                    </a:cubicBezTo>
                    <a:cubicBezTo>
                      <a:pt x="23" y="9"/>
                      <a:pt x="46" y="19"/>
                      <a:pt x="46" y="19"/>
                    </a:cubicBezTo>
                    <a:cubicBezTo>
                      <a:pt x="47" y="0"/>
                      <a:pt x="67" y="3"/>
                      <a:pt x="67" y="3"/>
                    </a:cubicBezTo>
                    <a:cubicBezTo>
                      <a:pt x="80" y="4"/>
                      <a:pt x="79" y="19"/>
                      <a:pt x="79" y="19"/>
                    </a:cubicBezTo>
                    <a:cubicBezTo>
                      <a:pt x="81" y="27"/>
                      <a:pt x="71" y="40"/>
                      <a:pt x="71" y="40"/>
                    </a:cubicBezTo>
                    <a:cubicBezTo>
                      <a:pt x="89" y="68"/>
                      <a:pt x="59" y="59"/>
                      <a:pt x="59" y="59"/>
                    </a:cubicBezTo>
                    <a:cubicBezTo>
                      <a:pt x="80" y="75"/>
                      <a:pt x="45" y="83"/>
                      <a:pt x="45" y="83"/>
                    </a:cubicBezTo>
                    <a:cubicBezTo>
                      <a:pt x="51" y="109"/>
                      <a:pt x="23" y="107"/>
                      <a:pt x="23" y="107"/>
                    </a:cubicBezTo>
                    <a:cubicBezTo>
                      <a:pt x="5" y="109"/>
                      <a:pt x="3" y="94"/>
                      <a:pt x="3" y="94"/>
                    </a:cubicBezTo>
                    <a:cubicBezTo>
                      <a:pt x="0" y="84"/>
                      <a:pt x="12" y="77"/>
                      <a:pt x="12" y="77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9169" name="Freeform 12"/>
              <p:cNvSpPr>
                <a:spLocks/>
              </p:cNvSpPr>
              <p:nvPr/>
            </p:nvSpPr>
            <p:spPr bwMode="auto">
              <a:xfrm>
                <a:off x="3742080" y="5987757"/>
                <a:ext cx="176424" cy="170410"/>
              </a:xfrm>
              <a:custGeom>
                <a:avLst/>
                <a:gdLst>
                  <a:gd name="T0" fmla="*/ 24 w 110"/>
                  <a:gd name="T1" fmla="*/ 35 h 107"/>
                  <a:gd name="T2" fmla="*/ 39 w 110"/>
                  <a:gd name="T3" fmla="*/ 21 h 107"/>
                  <a:gd name="T4" fmla="*/ 55 w 110"/>
                  <a:gd name="T5" fmla="*/ 2 h 107"/>
                  <a:gd name="T6" fmla="*/ 69 w 110"/>
                  <a:gd name="T7" fmla="*/ 20 h 107"/>
                  <a:gd name="T8" fmla="*/ 88 w 110"/>
                  <a:gd name="T9" fmla="*/ 38 h 107"/>
                  <a:gd name="T10" fmla="*/ 78 w 110"/>
                  <a:gd name="T11" fmla="*/ 72 h 107"/>
                  <a:gd name="T12" fmla="*/ 58 w 110"/>
                  <a:gd name="T13" fmla="*/ 88 h 107"/>
                  <a:gd name="T14" fmla="*/ 33 w 110"/>
                  <a:gd name="T15" fmla="*/ 83 h 107"/>
                  <a:gd name="T16" fmla="*/ 24 w 110"/>
                  <a:gd name="T17" fmla="*/ 56 h 107"/>
                  <a:gd name="T18" fmla="*/ 24 w 110"/>
                  <a:gd name="T19" fmla="*/ 35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0" h="107">
                    <a:moveTo>
                      <a:pt x="24" y="35"/>
                    </a:moveTo>
                    <a:cubicBezTo>
                      <a:pt x="22" y="17"/>
                      <a:pt x="39" y="21"/>
                      <a:pt x="39" y="21"/>
                    </a:cubicBezTo>
                    <a:cubicBezTo>
                      <a:pt x="42" y="0"/>
                      <a:pt x="55" y="2"/>
                      <a:pt x="55" y="2"/>
                    </a:cubicBezTo>
                    <a:cubicBezTo>
                      <a:pt x="68" y="3"/>
                      <a:pt x="69" y="20"/>
                      <a:pt x="69" y="20"/>
                    </a:cubicBezTo>
                    <a:cubicBezTo>
                      <a:pt x="93" y="19"/>
                      <a:pt x="88" y="38"/>
                      <a:pt x="88" y="38"/>
                    </a:cubicBezTo>
                    <a:cubicBezTo>
                      <a:pt x="110" y="59"/>
                      <a:pt x="78" y="72"/>
                      <a:pt x="78" y="72"/>
                    </a:cubicBezTo>
                    <a:cubicBezTo>
                      <a:pt x="84" y="98"/>
                      <a:pt x="58" y="88"/>
                      <a:pt x="58" y="88"/>
                    </a:cubicBezTo>
                    <a:cubicBezTo>
                      <a:pt x="42" y="107"/>
                      <a:pt x="33" y="83"/>
                      <a:pt x="33" y="83"/>
                    </a:cubicBezTo>
                    <a:cubicBezTo>
                      <a:pt x="18" y="85"/>
                      <a:pt x="24" y="56"/>
                      <a:pt x="24" y="56"/>
                    </a:cubicBezTo>
                    <a:cubicBezTo>
                      <a:pt x="0" y="43"/>
                      <a:pt x="24" y="35"/>
                      <a:pt x="24" y="35"/>
                    </a:cubicBezTo>
                    <a:close/>
                  </a:path>
                </a:pathLst>
              </a:custGeom>
              <a:solidFill>
                <a:srgbClr val="09B89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9170" name="Freeform 13"/>
              <p:cNvSpPr>
                <a:spLocks/>
              </p:cNvSpPr>
              <p:nvPr/>
            </p:nvSpPr>
            <p:spPr bwMode="auto">
              <a:xfrm>
                <a:off x="3802893" y="6048570"/>
                <a:ext cx="161722" cy="160386"/>
              </a:xfrm>
              <a:custGeom>
                <a:avLst/>
                <a:gdLst>
                  <a:gd name="T0" fmla="*/ 23 w 101"/>
                  <a:gd name="T1" fmla="*/ 43 h 101"/>
                  <a:gd name="T2" fmla="*/ 20 w 101"/>
                  <a:gd name="T3" fmla="*/ 25 h 101"/>
                  <a:gd name="T4" fmla="*/ 42 w 101"/>
                  <a:gd name="T5" fmla="*/ 22 h 101"/>
                  <a:gd name="T6" fmla="*/ 55 w 101"/>
                  <a:gd name="T7" fmla="*/ 0 h 101"/>
                  <a:gd name="T8" fmla="*/ 69 w 101"/>
                  <a:gd name="T9" fmla="*/ 20 h 101"/>
                  <a:gd name="T10" fmla="*/ 79 w 101"/>
                  <a:gd name="T11" fmla="*/ 39 h 101"/>
                  <a:gd name="T12" fmla="*/ 83 w 101"/>
                  <a:gd name="T13" fmla="*/ 69 h 101"/>
                  <a:gd name="T14" fmla="*/ 80 w 101"/>
                  <a:gd name="T15" fmla="*/ 69 h 101"/>
                  <a:gd name="T16" fmla="*/ 61 w 101"/>
                  <a:gd name="T17" fmla="*/ 79 h 101"/>
                  <a:gd name="T18" fmla="*/ 43 w 101"/>
                  <a:gd name="T19" fmla="*/ 78 h 101"/>
                  <a:gd name="T20" fmla="*/ 8 w 101"/>
                  <a:gd name="T21" fmla="*/ 66 h 101"/>
                  <a:gd name="T22" fmla="*/ 23 w 101"/>
                  <a:gd name="T23" fmla="*/ 43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1" h="101">
                    <a:moveTo>
                      <a:pt x="23" y="43"/>
                    </a:moveTo>
                    <a:cubicBezTo>
                      <a:pt x="14" y="40"/>
                      <a:pt x="20" y="25"/>
                      <a:pt x="20" y="25"/>
                    </a:cubicBezTo>
                    <a:cubicBezTo>
                      <a:pt x="25" y="11"/>
                      <a:pt x="42" y="22"/>
                      <a:pt x="42" y="22"/>
                    </a:cubicBezTo>
                    <a:cubicBezTo>
                      <a:pt x="35" y="0"/>
                      <a:pt x="55" y="0"/>
                      <a:pt x="55" y="0"/>
                    </a:cubicBezTo>
                    <a:cubicBezTo>
                      <a:pt x="68" y="0"/>
                      <a:pt x="69" y="20"/>
                      <a:pt x="69" y="20"/>
                    </a:cubicBezTo>
                    <a:cubicBezTo>
                      <a:pt x="91" y="21"/>
                      <a:pt x="79" y="39"/>
                      <a:pt x="79" y="39"/>
                    </a:cubicBezTo>
                    <a:cubicBezTo>
                      <a:pt x="101" y="49"/>
                      <a:pt x="83" y="69"/>
                      <a:pt x="83" y="69"/>
                    </a:cubicBezTo>
                    <a:cubicBezTo>
                      <a:pt x="82" y="70"/>
                      <a:pt x="80" y="69"/>
                      <a:pt x="80" y="69"/>
                    </a:cubicBezTo>
                    <a:cubicBezTo>
                      <a:pt x="82" y="94"/>
                      <a:pt x="61" y="79"/>
                      <a:pt x="61" y="79"/>
                    </a:cubicBezTo>
                    <a:cubicBezTo>
                      <a:pt x="59" y="92"/>
                      <a:pt x="43" y="78"/>
                      <a:pt x="43" y="78"/>
                    </a:cubicBezTo>
                    <a:cubicBezTo>
                      <a:pt x="21" y="101"/>
                      <a:pt x="8" y="66"/>
                      <a:pt x="8" y="66"/>
                    </a:cubicBezTo>
                    <a:cubicBezTo>
                      <a:pt x="0" y="46"/>
                      <a:pt x="23" y="43"/>
                      <a:pt x="23" y="43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9171" name="Freeform 14"/>
              <p:cNvSpPr>
                <a:spLocks/>
              </p:cNvSpPr>
              <p:nvPr/>
            </p:nvSpPr>
            <p:spPr bwMode="auto">
              <a:xfrm>
                <a:off x="3881749" y="6250388"/>
                <a:ext cx="20716" cy="30741"/>
              </a:xfrm>
              <a:custGeom>
                <a:avLst/>
                <a:gdLst>
                  <a:gd name="T0" fmla="*/ 0 w 13"/>
                  <a:gd name="T1" fmla="*/ 19 h 19"/>
                  <a:gd name="T2" fmla="*/ 0 w 13"/>
                  <a:gd name="T3" fmla="*/ 19 h 19"/>
                  <a:gd name="T4" fmla="*/ 0 w 13"/>
                  <a:gd name="T5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9">
                    <a:moveTo>
                      <a:pt x="0" y="19"/>
                    </a:moveTo>
                    <a:cubicBezTo>
                      <a:pt x="0" y="19"/>
                      <a:pt x="0" y="19"/>
                      <a:pt x="0" y="19"/>
                    </a:cubicBezTo>
                    <a:cubicBezTo>
                      <a:pt x="2" y="17"/>
                      <a:pt x="13" y="0"/>
                      <a:pt x="0" y="19"/>
                    </a:cubicBezTo>
                    <a:close/>
                  </a:path>
                </a:pathLst>
              </a:custGeom>
              <a:solidFill>
                <a:srgbClr val="4DA01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9172" name="Freeform 15"/>
              <p:cNvSpPr>
                <a:spLocks/>
              </p:cNvSpPr>
              <p:nvPr/>
            </p:nvSpPr>
            <p:spPr bwMode="auto">
              <a:xfrm>
                <a:off x="3792200" y="6132772"/>
                <a:ext cx="175756" cy="181770"/>
              </a:xfrm>
              <a:custGeom>
                <a:avLst/>
                <a:gdLst>
                  <a:gd name="T0" fmla="*/ 20 w 110"/>
                  <a:gd name="T1" fmla="*/ 36 h 114"/>
                  <a:gd name="T2" fmla="*/ 38 w 110"/>
                  <a:gd name="T3" fmla="*/ 23 h 114"/>
                  <a:gd name="T4" fmla="*/ 58 w 110"/>
                  <a:gd name="T5" fmla="*/ 10 h 114"/>
                  <a:gd name="T6" fmla="*/ 67 w 110"/>
                  <a:gd name="T7" fmla="*/ 1 h 114"/>
                  <a:gd name="T8" fmla="*/ 67 w 110"/>
                  <a:gd name="T9" fmla="*/ 1 h 114"/>
                  <a:gd name="T10" fmla="*/ 85 w 110"/>
                  <a:gd name="T11" fmla="*/ 16 h 114"/>
                  <a:gd name="T12" fmla="*/ 87 w 110"/>
                  <a:gd name="T13" fmla="*/ 40 h 114"/>
                  <a:gd name="T14" fmla="*/ 85 w 110"/>
                  <a:gd name="T15" fmla="*/ 60 h 114"/>
                  <a:gd name="T16" fmla="*/ 73 w 110"/>
                  <a:gd name="T17" fmla="*/ 75 h 114"/>
                  <a:gd name="T18" fmla="*/ 56 w 110"/>
                  <a:gd name="T19" fmla="*/ 94 h 114"/>
                  <a:gd name="T20" fmla="*/ 56 w 110"/>
                  <a:gd name="T21" fmla="*/ 93 h 114"/>
                  <a:gd name="T22" fmla="*/ 56 w 110"/>
                  <a:gd name="T23" fmla="*/ 93 h 114"/>
                  <a:gd name="T24" fmla="*/ 56 w 110"/>
                  <a:gd name="T25" fmla="*/ 93 h 114"/>
                  <a:gd name="T26" fmla="*/ 55 w 110"/>
                  <a:gd name="T27" fmla="*/ 95 h 114"/>
                  <a:gd name="T28" fmla="*/ 34 w 110"/>
                  <a:gd name="T29" fmla="*/ 96 h 114"/>
                  <a:gd name="T30" fmla="*/ 33 w 110"/>
                  <a:gd name="T31" fmla="*/ 97 h 114"/>
                  <a:gd name="T32" fmla="*/ 16 w 110"/>
                  <a:gd name="T33" fmla="*/ 86 h 114"/>
                  <a:gd name="T34" fmla="*/ 14 w 110"/>
                  <a:gd name="T35" fmla="*/ 72 h 114"/>
                  <a:gd name="T36" fmla="*/ 12 w 110"/>
                  <a:gd name="T37" fmla="*/ 53 h 114"/>
                  <a:gd name="T38" fmla="*/ 20 w 110"/>
                  <a:gd name="T39" fmla="*/ 36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10" h="114">
                    <a:moveTo>
                      <a:pt x="20" y="36"/>
                    </a:moveTo>
                    <a:cubicBezTo>
                      <a:pt x="19" y="15"/>
                      <a:pt x="38" y="23"/>
                      <a:pt x="38" y="23"/>
                    </a:cubicBezTo>
                    <a:cubicBezTo>
                      <a:pt x="45" y="0"/>
                      <a:pt x="58" y="10"/>
                      <a:pt x="58" y="10"/>
                    </a:cubicBezTo>
                    <a:cubicBezTo>
                      <a:pt x="58" y="5"/>
                      <a:pt x="67" y="1"/>
                      <a:pt x="67" y="1"/>
                    </a:cubicBezTo>
                    <a:cubicBezTo>
                      <a:pt x="67" y="1"/>
                      <a:pt x="67" y="1"/>
                      <a:pt x="67" y="1"/>
                    </a:cubicBezTo>
                    <a:cubicBezTo>
                      <a:pt x="86" y="0"/>
                      <a:pt x="85" y="16"/>
                      <a:pt x="85" y="16"/>
                    </a:cubicBezTo>
                    <a:cubicBezTo>
                      <a:pt x="110" y="27"/>
                      <a:pt x="87" y="40"/>
                      <a:pt x="87" y="40"/>
                    </a:cubicBezTo>
                    <a:cubicBezTo>
                      <a:pt x="106" y="51"/>
                      <a:pt x="85" y="60"/>
                      <a:pt x="85" y="60"/>
                    </a:cubicBezTo>
                    <a:cubicBezTo>
                      <a:pt x="89" y="83"/>
                      <a:pt x="73" y="75"/>
                      <a:pt x="73" y="75"/>
                    </a:cubicBezTo>
                    <a:cubicBezTo>
                      <a:pt x="77" y="105"/>
                      <a:pt x="56" y="94"/>
                      <a:pt x="56" y="94"/>
                    </a:cubicBezTo>
                    <a:cubicBezTo>
                      <a:pt x="56" y="94"/>
                      <a:pt x="56" y="94"/>
                      <a:pt x="56" y="93"/>
                    </a:cubicBezTo>
                    <a:cubicBezTo>
                      <a:pt x="56" y="93"/>
                      <a:pt x="56" y="93"/>
                      <a:pt x="56" y="93"/>
                    </a:cubicBezTo>
                    <a:cubicBezTo>
                      <a:pt x="69" y="74"/>
                      <a:pt x="58" y="91"/>
                      <a:pt x="56" y="93"/>
                    </a:cubicBezTo>
                    <a:cubicBezTo>
                      <a:pt x="56" y="94"/>
                      <a:pt x="55" y="94"/>
                      <a:pt x="55" y="95"/>
                    </a:cubicBezTo>
                    <a:cubicBezTo>
                      <a:pt x="42" y="114"/>
                      <a:pt x="34" y="96"/>
                      <a:pt x="34" y="96"/>
                    </a:cubicBezTo>
                    <a:cubicBezTo>
                      <a:pt x="34" y="97"/>
                      <a:pt x="33" y="97"/>
                      <a:pt x="33" y="97"/>
                    </a:cubicBezTo>
                    <a:cubicBezTo>
                      <a:pt x="10" y="111"/>
                      <a:pt x="16" y="86"/>
                      <a:pt x="16" y="86"/>
                    </a:cubicBezTo>
                    <a:cubicBezTo>
                      <a:pt x="5" y="78"/>
                      <a:pt x="14" y="72"/>
                      <a:pt x="14" y="72"/>
                    </a:cubicBezTo>
                    <a:cubicBezTo>
                      <a:pt x="0" y="69"/>
                      <a:pt x="12" y="53"/>
                      <a:pt x="12" y="53"/>
                    </a:cubicBezTo>
                    <a:cubicBezTo>
                      <a:pt x="3" y="43"/>
                      <a:pt x="20" y="36"/>
                      <a:pt x="20" y="36"/>
                    </a:cubicBezTo>
                    <a:close/>
                  </a:path>
                </a:pathLst>
              </a:custGeom>
              <a:solidFill>
                <a:srgbClr val="09B89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9173" name="Freeform 16"/>
              <p:cNvSpPr>
                <a:spLocks/>
              </p:cNvSpPr>
              <p:nvPr/>
            </p:nvSpPr>
            <p:spPr bwMode="auto">
              <a:xfrm>
                <a:off x="3663892" y="6075301"/>
                <a:ext cx="158380" cy="218526"/>
              </a:xfrm>
              <a:custGeom>
                <a:avLst/>
                <a:gdLst>
                  <a:gd name="T0" fmla="*/ 14 w 99"/>
                  <a:gd name="T1" fmla="*/ 87 h 137"/>
                  <a:gd name="T2" fmla="*/ 10 w 99"/>
                  <a:gd name="T3" fmla="*/ 71 h 137"/>
                  <a:gd name="T4" fmla="*/ 21 w 99"/>
                  <a:gd name="T5" fmla="*/ 57 h 137"/>
                  <a:gd name="T6" fmla="*/ 21 w 99"/>
                  <a:gd name="T7" fmla="*/ 42 h 137"/>
                  <a:gd name="T8" fmla="*/ 33 w 99"/>
                  <a:gd name="T9" fmla="*/ 37 h 137"/>
                  <a:gd name="T10" fmla="*/ 54 w 99"/>
                  <a:gd name="T11" fmla="*/ 15 h 137"/>
                  <a:gd name="T12" fmla="*/ 70 w 99"/>
                  <a:gd name="T13" fmla="*/ 0 h 137"/>
                  <a:gd name="T14" fmla="*/ 83 w 99"/>
                  <a:gd name="T15" fmla="*/ 23 h 137"/>
                  <a:gd name="T16" fmla="*/ 97 w 99"/>
                  <a:gd name="T17" fmla="*/ 48 h 137"/>
                  <a:gd name="T18" fmla="*/ 74 w 99"/>
                  <a:gd name="T19" fmla="*/ 78 h 137"/>
                  <a:gd name="T20" fmla="*/ 57 w 99"/>
                  <a:gd name="T21" fmla="*/ 77 h 137"/>
                  <a:gd name="T22" fmla="*/ 57 w 99"/>
                  <a:gd name="T23" fmla="*/ 78 h 137"/>
                  <a:gd name="T24" fmla="*/ 42 w 99"/>
                  <a:gd name="T25" fmla="*/ 93 h 137"/>
                  <a:gd name="T26" fmla="*/ 5 w 99"/>
                  <a:gd name="T27" fmla="*/ 104 h 137"/>
                  <a:gd name="T28" fmla="*/ 14 w 99"/>
                  <a:gd name="T29" fmla="*/ 87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99" h="137">
                    <a:moveTo>
                      <a:pt x="14" y="87"/>
                    </a:moveTo>
                    <a:cubicBezTo>
                      <a:pt x="9" y="86"/>
                      <a:pt x="10" y="71"/>
                      <a:pt x="10" y="71"/>
                    </a:cubicBezTo>
                    <a:cubicBezTo>
                      <a:pt x="9" y="61"/>
                      <a:pt x="21" y="57"/>
                      <a:pt x="21" y="57"/>
                    </a:cubicBezTo>
                    <a:cubicBezTo>
                      <a:pt x="16" y="52"/>
                      <a:pt x="21" y="42"/>
                      <a:pt x="21" y="42"/>
                    </a:cubicBezTo>
                    <a:cubicBezTo>
                      <a:pt x="25" y="34"/>
                      <a:pt x="33" y="37"/>
                      <a:pt x="33" y="37"/>
                    </a:cubicBezTo>
                    <a:cubicBezTo>
                      <a:pt x="31" y="14"/>
                      <a:pt x="54" y="15"/>
                      <a:pt x="54" y="15"/>
                    </a:cubicBezTo>
                    <a:cubicBezTo>
                      <a:pt x="54" y="2"/>
                      <a:pt x="70" y="0"/>
                      <a:pt x="70" y="0"/>
                    </a:cubicBezTo>
                    <a:cubicBezTo>
                      <a:pt x="86" y="3"/>
                      <a:pt x="83" y="23"/>
                      <a:pt x="83" y="23"/>
                    </a:cubicBezTo>
                    <a:cubicBezTo>
                      <a:pt x="99" y="24"/>
                      <a:pt x="97" y="48"/>
                      <a:pt x="97" y="48"/>
                    </a:cubicBezTo>
                    <a:cubicBezTo>
                      <a:pt x="98" y="111"/>
                      <a:pt x="74" y="78"/>
                      <a:pt x="74" y="78"/>
                    </a:cubicBezTo>
                    <a:cubicBezTo>
                      <a:pt x="68" y="90"/>
                      <a:pt x="57" y="77"/>
                      <a:pt x="57" y="77"/>
                    </a:cubicBezTo>
                    <a:cubicBezTo>
                      <a:pt x="57" y="77"/>
                      <a:pt x="57" y="77"/>
                      <a:pt x="57" y="78"/>
                    </a:cubicBezTo>
                    <a:cubicBezTo>
                      <a:pt x="65" y="98"/>
                      <a:pt x="42" y="93"/>
                      <a:pt x="42" y="93"/>
                    </a:cubicBezTo>
                    <a:cubicBezTo>
                      <a:pt x="17" y="137"/>
                      <a:pt x="5" y="104"/>
                      <a:pt x="5" y="104"/>
                    </a:cubicBezTo>
                    <a:cubicBezTo>
                      <a:pt x="0" y="95"/>
                      <a:pt x="14" y="87"/>
                      <a:pt x="14" y="87"/>
                    </a:cubicBezTo>
                    <a:close/>
                  </a:path>
                </a:pathLst>
              </a:custGeom>
              <a:solidFill>
                <a:srgbClr val="09B89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9174" name="Freeform 17"/>
              <p:cNvSpPr>
                <a:spLocks/>
              </p:cNvSpPr>
              <p:nvPr/>
            </p:nvSpPr>
            <p:spPr bwMode="auto">
              <a:xfrm>
                <a:off x="3633151" y="6104037"/>
                <a:ext cx="251939" cy="210506"/>
              </a:xfrm>
              <a:custGeom>
                <a:avLst/>
                <a:gdLst>
                  <a:gd name="T0" fmla="*/ 14 w 157"/>
                  <a:gd name="T1" fmla="*/ 96 h 132"/>
                  <a:gd name="T2" fmla="*/ 37 w 157"/>
                  <a:gd name="T3" fmla="*/ 89 h 132"/>
                  <a:gd name="T4" fmla="*/ 48 w 157"/>
                  <a:gd name="T5" fmla="*/ 74 h 132"/>
                  <a:gd name="T6" fmla="*/ 70 w 157"/>
                  <a:gd name="T7" fmla="*/ 49 h 132"/>
                  <a:gd name="T8" fmla="*/ 80 w 157"/>
                  <a:gd name="T9" fmla="*/ 31 h 132"/>
                  <a:gd name="T10" fmla="*/ 109 w 157"/>
                  <a:gd name="T11" fmla="*/ 33 h 132"/>
                  <a:gd name="T12" fmla="*/ 126 w 157"/>
                  <a:gd name="T13" fmla="*/ 47 h 132"/>
                  <a:gd name="T14" fmla="*/ 137 w 157"/>
                  <a:gd name="T15" fmla="*/ 74 h 132"/>
                  <a:gd name="T16" fmla="*/ 126 w 157"/>
                  <a:gd name="T17" fmla="*/ 96 h 132"/>
                  <a:gd name="T18" fmla="*/ 103 w 157"/>
                  <a:gd name="T19" fmla="*/ 80 h 132"/>
                  <a:gd name="T20" fmla="*/ 78 w 157"/>
                  <a:gd name="T21" fmla="*/ 80 h 132"/>
                  <a:gd name="T22" fmla="*/ 61 w 157"/>
                  <a:gd name="T23" fmla="*/ 89 h 132"/>
                  <a:gd name="T24" fmla="*/ 60 w 157"/>
                  <a:gd name="T25" fmla="*/ 88 h 132"/>
                  <a:gd name="T26" fmla="*/ 60 w 157"/>
                  <a:gd name="T27" fmla="*/ 88 h 132"/>
                  <a:gd name="T28" fmla="*/ 37 w 157"/>
                  <a:gd name="T29" fmla="*/ 109 h 132"/>
                  <a:gd name="T30" fmla="*/ 8 w 157"/>
                  <a:gd name="T31" fmla="*/ 114 h 132"/>
                  <a:gd name="T32" fmla="*/ 14 w 157"/>
                  <a:gd name="T33" fmla="*/ 96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7" h="132">
                    <a:moveTo>
                      <a:pt x="14" y="96"/>
                    </a:moveTo>
                    <a:cubicBezTo>
                      <a:pt x="14" y="96"/>
                      <a:pt x="17" y="69"/>
                      <a:pt x="37" y="89"/>
                    </a:cubicBezTo>
                    <a:cubicBezTo>
                      <a:pt x="37" y="89"/>
                      <a:pt x="30" y="74"/>
                      <a:pt x="48" y="74"/>
                    </a:cubicBezTo>
                    <a:cubicBezTo>
                      <a:pt x="48" y="74"/>
                      <a:pt x="35" y="40"/>
                      <a:pt x="70" y="49"/>
                    </a:cubicBezTo>
                    <a:cubicBezTo>
                      <a:pt x="70" y="49"/>
                      <a:pt x="59" y="28"/>
                      <a:pt x="80" y="31"/>
                    </a:cubicBezTo>
                    <a:cubicBezTo>
                      <a:pt x="80" y="31"/>
                      <a:pt x="95" y="0"/>
                      <a:pt x="109" y="33"/>
                    </a:cubicBezTo>
                    <a:cubicBezTo>
                      <a:pt x="109" y="33"/>
                      <a:pt x="131" y="23"/>
                      <a:pt x="126" y="47"/>
                    </a:cubicBezTo>
                    <a:cubicBezTo>
                      <a:pt x="126" y="47"/>
                      <a:pt x="152" y="52"/>
                      <a:pt x="137" y="74"/>
                    </a:cubicBezTo>
                    <a:cubicBezTo>
                      <a:pt x="137" y="74"/>
                      <a:pt x="157" y="103"/>
                      <a:pt x="126" y="96"/>
                    </a:cubicBezTo>
                    <a:cubicBezTo>
                      <a:pt x="126" y="96"/>
                      <a:pt x="104" y="118"/>
                      <a:pt x="103" y="80"/>
                    </a:cubicBezTo>
                    <a:cubicBezTo>
                      <a:pt x="103" y="80"/>
                      <a:pt x="90" y="108"/>
                      <a:pt x="78" y="80"/>
                    </a:cubicBezTo>
                    <a:cubicBezTo>
                      <a:pt x="78" y="80"/>
                      <a:pt x="78" y="99"/>
                      <a:pt x="61" y="89"/>
                    </a:cubicBezTo>
                    <a:cubicBezTo>
                      <a:pt x="61" y="89"/>
                      <a:pt x="60" y="88"/>
                      <a:pt x="60" y="88"/>
                    </a:cubicBezTo>
                    <a:cubicBezTo>
                      <a:pt x="42" y="77"/>
                      <a:pt x="60" y="88"/>
                      <a:pt x="60" y="88"/>
                    </a:cubicBezTo>
                    <a:cubicBezTo>
                      <a:pt x="60" y="88"/>
                      <a:pt x="64" y="128"/>
                      <a:pt x="37" y="109"/>
                    </a:cubicBezTo>
                    <a:cubicBezTo>
                      <a:pt x="37" y="109"/>
                      <a:pt x="26" y="132"/>
                      <a:pt x="8" y="114"/>
                    </a:cubicBezTo>
                    <a:cubicBezTo>
                      <a:pt x="8" y="114"/>
                      <a:pt x="0" y="98"/>
                      <a:pt x="14" y="96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grpSp>
          <p:nvGrpSpPr>
            <p:cNvPr id="9175" name="Group 9174"/>
            <p:cNvGrpSpPr/>
            <p:nvPr/>
          </p:nvGrpSpPr>
          <p:grpSpPr>
            <a:xfrm>
              <a:off x="202203" y="1752475"/>
              <a:ext cx="707989" cy="901648"/>
              <a:chOff x="3591719" y="5970382"/>
              <a:chExt cx="376237" cy="479152"/>
            </a:xfrm>
          </p:grpSpPr>
          <p:sp>
            <p:nvSpPr>
              <p:cNvPr id="9176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3611099" y="5975060"/>
                <a:ext cx="336141" cy="4731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9177" name="Freeform 5"/>
              <p:cNvSpPr>
                <a:spLocks/>
              </p:cNvSpPr>
              <p:nvPr/>
            </p:nvSpPr>
            <p:spPr bwMode="auto">
              <a:xfrm>
                <a:off x="3591719" y="5984416"/>
                <a:ext cx="174419" cy="263300"/>
              </a:xfrm>
              <a:custGeom>
                <a:avLst/>
                <a:gdLst>
                  <a:gd name="T0" fmla="*/ 23 w 109"/>
                  <a:gd name="T1" fmla="*/ 78 h 165"/>
                  <a:gd name="T2" fmla="*/ 42 w 109"/>
                  <a:gd name="T3" fmla="*/ 51 h 165"/>
                  <a:gd name="T4" fmla="*/ 59 w 109"/>
                  <a:gd name="T5" fmla="*/ 31 h 165"/>
                  <a:gd name="T6" fmla="*/ 88 w 109"/>
                  <a:gd name="T7" fmla="*/ 15 h 165"/>
                  <a:gd name="T8" fmla="*/ 88 w 109"/>
                  <a:gd name="T9" fmla="*/ 66 h 165"/>
                  <a:gd name="T10" fmla="*/ 72 w 109"/>
                  <a:gd name="T11" fmla="*/ 109 h 165"/>
                  <a:gd name="T12" fmla="*/ 61 w 109"/>
                  <a:gd name="T13" fmla="*/ 137 h 165"/>
                  <a:gd name="T14" fmla="*/ 43 w 109"/>
                  <a:gd name="T15" fmla="*/ 165 h 165"/>
                  <a:gd name="T16" fmla="*/ 30 w 109"/>
                  <a:gd name="T17" fmla="*/ 143 h 165"/>
                  <a:gd name="T18" fmla="*/ 23 w 109"/>
                  <a:gd name="T19" fmla="*/ 109 h 165"/>
                  <a:gd name="T20" fmla="*/ 23 w 109"/>
                  <a:gd name="T21" fmla="*/ 78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9" h="165">
                    <a:moveTo>
                      <a:pt x="23" y="78"/>
                    </a:moveTo>
                    <a:cubicBezTo>
                      <a:pt x="11" y="41"/>
                      <a:pt x="42" y="51"/>
                      <a:pt x="42" y="51"/>
                    </a:cubicBezTo>
                    <a:cubicBezTo>
                      <a:pt x="40" y="29"/>
                      <a:pt x="59" y="31"/>
                      <a:pt x="59" y="31"/>
                    </a:cubicBezTo>
                    <a:cubicBezTo>
                      <a:pt x="62" y="0"/>
                      <a:pt x="88" y="15"/>
                      <a:pt x="88" y="15"/>
                    </a:cubicBezTo>
                    <a:cubicBezTo>
                      <a:pt x="102" y="24"/>
                      <a:pt x="88" y="66"/>
                      <a:pt x="88" y="66"/>
                    </a:cubicBezTo>
                    <a:cubicBezTo>
                      <a:pt x="109" y="82"/>
                      <a:pt x="72" y="109"/>
                      <a:pt x="72" y="109"/>
                    </a:cubicBezTo>
                    <a:cubicBezTo>
                      <a:pt x="88" y="127"/>
                      <a:pt x="61" y="137"/>
                      <a:pt x="61" y="137"/>
                    </a:cubicBezTo>
                    <a:cubicBezTo>
                      <a:pt x="65" y="164"/>
                      <a:pt x="43" y="165"/>
                      <a:pt x="43" y="165"/>
                    </a:cubicBezTo>
                    <a:cubicBezTo>
                      <a:pt x="25" y="163"/>
                      <a:pt x="30" y="143"/>
                      <a:pt x="30" y="143"/>
                    </a:cubicBezTo>
                    <a:cubicBezTo>
                      <a:pt x="3" y="132"/>
                      <a:pt x="23" y="109"/>
                      <a:pt x="23" y="109"/>
                    </a:cubicBezTo>
                    <a:cubicBezTo>
                      <a:pt x="0" y="92"/>
                      <a:pt x="23" y="78"/>
                      <a:pt x="23" y="78"/>
                    </a:cubicBezTo>
                    <a:close/>
                  </a:path>
                </a:pathLst>
              </a:custGeom>
              <a:solidFill>
                <a:srgbClr val="09B89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9178" name="Freeform 6"/>
              <p:cNvSpPr>
                <a:spLocks/>
              </p:cNvSpPr>
              <p:nvPr/>
            </p:nvSpPr>
            <p:spPr bwMode="auto">
              <a:xfrm>
                <a:off x="3726042" y="6226999"/>
                <a:ext cx="82197" cy="222535"/>
              </a:xfrm>
              <a:custGeom>
                <a:avLst/>
                <a:gdLst>
                  <a:gd name="T0" fmla="*/ 4 w 51"/>
                  <a:gd name="T1" fmla="*/ 12 h 140"/>
                  <a:gd name="T2" fmla="*/ 18 w 51"/>
                  <a:gd name="T3" fmla="*/ 38 h 140"/>
                  <a:gd name="T4" fmla="*/ 19 w 51"/>
                  <a:gd name="T5" fmla="*/ 39 h 140"/>
                  <a:gd name="T6" fmla="*/ 18 w 51"/>
                  <a:gd name="T7" fmla="*/ 38 h 140"/>
                  <a:gd name="T8" fmla="*/ 23 w 51"/>
                  <a:gd name="T9" fmla="*/ 0 h 140"/>
                  <a:gd name="T10" fmla="*/ 32 w 51"/>
                  <a:gd name="T11" fmla="*/ 5 h 140"/>
                  <a:gd name="T12" fmla="*/ 26 w 51"/>
                  <a:gd name="T13" fmla="*/ 46 h 140"/>
                  <a:gd name="T14" fmla="*/ 26 w 51"/>
                  <a:gd name="T15" fmla="*/ 48 h 140"/>
                  <a:gd name="T16" fmla="*/ 26 w 51"/>
                  <a:gd name="T17" fmla="*/ 46 h 140"/>
                  <a:gd name="T18" fmla="*/ 50 w 51"/>
                  <a:gd name="T19" fmla="*/ 6 h 140"/>
                  <a:gd name="T20" fmla="*/ 51 w 51"/>
                  <a:gd name="T21" fmla="*/ 19 h 140"/>
                  <a:gd name="T22" fmla="*/ 32 w 51"/>
                  <a:gd name="T23" fmla="*/ 63 h 140"/>
                  <a:gd name="T24" fmla="*/ 35 w 51"/>
                  <a:gd name="T25" fmla="*/ 137 h 140"/>
                  <a:gd name="T26" fmla="*/ 19 w 51"/>
                  <a:gd name="T27" fmla="*/ 140 h 140"/>
                  <a:gd name="T28" fmla="*/ 7 w 51"/>
                  <a:gd name="T29" fmla="*/ 138 h 140"/>
                  <a:gd name="T30" fmla="*/ 4 w 51"/>
                  <a:gd name="T31" fmla="*/ 137 h 140"/>
                  <a:gd name="T32" fmla="*/ 10 w 51"/>
                  <a:gd name="T33" fmla="*/ 81 h 140"/>
                  <a:gd name="T34" fmla="*/ 0 w 51"/>
                  <a:gd name="T35" fmla="*/ 25 h 140"/>
                  <a:gd name="T36" fmla="*/ 4 w 51"/>
                  <a:gd name="T37" fmla="*/ 12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1" h="140">
                    <a:moveTo>
                      <a:pt x="4" y="12"/>
                    </a:moveTo>
                    <a:cubicBezTo>
                      <a:pt x="14" y="21"/>
                      <a:pt x="18" y="34"/>
                      <a:pt x="18" y="38"/>
                    </a:cubicBezTo>
                    <a:cubicBezTo>
                      <a:pt x="18" y="39"/>
                      <a:pt x="19" y="39"/>
                      <a:pt x="19" y="39"/>
                    </a:cubicBezTo>
                    <a:cubicBezTo>
                      <a:pt x="19" y="39"/>
                      <a:pt x="19" y="39"/>
                      <a:pt x="18" y="38"/>
                    </a:cubicBezTo>
                    <a:cubicBezTo>
                      <a:pt x="18" y="32"/>
                      <a:pt x="23" y="0"/>
                      <a:pt x="23" y="0"/>
                    </a:cubicBezTo>
                    <a:cubicBezTo>
                      <a:pt x="32" y="5"/>
                      <a:pt x="32" y="5"/>
                      <a:pt x="32" y="5"/>
                    </a:cubicBezTo>
                    <a:cubicBezTo>
                      <a:pt x="28" y="11"/>
                      <a:pt x="26" y="38"/>
                      <a:pt x="26" y="46"/>
                    </a:cubicBezTo>
                    <a:cubicBezTo>
                      <a:pt x="26" y="47"/>
                      <a:pt x="26" y="47"/>
                      <a:pt x="26" y="48"/>
                    </a:cubicBezTo>
                    <a:cubicBezTo>
                      <a:pt x="26" y="48"/>
                      <a:pt x="26" y="47"/>
                      <a:pt x="26" y="46"/>
                    </a:cubicBezTo>
                    <a:cubicBezTo>
                      <a:pt x="28" y="29"/>
                      <a:pt x="50" y="6"/>
                      <a:pt x="50" y="6"/>
                    </a:cubicBezTo>
                    <a:cubicBezTo>
                      <a:pt x="51" y="19"/>
                      <a:pt x="51" y="19"/>
                      <a:pt x="51" y="19"/>
                    </a:cubicBezTo>
                    <a:cubicBezTo>
                      <a:pt x="44" y="21"/>
                      <a:pt x="37" y="41"/>
                      <a:pt x="32" y="63"/>
                    </a:cubicBezTo>
                    <a:cubicBezTo>
                      <a:pt x="27" y="85"/>
                      <a:pt x="35" y="137"/>
                      <a:pt x="35" y="137"/>
                    </a:cubicBezTo>
                    <a:cubicBezTo>
                      <a:pt x="35" y="137"/>
                      <a:pt x="23" y="140"/>
                      <a:pt x="19" y="140"/>
                    </a:cubicBezTo>
                    <a:cubicBezTo>
                      <a:pt x="16" y="140"/>
                      <a:pt x="7" y="138"/>
                      <a:pt x="7" y="138"/>
                    </a:cubicBezTo>
                    <a:cubicBezTo>
                      <a:pt x="4" y="137"/>
                      <a:pt x="4" y="137"/>
                      <a:pt x="4" y="137"/>
                    </a:cubicBezTo>
                    <a:cubicBezTo>
                      <a:pt x="7" y="130"/>
                      <a:pt x="10" y="81"/>
                      <a:pt x="10" y="81"/>
                    </a:cubicBezTo>
                    <a:cubicBezTo>
                      <a:pt x="13" y="38"/>
                      <a:pt x="0" y="25"/>
                      <a:pt x="0" y="25"/>
                    </a:cubicBezTo>
                    <a:lnTo>
                      <a:pt x="4" y="12"/>
                    </a:lnTo>
                    <a:close/>
                  </a:path>
                </a:pathLst>
              </a:custGeom>
              <a:solidFill>
                <a:srgbClr val="5435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9179" name="Freeform 7"/>
              <p:cNvSpPr>
                <a:spLocks/>
              </p:cNvSpPr>
              <p:nvPr/>
            </p:nvSpPr>
            <p:spPr bwMode="auto">
              <a:xfrm>
                <a:off x="3754777" y="6287143"/>
                <a:ext cx="2005" cy="2005"/>
              </a:xfrm>
              <a:custGeom>
                <a:avLst/>
                <a:gdLst>
                  <a:gd name="T0" fmla="*/ 0 w 1"/>
                  <a:gd name="T1" fmla="*/ 0 h 1"/>
                  <a:gd name="T2" fmla="*/ 1 w 1"/>
                  <a:gd name="T3" fmla="*/ 1 h 1"/>
                  <a:gd name="T4" fmla="*/ 0 w 1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0" y="1"/>
                      <a:pt x="0" y="0"/>
                    </a:cubicBezTo>
                    <a:close/>
                  </a:path>
                </a:pathLst>
              </a:custGeom>
              <a:solidFill>
                <a:srgbClr val="5435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9180" name="Freeform 8"/>
              <p:cNvSpPr>
                <a:spLocks/>
              </p:cNvSpPr>
              <p:nvPr/>
            </p:nvSpPr>
            <p:spPr bwMode="auto">
              <a:xfrm>
                <a:off x="3768143" y="6299840"/>
                <a:ext cx="0" cy="3342"/>
              </a:xfrm>
              <a:custGeom>
                <a:avLst/>
                <a:gdLst>
                  <a:gd name="T0" fmla="*/ 0 h 2"/>
                  <a:gd name="T1" fmla="*/ 2 h 2"/>
                  <a:gd name="T2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cubicBezTo>
                      <a:pt x="0" y="1"/>
                      <a:pt x="0" y="2"/>
                      <a:pt x="0" y="2"/>
                    </a:cubicBezTo>
                    <a:cubicBezTo>
                      <a:pt x="0" y="1"/>
                      <a:pt x="0" y="1"/>
                      <a:pt x="0" y="0"/>
                    </a:cubicBezTo>
                    <a:close/>
                  </a:path>
                </a:pathLst>
              </a:custGeom>
              <a:solidFill>
                <a:srgbClr val="5435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9181" name="Freeform 9"/>
              <p:cNvSpPr>
                <a:spLocks/>
              </p:cNvSpPr>
              <p:nvPr/>
            </p:nvSpPr>
            <p:spPr bwMode="auto">
              <a:xfrm>
                <a:off x="3638498" y="6092676"/>
                <a:ext cx="87544" cy="126304"/>
              </a:xfrm>
              <a:custGeom>
                <a:avLst/>
                <a:gdLst>
                  <a:gd name="T0" fmla="*/ 18 w 55"/>
                  <a:gd name="T1" fmla="*/ 26 h 79"/>
                  <a:gd name="T2" fmla="*/ 36 w 55"/>
                  <a:gd name="T3" fmla="*/ 6 h 79"/>
                  <a:gd name="T4" fmla="*/ 32 w 55"/>
                  <a:gd name="T5" fmla="*/ 73 h 79"/>
                  <a:gd name="T6" fmla="*/ 16 w 55"/>
                  <a:gd name="T7" fmla="*/ 51 h 79"/>
                  <a:gd name="T8" fmla="*/ 18 w 55"/>
                  <a:gd name="T9" fmla="*/ 26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5" h="79">
                    <a:moveTo>
                      <a:pt x="18" y="26"/>
                    </a:moveTo>
                    <a:cubicBezTo>
                      <a:pt x="7" y="0"/>
                      <a:pt x="36" y="6"/>
                      <a:pt x="36" y="6"/>
                    </a:cubicBezTo>
                    <a:cubicBezTo>
                      <a:pt x="55" y="10"/>
                      <a:pt x="32" y="73"/>
                      <a:pt x="32" y="73"/>
                    </a:cubicBezTo>
                    <a:cubicBezTo>
                      <a:pt x="5" y="79"/>
                      <a:pt x="16" y="51"/>
                      <a:pt x="16" y="51"/>
                    </a:cubicBezTo>
                    <a:cubicBezTo>
                      <a:pt x="0" y="35"/>
                      <a:pt x="18" y="26"/>
                      <a:pt x="18" y="26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9182" name="Freeform 10"/>
              <p:cNvSpPr>
                <a:spLocks/>
              </p:cNvSpPr>
              <p:nvPr/>
            </p:nvSpPr>
            <p:spPr bwMode="auto">
              <a:xfrm>
                <a:off x="3729383" y="6051243"/>
                <a:ext cx="4678" cy="2005"/>
              </a:xfrm>
              <a:custGeom>
                <a:avLst/>
                <a:gdLst>
                  <a:gd name="T0" fmla="*/ 0 w 3"/>
                  <a:gd name="T1" fmla="*/ 0 h 1"/>
                  <a:gd name="T2" fmla="*/ 3 w 3"/>
                  <a:gd name="T3" fmla="*/ 1 h 1"/>
                  <a:gd name="T4" fmla="*/ 0 w 3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1">
                    <a:moveTo>
                      <a:pt x="0" y="0"/>
                    </a:moveTo>
                    <a:cubicBezTo>
                      <a:pt x="2" y="0"/>
                      <a:pt x="3" y="1"/>
                      <a:pt x="3" y="1"/>
                    </a:cubicBezTo>
                    <a:cubicBezTo>
                      <a:pt x="2" y="1"/>
                      <a:pt x="1" y="0"/>
                      <a:pt x="0" y="0"/>
                    </a:cubicBezTo>
                    <a:close/>
                  </a:path>
                </a:pathLst>
              </a:custGeom>
              <a:solidFill>
                <a:srgbClr val="57B9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9183" name="Freeform 11"/>
              <p:cNvSpPr>
                <a:spLocks/>
              </p:cNvSpPr>
              <p:nvPr/>
            </p:nvSpPr>
            <p:spPr bwMode="auto">
              <a:xfrm>
                <a:off x="3691291" y="5970382"/>
                <a:ext cx="142342" cy="173751"/>
              </a:xfrm>
              <a:custGeom>
                <a:avLst/>
                <a:gdLst>
                  <a:gd name="T0" fmla="*/ 12 w 89"/>
                  <a:gd name="T1" fmla="*/ 77 h 109"/>
                  <a:gd name="T2" fmla="*/ 9 w 89"/>
                  <a:gd name="T3" fmla="*/ 60 h 109"/>
                  <a:gd name="T4" fmla="*/ 24 w 89"/>
                  <a:gd name="T5" fmla="*/ 51 h 109"/>
                  <a:gd name="T6" fmla="*/ 27 w 89"/>
                  <a:gd name="T7" fmla="*/ 52 h 109"/>
                  <a:gd name="T8" fmla="*/ 24 w 89"/>
                  <a:gd name="T9" fmla="*/ 51 h 109"/>
                  <a:gd name="T10" fmla="*/ 20 w 89"/>
                  <a:gd name="T11" fmla="*/ 33 h 109"/>
                  <a:gd name="T12" fmla="*/ 46 w 89"/>
                  <a:gd name="T13" fmla="*/ 19 h 109"/>
                  <a:gd name="T14" fmla="*/ 67 w 89"/>
                  <a:gd name="T15" fmla="*/ 3 h 109"/>
                  <a:gd name="T16" fmla="*/ 79 w 89"/>
                  <a:gd name="T17" fmla="*/ 19 h 109"/>
                  <a:gd name="T18" fmla="*/ 71 w 89"/>
                  <a:gd name="T19" fmla="*/ 40 h 109"/>
                  <a:gd name="T20" fmla="*/ 59 w 89"/>
                  <a:gd name="T21" fmla="*/ 59 h 109"/>
                  <a:gd name="T22" fmla="*/ 45 w 89"/>
                  <a:gd name="T23" fmla="*/ 83 h 109"/>
                  <a:gd name="T24" fmla="*/ 23 w 89"/>
                  <a:gd name="T25" fmla="*/ 107 h 109"/>
                  <a:gd name="T26" fmla="*/ 3 w 89"/>
                  <a:gd name="T27" fmla="*/ 94 h 109"/>
                  <a:gd name="T28" fmla="*/ 12 w 89"/>
                  <a:gd name="T29" fmla="*/ 77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89" h="109">
                    <a:moveTo>
                      <a:pt x="12" y="77"/>
                    </a:moveTo>
                    <a:cubicBezTo>
                      <a:pt x="6" y="64"/>
                      <a:pt x="9" y="60"/>
                      <a:pt x="9" y="60"/>
                    </a:cubicBezTo>
                    <a:cubicBezTo>
                      <a:pt x="11" y="50"/>
                      <a:pt x="20" y="50"/>
                      <a:pt x="24" y="51"/>
                    </a:cubicBezTo>
                    <a:cubicBezTo>
                      <a:pt x="25" y="51"/>
                      <a:pt x="26" y="52"/>
                      <a:pt x="27" y="52"/>
                    </a:cubicBezTo>
                    <a:cubicBezTo>
                      <a:pt x="27" y="52"/>
                      <a:pt x="26" y="51"/>
                      <a:pt x="24" y="51"/>
                    </a:cubicBezTo>
                    <a:cubicBezTo>
                      <a:pt x="18" y="48"/>
                      <a:pt x="20" y="33"/>
                      <a:pt x="20" y="33"/>
                    </a:cubicBezTo>
                    <a:cubicBezTo>
                      <a:pt x="23" y="9"/>
                      <a:pt x="46" y="19"/>
                      <a:pt x="46" y="19"/>
                    </a:cubicBezTo>
                    <a:cubicBezTo>
                      <a:pt x="47" y="0"/>
                      <a:pt x="67" y="3"/>
                      <a:pt x="67" y="3"/>
                    </a:cubicBezTo>
                    <a:cubicBezTo>
                      <a:pt x="80" y="4"/>
                      <a:pt x="79" y="19"/>
                      <a:pt x="79" y="19"/>
                    </a:cubicBezTo>
                    <a:cubicBezTo>
                      <a:pt x="81" y="27"/>
                      <a:pt x="71" y="40"/>
                      <a:pt x="71" y="40"/>
                    </a:cubicBezTo>
                    <a:cubicBezTo>
                      <a:pt x="89" y="68"/>
                      <a:pt x="59" y="59"/>
                      <a:pt x="59" y="59"/>
                    </a:cubicBezTo>
                    <a:cubicBezTo>
                      <a:pt x="80" y="75"/>
                      <a:pt x="45" y="83"/>
                      <a:pt x="45" y="83"/>
                    </a:cubicBezTo>
                    <a:cubicBezTo>
                      <a:pt x="51" y="109"/>
                      <a:pt x="23" y="107"/>
                      <a:pt x="23" y="107"/>
                    </a:cubicBezTo>
                    <a:cubicBezTo>
                      <a:pt x="5" y="109"/>
                      <a:pt x="3" y="94"/>
                      <a:pt x="3" y="94"/>
                    </a:cubicBezTo>
                    <a:cubicBezTo>
                      <a:pt x="0" y="84"/>
                      <a:pt x="12" y="77"/>
                      <a:pt x="12" y="77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9184" name="Freeform 12"/>
              <p:cNvSpPr>
                <a:spLocks/>
              </p:cNvSpPr>
              <p:nvPr/>
            </p:nvSpPr>
            <p:spPr bwMode="auto">
              <a:xfrm>
                <a:off x="3742080" y="5987757"/>
                <a:ext cx="176424" cy="170410"/>
              </a:xfrm>
              <a:custGeom>
                <a:avLst/>
                <a:gdLst>
                  <a:gd name="T0" fmla="*/ 24 w 110"/>
                  <a:gd name="T1" fmla="*/ 35 h 107"/>
                  <a:gd name="T2" fmla="*/ 39 w 110"/>
                  <a:gd name="T3" fmla="*/ 21 h 107"/>
                  <a:gd name="T4" fmla="*/ 55 w 110"/>
                  <a:gd name="T5" fmla="*/ 2 h 107"/>
                  <a:gd name="T6" fmla="*/ 69 w 110"/>
                  <a:gd name="T7" fmla="*/ 20 h 107"/>
                  <a:gd name="T8" fmla="*/ 88 w 110"/>
                  <a:gd name="T9" fmla="*/ 38 h 107"/>
                  <a:gd name="T10" fmla="*/ 78 w 110"/>
                  <a:gd name="T11" fmla="*/ 72 h 107"/>
                  <a:gd name="T12" fmla="*/ 58 w 110"/>
                  <a:gd name="T13" fmla="*/ 88 h 107"/>
                  <a:gd name="T14" fmla="*/ 33 w 110"/>
                  <a:gd name="T15" fmla="*/ 83 h 107"/>
                  <a:gd name="T16" fmla="*/ 24 w 110"/>
                  <a:gd name="T17" fmla="*/ 56 h 107"/>
                  <a:gd name="T18" fmla="*/ 24 w 110"/>
                  <a:gd name="T19" fmla="*/ 35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0" h="107">
                    <a:moveTo>
                      <a:pt x="24" y="35"/>
                    </a:moveTo>
                    <a:cubicBezTo>
                      <a:pt x="22" y="17"/>
                      <a:pt x="39" y="21"/>
                      <a:pt x="39" y="21"/>
                    </a:cubicBezTo>
                    <a:cubicBezTo>
                      <a:pt x="42" y="0"/>
                      <a:pt x="55" y="2"/>
                      <a:pt x="55" y="2"/>
                    </a:cubicBezTo>
                    <a:cubicBezTo>
                      <a:pt x="68" y="3"/>
                      <a:pt x="69" y="20"/>
                      <a:pt x="69" y="20"/>
                    </a:cubicBezTo>
                    <a:cubicBezTo>
                      <a:pt x="93" y="19"/>
                      <a:pt x="88" y="38"/>
                      <a:pt x="88" y="38"/>
                    </a:cubicBezTo>
                    <a:cubicBezTo>
                      <a:pt x="110" y="59"/>
                      <a:pt x="78" y="72"/>
                      <a:pt x="78" y="72"/>
                    </a:cubicBezTo>
                    <a:cubicBezTo>
                      <a:pt x="84" y="98"/>
                      <a:pt x="58" y="88"/>
                      <a:pt x="58" y="88"/>
                    </a:cubicBezTo>
                    <a:cubicBezTo>
                      <a:pt x="42" y="107"/>
                      <a:pt x="33" y="83"/>
                      <a:pt x="33" y="83"/>
                    </a:cubicBezTo>
                    <a:cubicBezTo>
                      <a:pt x="18" y="85"/>
                      <a:pt x="24" y="56"/>
                      <a:pt x="24" y="56"/>
                    </a:cubicBezTo>
                    <a:cubicBezTo>
                      <a:pt x="0" y="43"/>
                      <a:pt x="24" y="35"/>
                      <a:pt x="24" y="35"/>
                    </a:cubicBezTo>
                    <a:close/>
                  </a:path>
                </a:pathLst>
              </a:custGeom>
              <a:solidFill>
                <a:srgbClr val="09B89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9185" name="Freeform 13"/>
              <p:cNvSpPr>
                <a:spLocks/>
              </p:cNvSpPr>
              <p:nvPr/>
            </p:nvSpPr>
            <p:spPr bwMode="auto">
              <a:xfrm>
                <a:off x="3802893" y="6048570"/>
                <a:ext cx="161722" cy="160386"/>
              </a:xfrm>
              <a:custGeom>
                <a:avLst/>
                <a:gdLst>
                  <a:gd name="T0" fmla="*/ 23 w 101"/>
                  <a:gd name="T1" fmla="*/ 43 h 101"/>
                  <a:gd name="T2" fmla="*/ 20 w 101"/>
                  <a:gd name="T3" fmla="*/ 25 h 101"/>
                  <a:gd name="T4" fmla="*/ 42 w 101"/>
                  <a:gd name="T5" fmla="*/ 22 h 101"/>
                  <a:gd name="T6" fmla="*/ 55 w 101"/>
                  <a:gd name="T7" fmla="*/ 0 h 101"/>
                  <a:gd name="T8" fmla="*/ 69 w 101"/>
                  <a:gd name="T9" fmla="*/ 20 h 101"/>
                  <a:gd name="T10" fmla="*/ 79 w 101"/>
                  <a:gd name="T11" fmla="*/ 39 h 101"/>
                  <a:gd name="T12" fmla="*/ 83 w 101"/>
                  <a:gd name="T13" fmla="*/ 69 h 101"/>
                  <a:gd name="T14" fmla="*/ 80 w 101"/>
                  <a:gd name="T15" fmla="*/ 69 h 101"/>
                  <a:gd name="T16" fmla="*/ 61 w 101"/>
                  <a:gd name="T17" fmla="*/ 79 h 101"/>
                  <a:gd name="T18" fmla="*/ 43 w 101"/>
                  <a:gd name="T19" fmla="*/ 78 h 101"/>
                  <a:gd name="T20" fmla="*/ 8 w 101"/>
                  <a:gd name="T21" fmla="*/ 66 h 101"/>
                  <a:gd name="T22" fmla="*/ 23 w 101"/>
                  <a:gd name="T23" fmla="*/ 43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1" h="101">
                    <a:moveTo>
                      <a:pt x="23" y="43"/>
                    </a:moveTo>
                    <a:cubicBezTo>
                      <a:pt x="14" y="40"/>
                      <a:pt x="20" y="25"/>
                      <a:pt x="20" y="25"/>
                    </a:cubicBezTo>
                    <a:cubicBezTo>
                      <a:pt x="25" y="11"/>
                      <a:pt x="42" y="22"/>
                      <a:pt x="42" y="22"/>
                    </a:cubicBezTo>
                    <a:cubicBezTo>
                      <a:pt x="35" y="0"/>
                      <a:pt x="55" y="0"/>
                      <a:pt x="55" y="0"/>
                    </a:cubicBezTo>
                    <a:cubicBezTo>
                      <a:pt x="68" y="0"/>
                      <a:pt x="69" y="20"/>
                      <a:pt x="69" y="20"/>
                    </a:cubicBezTo>
                    <a:cubicBezTo>
                      <a:pt x="91" y="21"/>
                      <a:pt x="79" y="39"/>
                      <a:pt x="79" y="39"/>
                    </a:cubicBezTo>
                    <a:cubicBezTo>
                      <a:pt x="101" y="49"/>
                      <a:pt x="83" y="69"/>
                      <a:pt x="83" y="69"/>
                    </a:cubicBezTo>
                    <a:cubicBezTo>
                      <a:pt x="82" y="70"/>
                      <a:pt x="80" y="69"/>
                      <a:pt x="80" y="69"/>
                    </a:cubicBezTo>
                    <a:cubicBezTo>
                      <a:pt x="82" y="94"/>
                      <a:pt x="61" y="79"/>
                      <a:pt x="61" y="79"/>
                    </a:cubicBezTo>
                    <a:cubicBezTo>
                      <a:pt x="59" y="92"/>
                      <a:pt x="43" y="78"/>
                      <a:pt x="43" y="78"/>
                    </a:cubicBezTo>
                    <a:cubicBezTo>
                      <a:pt x="21" y="101"/>
                      <a:pt x="8" y="66"/>
                      <a:pt x="8" y="66"/>
                    </a:cubicBezTo>
                    <a:cubicBezTo>
                      <a:pt x="0" y="46"/>
                      <a:pt x="23" y="43"/>
                      <a:pt x="23" y="43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9186" name="Freeform 14"/>
              <p:cNvSpPr>
                <a:spLocks/>
              </p:cNvSpPr>
              <p:nvPr/>
            </p:nvSpPr>
            <p:spPr bwMode="auto">
              <a:xfrm>
                <a:off x="3881749" y="6250388"/>
                <a:ext cx="20716" cy="30741"/>
              </a:xfrm>
              <a:custGeom>
                <a:avLst/>
                <a:gdLst>
                  <a:gd name="T0" fmla="*/ 0 w 13"/>
                  <a:gd name="T1" fmla="*/ 19 h 19"/>
                  <a:gd name="T2" fmla="*/ 0 w 13"/>
                  <a:gd name="T3" fmla="*/ 19 h 19"/>
                  <a:gd name="T4" fmla="*/ 0 w 13"/>
                  <a:gd name="T5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9">
                    <a:moveTo>
                      <a:pt x="0" y="19"/>
                    </a:moveTo>
                    <a:cubicBezTo>
                      <a:pt x="0" y="19"/>
                      <a:pt x="0" y="19"/>
                      <a:pt x="0" y="19"/>
                    </a:cubicBezTo>
                    <a:cubicBezTo>
                      <a:pt x="2" y="17"/>
                      <a:pt x="13" y="0"/>
                      <a:pt x="0" y="19"/>
                    </a:cubicBezTo>
                    <a:close/>
                  </a:path>
                </a:pathLst>
              </a:custGeom>
              <a:solidFill>
                <a:srgbClr val="4DA01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9187" name="Freeform 15"/>
              <p:cNvSpPr>
                <a:spLocks/>
              </p:cNvSpPr>
              <p:nvPr/>
            </p:nvSpPr>
            <p:spPr bwMode="auto">
              <a:xfrm>
                <a:off x="3792200" y="6132772"/>
                <a:ext cx="175756" cy="181770"/>
              </a:xfrm>
              <a:custGeom>
                <a:avLst/>
                <a:gdLst>
                  <a:gd name="T0" fmla="*/ 20 w 110"/>
                  <a:gd name="T1" fmla="*/ 36 h 114"/>
                  <a:gd name="T2" fmla="*/ 38 w 110"/>
                  <a:gd name="T3" fmla="*/ 23 h 114"/>
                  <a:gd name="T4" fmla="*/ 58 w 110"/>
                  <a:gd name="T5" fmla="*/ 10 h 114"/>
                  <a:gd name="T6" fmla="*/ 67 w 110"/>
                  <a:gd name="T7" fmla="*/ 1 h 114"/>
                  <a:gd name="T8" fmla="*/ 67 w 110"/>
                  <a:gd name="T9" fmla="*/ 1 h 114"/>
                  <a:gd name="T10" fmla="*/ 85 w 110"/>
                  <a:gd name="T11" fmla="*/ 16 h 114"/>
                  <a:gd name="T12" fmla="*/ 87 w 110"/>
                  <a:gd name="T13" fmla="*/ 40 h 114"/>
                  <a:gd name="T14" fmla="*/ 85 w 110"/>
                  <a:gd name="T15" fmla="*/ 60 h 114"/>
                  <a:gd name="T16" fmla="*/ 73 w 110"/>
                  <a:gd name="T17" fmla="*/ 75 h 114"/>
                  <a:gd name="T18" fmla="*/ 56 w 110"/>
                  <a:gd name="T19" fmla="*/ 94 h 114"/>
                  <a:gd name="T20" fmla="*/ 56 w 110"/>
                  <a:gd name="T21" fmla="*/ 93 h 114"/>
                  <a:gd name="T22" fmla="*/ 56 w 110"/>
                  <a:gd name="T23" fmla="*/ 93 h 114"/>
                  <a:gd name="T24" fmla="*/ 56 w 110"/>
                  <a:gd name="T25" fmla="*/ 93 h 114"/>
                  <a:gd name="T26" fmla="*/ 55 w 110"/>
                  <a:gd name="T27" fmla="*/ 95 h 114"/>
                  <a:gd name="T28" fmla="*/ 34 w 110"/>
                  <a:gd name="T29" fmla="*/ 96 h 114"/>
                  <a:gd name="T30" fmla="*/ 33 w 110"/>
                  <a:gd name="T31" fmla="*/ 97 h 114"/>
                  <a:gd name="T32" fmla="*/ 16 w 110"/>
                  <a:gd name="T33" fmla="*/ 86 h 114"/>
                  <a:gd name="T34" fmla="*/ 14 w 110"/>
                  <a:gd name="T35" fmla="*/ 72 h 114"/>
                  <a:gd name="T36" fmla="*/ 12 w 110"/>
                  <a:gd name="T37" fmla="*/ 53 h 114"/>
                  <a:gd name="T38" fmla="*/ 20 w 110"/>
                  <a:gd name="T39" fmla="*/ 36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10" h="114">
                    <a:moveTo>
                      <a:pt x="20" y="36"/>
                    </a:moveTo>
                    <a:cubicBezTo>
                      <a:pt x="19" y="15"/>
                      <a:pt x="38" y="23"/>
                      <a:pt x="38" y="23"/>
                    </a:cubicBezTo>
                    <a:cubicBezTo>
                      <a:pt x="45" y="0"/>
                      <a:pt x="58" y="10"/>
                      <a:pt x="58" y="10"/>
                    </a:cubicBezTo>
                    <a:cubicBezTo>
                      <a:pt x="58" y="5"/>
                      <a:pt x="67" y="1"/>
                      <a:pt x="67" y="1"/>
                    </a:cubicBezTo>
                    <a:cubicBezTo>
                      <a:pt x="67" y="1"/>
                      <a:pt x="67" y="1"/>
                      <a:pt x="67" y="1"/>
                    </a:cubicBezTo>
                    <a:cubicBezTo>
                      <a:pt x="86" y="0"/>
                      <a:pt x="85" y="16"/>
                      <a:pt x="85" y="16"/>
                    </a:cubicBezTo>
                    <a:cubicBezTo>
                      <a:pt x="110" y="27"/>
                      <a:pt x="87" y="40"/>
                      <a:pt x="87" y="40"/>
                    </a:cubicBezTo>
                    <a:cubicBezTo>
                      <a:pt x="106" y="51"/>
                      <a:pt x="85" y="60"/>
                      <a:pt x="85" y="60"/>
                    </a:cubicBezTo>
                    <a:cubicBezTo>
                      <a:pt x="89" y="83"/>
                      <a:pt x="73" y="75"/>
                      <a:pt x="73" y="75"/>
                    </a:cubicBezTo>
                    <a:cubicBezTo>
                      <a:pt x="77" y="105"/>
                      <a:pt x="56" y="94"/>
                      <a:pt x="56" y="94"/>
                    </a:cubicBezTo>
                    <a:cubicBezTo>
                      <a:pt x="56" y="94"/>
                      <a:pt x="56" y="94"/>
                      <a:pt x="56" y="93"/>
                    </a:cubicBezTo>
                    <a:cubicBezTo>
                      <a:pt x="56" y="93"/>
                      <a:pt x="56" y="93"/>
                      <a:pt x="56" y="93"/>
                    </a:cubicBezTo>
                    <a:cubicBezTo>
                      <a:pt x="69" y="74"/>
                      <a:pt x="58" y="91"/>
                      <a:pt x="56" y="93"/>
                    </a:cubicBezTo>
                    <a:cubicBezTo>
                      <a:pt x="56" y="94"/>
                      <a:pt x="55" y="94"/>
                      <a:pt x="55" y="95"/>
                    </a:cubicBezTo>
                    <a:cubicBezTo>
                      <a:pt x="42" y="114"/>
                      <a:pt x="34" y="96"/>
                      <a:pt x="34" y="96"/>
                    </a:cubicBezTo>
                    <a:cubicBezTo>
                      <a:pt x="34" y="97"/>
                      <a:pt x="33" y="97"/>
                      <a:pt x="33" y="97"/>
                    </a:cubicBezTo>
                    <a:cubicBezTo>
                      <a:pt x="10" y="111"/>
                      <a:pt x="16" y="86"/>
                      <a:pt x="16" y="86"/>
                    </a:cubicBezTo>
                    <a:cubicBezTo>
                      <a:pt x="5" y="78"/>
                      <a:pt x="14" y="72"/>
                      <a:pt x="14" y="72"/>
                    </a:cubicBezTo>
                    <a:cubicBezTo>
                      <a:pt x="0" y="69"/>
                      <a:pt x="12" y="53"/>
                      <a:pt x="12" y="53"/>
                    </a:cubicBezTo>
                    <a:cubicBezTo>
                      <a:pt x="3" y="43"/>
                      <a:pt x="20" y="36"/>
                      <a:pt x="20" y="36"/>
                    </a:cubicBezTo>
                    <a:close/>
                  </a:path>
                </a:pathLst>
              </a:custGeom>
              <a:solidFill>
                <a:srgbClr val="09B89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9188" name="Freeform 16"/>
              <p:cNvSpPr>
                <a:spLocks/>
              </p:cNvSpPr>
              <p:nvPr/>
            </p:nvSpPr>
            <p:spPr bwMode="auto">
              <a:xfrm>
                <a:off x="3663892" y="6075301"/>
                <a:ext cx="158380" cy="218526"/>
              </a:xfrm>
              <a:custGeom>
                <a:avLst/>
                <a:gdLst>
                  <a:gd name="T0" fmla="*/ 14 w 99"/>
                  <a:gd name="T1" fmla="*/ 87 h 137"/>
                  <a:gd name="T2" fmla="*/ 10 w 99"/>
                  <a:gd name="T3" fmla="*/ 71 h 137"/>
                  <a:gd name="T4" fmla="*/ 21 w 99"/>
                  <a:gd name="T5" fmla="*/ 57 h 137"/>
                  <a:gd name="T6" fmla="*/ 21 w 99"/>
                  <a:gd name="T7" fmla="*/ 42 h 137"/>
                  <a:gd name="T8" fmla="*/ 33 w 99"/>
                  <a:gd name="T9" fmla="*/ 37 h 137"/>
                  <a:gd name="T10" fmla="*/ 54 w 99"/>
                  <a:gd name="T11" fmla="*/ 15 h 137"/>
                  <a:gd name="T12" fmla="*/ 70 w 99"/>
                  <a:gd name="T13" fmla="*/ 0 h 137"/>
                  <a:gd name="T14" fmla="*/ 83 w 99"/>
                  <a:gd name="T15" fmla="*/ 23 h 137"/>
                  <a:gd name="T16" fmla="*/ 97 w 99"/>
                  <a:gd name="T17" fmla="*/ 48 h 137"/>
                  <a:gd name="T18" fmla="*/ 74 w 99"/>
                  <a:gd name="T19" fmla="*/ 78 h 137"/>
                  <a:gd name="T20" fmla="*/ 57 w 99"/>
                  <a:gd name="T21" fmla="*/ 77 h 137"/>
                  <a:gd name="T22" fmla="*/ 57 w 99"/>
                  <a:gd name="T23" fmla="*/ 78 h 137"/>
                  <a:gd name="T24" fmla="*/ 42 w 99"/>
                  <a:gd name="T25" fmla="*/ 93 h 137"/>
                  <a:gd name="T26" fmla="*/ 5 w 99"/>
                  <a:gd name="T27" fmla="*/ 104 h 137"/>
                  <a:gd name="T28" fmla="*/ 14 w 99"/>
                  <a:gd name="T29" fmla="*/ 87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99" h="137">
                    <a:moveTo>
                      <a:pt x="14" y="87"/>
                    </a:moveTo>
                    <a:cubicBezTo>
                      <a:pt x="9" y="86"/>
                      <a:pt x="10" y="71"/>
                      <a:pt x="10" y="71"/>
                    </a:cubicBezTo>
                    <a:cubicBezTo>
                      <a:pt x="9" y="61"/>
                      <a:pt x="21" y="57"/>
                      <a:pt x="21" y="57"/>
                    </a:cubicBezTo>
                    <a:cubicBezTo>
                      <a:pt x="16" y="52"/>
                      <a:pt x="21" y="42"/>
                      <a:pt x="21" y="42"/>
                    </a:cubicBezTo>
                    <a:cubicBezTo>
                      <a:pt x="25" y="34"/>
                      <a:pt x="33" y="37"/>
                      <a:pt x="33" y="37"/>
                    </a:cubicBezTo>
                    <a:cubicBezTo>
                      <a:pt x="31" y="14"/>
                      <a:pt x="54" y="15"/>
                      <a:pt x="54" y="15"/>
                    </a:cubicBezTo>
                    <a:cubicBezTo>
                      <a:pt x="54" y="2"/>
                      <a:pt x="70" y="0"/>
                      <a:pt x="70" y="0"/>
                    </a:cubicBezTo>
                    <a:cubicBezTo>
                      <a:pt x="86" y="3"/>
                      <a:pt x="83" y="23"/>
                      <a:pt x="83" y="23"/>
                    </a:cubicBezTo>
                    <a:cubicBezTo>
                      <a:pt x="99" y="24"/>
                      <a:pt x="97" y="48"/>
                      <a:pt x="97" y="48"/>
                    </a:cubicBezTo>
                    <a:cubicBezTo>
                      <a:pt x="98" y="111"/>
                      <a:pt x="74" y="78"/>
                      <a:pt x="74" y="78"/>
                    </a:cubicBezTo>
                    <a:cubicBezTo>
                      <a:pt x="68" y="90"/>
                      <a:pt x="57" y="77"/>
                      <a:pt x="57" y="77"/>
                    </a:cubicBezTo>
                    <a:cubicBezTo>
                      <a:pt x="57" y="77"/>
                      <a:pt x="57" y="77"/>
                      <a:pt x="57" y="78"/>
                    </a:cubicBezTo>
                    <a:cubicBezTo>
                      <a:pt x="65" y="98"/>
                      <a:pt x="42" y="93"/>
                      <a:pt x="42" y="93"/>
                    </a:cubicBezTo>
                    <a:cubicBezTo>
                      <a:pt x="17" y="137"/>
                      <a:pt x="5" y="104"/>
                      <a:pt x="5" y="104"/>
                    </a:cubicBezTo>
                    <a:cubicBezTo>
                      <a:pt x="0" y="95"/>
                      <a:pt x="14" y="87"/>
                      <a:pt x="14" y="87"/>
                    </a:cubicBezTo>
                    <a:close/>
                  </a:path>
                </a:pathLst>
              </a:custGeom>
              <a:solidFill>
                <a:srgbClr val="09B89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9189" name="Freeform 17"/>
              <p:cNvSpPr>
                <a:spLocks/>
              </p:cNvSpPr>
              <p:nvPr/>
            </p:nvSpPr>
            <p:spPr bwMode="auto">
              <a:xfrm>
                <a:off x="3633151" y="6104037"/>
                <a:ext cx="251939" cy="210506"/>
              </a:xfrm>
              <a:custGeom>
                <a:avLst/>
                <a:gdLst>
                  <a:gd name="T0" fmla="*/ 14 w 157"/>
                  <a:gd name="T1" fmla="*/ 96 h 132"/>
                  <a:gd name="T2" fmla="*/ 37 w 157"/>
                  <a:gd name="T3" fmla="*/ 89 h 132"/>
                  <a:gd name="T4" fmla="*/ 48 w 157"/>
                  <a:gd name="T5" fmla="*/ 74 h 132"/>
                  <a:gd name="T6" fmla="*/ 70 w 157"/>
                  <a:gd name="T7" fmla="*/ 49 h 132"/>
                  <a:gd name="T8" fmla="*/ 80 w 157"/>
                  <a:gd name="T9" fmla="*/ 31 h 132"/>
                  <a:gd name="T10" fmla="*/ 109 w 157"/>
                  <a:gd name="T11" fmla="*/ 33 h 132"/>
                  <a:gd name="T12" fmla="*/ 126 w 157"/>
                  <a:gd name="T13" fmla="*/ 47 h 132"/>
                  <a:gd name="T14" fmla="*/ 137 w 157"/>
                  <a:gd name="T15" fmla="*/ 74 h 132"/>
                  <a:gd name="T16" fmla="*/ 126 w 157"/>
                  <a:gd name="T17" fmla="*/ 96 h 132"/>
                  <a:gd name="T18" fmla="*/ 103 w 157"/>
                  <a:gd name="T19" fmla="*/ 80 h 132"/>
                  <a:gd name="T20" fmla="*/ 78 w 157"/>
                  <a:gd name="T21" fmla="*/ 80 h 132"/>
                  <a:gd name="T22" fmla="*/ 61 w 157"/>
                  <a:gd name="T23" fmla="*/ 89 h 132"/>
                  <a:gd name="T24" fmla="*/ 60 w 157"/>
                  <a:gd name="T25" fmla="*/ 88 h 132"/>
                  <a:gd name="T26" fmla="*/ 60 w 157"/>
                  <a:gd name="T27" fmla="*/ 88 h 132"/>
                  <a:gd name="T28" fmla="*/ 37 w 157"/>
                  <a:gd name="T29" fmla="*/ 109 h 132"/>
                  <a:gd name="T30" fmla="*/ 8 w 157"/>
                  <a:gd name="T31" fmla="*/ 114 h 132"/>
                  <a:gd name="T32" fmla="*/ 14 w 157"/>
                  <a:gd name="T33" fmla="*/ 96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7" h="132">
                    <a:moveTo>
                      <a:pt x="14" y="96"/>
                    </a:moveTo>
                    <a:cubicBezTo>
                      <a:pt x="14" y="96"/>
                      <a:pt x="17" y="69"/>
                      <a:pt x="37" y="89"/>
                    </a:cubicBezTo>
                    <a:cubicBezTo>
                      <a:pt x="37" y="89"/>
                      <a:pt x="30" y="74"/>
                      <a:pt x="48" y="74"/>
                    </a:cubicBezTo>
                    <a:cubicBezTo>
                      <a:pt x="48" y="74"/>
                      <a:pt x="35" y="40"/>
                      <a:pt x="70" y="49"/>
                    </a:cubicBezTo>
                    <a:cubicBezTo>
                      <a:pt x="70" y="49"/>
                      <a:pt x="59" y="28"/>
                      <a:pt x="80" y="31"/>
                    </a:cubicBezTo>
                    <a:cubicBezTo>
                      <a:pt x="80" y="31"/>
                      <a:pt x="95" y="0"/>
                      <a:pt x="109" y="33"/>
                    </a:cubicBezTo>
                    <a:cubicBezTo>
                      <a:pt x="109" y="33"/>
                      <a:pt x="131" y="23"/>
                      <a:pt x="126" y="47"/>
                    </a:cubicBezTo>
                    <a:cubicBezTo>
                      <a:pt x="126" y="47"/>
                      <a:pt x="152" y="52"/>
                      <a:pt x="137" y="74"/>
                    </a:cubicBezTo>
                    <a:cubicBezTo>
                      <a:pt x="137" y="74"/>
                      <a:pt x="157" y="103"/>
                      <a:pt x="126" y="96"/>
                    </a:cubicBezTo>
                    <a:cubicBezTo>
                      <a:pt x="126" y="96"/>
                      <a:pt x="104" y="118"/>
                      <a:pt x="103" y="80"/>
                    </a:cubicBezTo>
                    <a:cubicBezTo>
                      <a:pt x="103" y="80"/>
                      <a:pt x="90" y="108"/>
                      <a:pt x="78" y="80"/>
                    </a:cubicBezTo>
                    <a:cubicBezTo>
                      <a:pt x="78" y="80"/>
                      <a:pt x="78" y="99"/>
                      <a:pt x="61" y="89"/>
                    </a:cubicBezTo>
                    <a:cubicBezTo>
                      <a:pt x="61" y="89"/>
                      <a:pt x="60" y="88"/>
                      <a:pt x="60" y="88"/>
                    </a:cubicBezTo>
                    <a:cubicBezTo>
                      <a:pt x="42" y="77"/>
                      <a:pt x="60" y="88"/>
                      <a:pt x="60" y="88"/>
                    </a:cubicBezTo>
                    <a:cubicBezTo>
                      <a:pt x="60" y="88"/>
                      <a:pt x="64" y="128"/>
                      <a:pt x="37" y="109"/>
                    </a:cubicBezTo>
                    <a:cubicBezTo>
                      <a:pt x="37" y="109"/>
                      <a:pt x="26" y="132"/>
                      <a:pt x="8" y="114"/>
                    </a:cubicBezTo>
                    <a:cubicBezTo>
                      <a:pt x="8" y="114"/>
                      <a:pt x="0" y="98"/>
                      <a:pt x="14" y="96"/>
                    </a:cubicBezTo>
                    <a:close/>
                  </a:path>
                </a:pathLst>
              </a:custGeom>
              <a:solidFill>
                <a:srgbClr val="5EC3A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  <p:grpSp>
        <p:nvGrpSpPr>
          <p:cNvPr id="9219" name="Group 9218"/>
          <p:cNvGrpSpPr/>
          <p:nvPr/>
        </p:nvGrpSpPr>
        <p:grpSpPr>
          <a:xfrm>
            <a:off x="8102600" y="1497013"/>
            <a:ext cx="582613" cy="903288"/>
            <a:chOff x="8102600" y="1497013"/>
            <a:chExt cx="582613" cy="903288"/>
          </a:xfrm>
        </p:grpSpPr>
        <p:sp>
          <p:nvSpPr>
            <p:cNvPr id="9192" name="AutoShape 6912"/>
            <p:cNvSpPr>
              <a:spLocks noChangeAspect="1" noChangeArrowheads="1" noTextEdit="1"/>
            </p:cNvSpPr>
            <p:nvPr/>
          </p:nvSpPr>
          <p:spPr bwMode="auto">
            <a:xfrm>
              <a:off x="8105775" y="1497013"/>
              <a:ext cx="576263" cy="8794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193" name="Oval 6914"/>
            <p:cNvSpPr>
              <a:spLocks noChangeArrowheads="1"/>
            </p:cNvSpPr>
            <p:nvPr/>
          </p:nvSpPr>
          <p:spPr bwMode="auto">
            <a:xfrm>
              <a:off x="8393113" y="1533526"/>
              <a:ext cx="276225" cy="217488"/>
            </a:xfrm>
            <a:prstGeom prst="ellipse">
              <a:avLst/>
            </a:prstGeom>
            <a:solidFill>
              <a:srgbClr val="E65A6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194" name="Oval 6915"/>
            <p:cNvSpPr>
              <a:spLocks noChangeArrowheads="1"/>
            </p:cNvSpPr>
            <p:nvPr/>
          </p:nvSpPr>
          <p:spPr bwMode="auto">
            <a:xfrm>
              <a:off x="8285163" y="1690688"/>
              <a:ext cx="217488" cy="161925"/>
            </a:xfrm>
            <a:prstGeom prst="ellipse">
              <a:avLst/>
            </a:prstGeom>
            <a:solidFill>
              <a:srgbClr val="FBB2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195" name="Oval 6916"/>
            <p:cNvSpPr>
              <a:spLocks noChangeArrowheads="1"/>
            </p:cNvSpPr>
            <p:nvPr/>
          </p:nvSpPr>
          <p:spPr bwMode="auto">
            <a:xfrm>
              <a:off x="8435975" y="1709738"/>
              <a:ext cx="249238" cy="160338"/>
            </a:xfrm>
            <a:prstGeom prst="ellipse">
              <a:avLst/>
            </a:prstGeom>
            <a:solidFill>
              <a:srgbClr val="FBB2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196" name="Oval 6917"/>
            <p:cNvSpPr>
              <a:spLocks noChangeArrowheads="1"/>
            </p:cNvSpPr>
            <p:nvPr/>
          </p:nvSpPr>
          <p:spPr bwMode="auto">
            <a:xfrm>
              <a:off x="8185150" y="1498601"/>
              <a:ext cx="258763" cy="252413"/>
            </a:xfrm>
            <a:prstGeom prst="ellipse">
              <a:avLst/>
            </a:prstGeom>
            <a:solidFill>
              <a:srgbClr val="E65A6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197" name="Oval 6918"/>
            <p:cNvSpPr>
              <a:spLocks noChangeArrowheads="1"/>
            </p:cNvSpPr>
            <p:nvPr/>
          </p:nvSpPr>
          <p:spPr bwMode="auto">
            <a:xfrm>
              <a:off x="8239125" y="1828801"/>
              <a:ext cx="242888" cy="244475"/>
            </a:xfrm>
            <a:prstGeom prst="ellipse">
              <a:avLst/>
            </a:prstGeom>
            <a:solidFill>
              <a:srgbClr val="FBB2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198" name="Oval 6919"/>
            <p:cNvSpPr>
              <a:spLocks noChangeArrowheads="1"/>
            </p:cNvSpPr>
            <p:nvPr/>
          </p:nvSpPr>
          <p:spPr bwMode="auto">
            <a:xfrm>
              <a:off x="8443913" y="1797051"/>
              <a:ext cx="241300" cy="219075"/>
            </a:xfrm>
            <a:prstGeom prst="ellipse">
              <a:avLst/>
            </a:prstGeom>
            <a:solidFill>
              <a:srgbClr val="FFE1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199" name="Oval 6920"/>
            <p:cNvSpPr>
              <a:spLocks noChangeArrowheads="1"/>
            </p:cNvSpPr>
            <p:nvPr/>
          </p:nvSpPr>
          <p:spPr bwMode="auto">
            <a:xfrm>
              <a:off x="8486775" y="1889126"/>
              <a:ext cx="146050" cy="114300"/>
            </a:xfrm>
            <a:prstGeom prst="ellipse">
              <a:avLst/>
            </a:prstGeom>
            <a:solidFill>
              <a:srgbClr val="FBB2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200" name="Oval 6921"/>
            <p:cNvSpPr>
              <a:spLocks noChangeArrowheads="1"/>
            </p:cNvSpPr>
            <p:nvPr/>
          </p:nvSpPr>
          <p:spPr bwMode="auto">
            <a:xfrm>
              <a:off x="8521700" y="1690688"/>
              <a:ext cx="111125" cy="120650"/>
            </a:xfrm>
            <a:prstGeom prst="ellipse">
              <a:avLst/>
            </a:prstGeom>
            <a:solidFill>
              <a:srgbClr val="FB88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201" name="Oval 6922"/>
            <p:cNvSpPr>
              <a:spLocks noChangeArrowheads="1"/>
            </p:cNvSpPr>
            <p:nvPr/>
          </p:nvSpPr>
          <p:spPr bwMode="auto">
            <a:xfrm>
              <a:off x="8443913" y="1570038"/>
              <a:ext cx="115888" cy="92075"/>
            </a:xfrm>
            <a:prstGeom prst="ellipse">
              <a:avLst/>
            </a:prstGeom>
            <a:solidFill>
              <a:srgbClr val="FBB2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202" name="Oval 6923"/>
            <p:cNvSpPr>
              <a:spLocks noChangeArrowheads="1"/>
            </p:cNvSpPr>
            <p:nvPr/>
          </p:nvSpPr>
          <p:spPr bwMode="auto">
            <a:xfrm>
              <a:off x="8297863" y="1570038"/>
              <a:ext cx="109538" cy="120650"/>
            </a:xfrm>
            <a:prstGeom prst="ellipse">
              <a:avLst/>
            </a:prstGeom>
            <a:solidFill>
              <a:srgbClr val="FBB2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203" name="Oval 6924"/>
            <p:cNvSpPr>
              <a:spLocks noChangeArrowheads="1"/>
            </p:cNvSpPr>
            <p:nvPr/>
          </p:nvSpPr>
          <p:spPr bwMode="auto">
            <a:xfrm>
              <a:off x="8278813" y="1690688"/>
              <a:ext cx="73025" cy="79375"/>
            </a:xfrm>
            <a:prstGeom prst="ellipse">
              <a:avLst/>
            </a:prstGeom>
            <a:solidFill>
              <a:srgbClr val="FFE1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204" name="Oval 6925"/>
            <p:cNvSpPr>
              <a:spLocks noChangeArrowheads="1"/>
            </p:cNvSpPr>
            <p:nvPr/>
          </p:nvSpPr>
          <p:spPr bwMode="auto">
            <a:xfrm>
              <a:off x="8185150" y="1889126"/>
              <a:ext cx="85725" cy="76200"/>
            </a:xfrm>
            <a:prstGeom prst="ellipse">
              <a:avLst/>
            </a:prstGeom>
            <a:solidFill>
              <a:srgbClr val="EF9A9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205" name="Oval 6926"/>
            <p:cNvSpPr>
              <a:spLocks noChangeArrowheads="1"/>
            </p:cNvSpPr>
            <p:nvPr/>
          </p:nvSpPr>
          <p:spPr bwMode="auto">
            <a:xfrm>
              <a:off x="8154988" y="1606551"/>
              <a:ext cx="101600" cy="125413"/>
            </a:xfrm>
            <a:prstGeom prst="ellipse">
              <a:avLst/>
            </a:prstGeom>
            <a:solidFill>
              <a:srgbClr val="FBB2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206" name="Oval 6927"/>
            <p:cNvSpPr>
              <a:spLocks noChangeArrowheads="1"/>
            </p:cNvSpPr>
            <p:nvPr/>
          </p:nvSpPr>
          <p:spPr bwMode="auto">
            <a:xfrm>
              <a:off x="8324850" y="1870076"/>
              <a:ext cx="74613" cy="95250"/>
            </a:xfrm>
            <a:prstGeom prst="ellipse">
              <a:avLst/>
            </a:prstGeom>
            <a:solidFill>
              <a:srgbClr val="EF9A9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207" name="Oval 6928"/>
            <p:cNvSpPr>
              <a:spLocks noChangeArrowheads="1"/>
            </p:cNvSpPr>
            <p:nvPr/>
          </p:nvSpPr>
          <p:spPr bwMode="auto">
            <a:xfrm>
              <a:off x="8256588" y="1820863"/>
              <a:ext cx="58738" cy="49213"/>
            </a:xfrm>
            <a:prstGeom prst="ellipse">
              <a:avLst/>
            </a:prstGeom>
            <a:solidFill>
              <a:srgbClr val="EF9A9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208" name="Oval 6929"/>
            <p:cNvSpPr>
              <a:spLocks noChangeArrowheads="1"/>
            </p:cNvSpPr>
            <p:nvPr/>
          </p:nvSpPr>
          <p:spPr bwMode="auto">
            <a:xfrm>
              <a:off x="8407400" y="1668463"/>
              <a:ext cx="73025" cy="82550"/>
            </a:xfrm>
            <a:prstGeom prst="ellipse">
              <a:avLst/>
            </a:prstGeom>
            <a:solidFill>
              <a:srgbClr val="FFE1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209" name="Oval 6930"/>
            <p:cNvSpPr>
              <a:spLocks noChangeArrowheads="1"/>
            </p:cNvSpPr>
            <p:nvPr/>
          </p:nvSpPr>
          <p:spPr bwMode="auto">
            <a:xfrm>
              <a:off x="8420100" y="1770063"/>
              <a:ext cx="47625" cy="50800"/>
            </a:xfrm>
            <a:prstGeom prst="ellipse">
              <a:avLst/>
            </a:prstGeom>
            <a:solidFill>
              <a:srgbClr val="FBB2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210" name="Oval 6931"/>
            <p:cNvSpPr>
              <a:spLocks noChangeArrowheads="1"/>
            </p:cNvSpPr>
            <p:nvPr/>
          </p:nvSpPr>
          <p:spPr bwMode="auto">
            <a:xfrm>
              <a:off x="8154988" y="1820863"/>
              <a:ext cx="66675" cy="68263"/>
            </a:xfrm>
            <a:prstGeom prst="ellipse">
              <a:avLst/>
            </a:prstGeom>
            <a:solidFill>
              <a:srgbClr val="AFE2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211" name="Oval 6932"/>
            <p:cNvSpPr>
              <a:spLocks noChangeArrowheads="1"/>
            </p:cNvSpPr>
            <p:nvPr/>
          </p:nvSpPr>
          <p:spPr bwMode="auto">
            <a:xfrm>
              <a:off x="8102600" y="1724026"/>
              <a:ext cx="168275" cy="219075"/>
            </a:xfrm>
            <a:prstGeom prst="ellipse">
              <a:avLst/>
            </a:prstGeom>
            <a:solidFill>
              <a:srgbClr val="E65A6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212" name="Freeform 6933"/>
            <p:cNvSpPr>
              <a:spLocks/>
            </p:cNvSpPr>
            <p:nvPr/>
          </p:nvSpPr>
          <p:spPr bwMode="auto">
            <a:xfrm>
              <a:off x="8347075" y="1724026"/>
              <a:ext cx="217488" cy="676275"/>
            </a:xfrm>
            <a:custGeom>
              <a:avLst/>
              <a:gdLst>
                <a:gd name="T0" fmla="*/ 10 w 90"/>
                <a:gd name="T1" fmla="*/ 261 h 279"/>
                <a:gd name="T2" fmla="*/ 90 w 90"/>
                <a:gd name="T3" fmla="*/ 261 h 279"/>
                <a:gd name="T4" fmla="*/ 43 w 90"/>
                <a:gd name="T5" fmla="*/ 71 h 279"/>
                <a:gd name="T6" fmla="*/ 0 w 90"/>
                <a:gd name="T7" fmla="*/ 0 h 279"/>
                <a:gd name="T8" fmla="*/ 41 w 90"/>
                <a:gd name="T9" fmla="*/ 181 h 279"/>
                <a:gd name="T10" fmla="*/ 10 w 90"/>
                <a:gd name="T11" fmla="*/ 261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0" h="279">
                  <a:moveTo>
                    <a:pt x="10" y="261"/>
                  </a:moveTo>
                  <a:cubicBezTo>
                    <a:pt x="10" y="261"/>
                    <a:pt x="45" y="279"/>
                    <a:pt x="90" y="261"/>
                  </a:cubicBezTo>
                  <a:cubicBezTo>
                    <a:pt x="90" y="261"/>
                    <a:pt x="59" y="99"/>
                    <a:pt x="43" y="71"/>
                  </a:cubicBezTo>
                  <a:cubicBezTo>
                    <a:pt x="43" y="71"/>
                    <a:pt x="30" y="28"/>
                    <a:pt x="0" y="0"/>
                  </a:cubicBezTo>
                  <a:cubicBezTo>
                    <a:pt x="0" y="0"/>
                    <a:pt x="50" y="73"/>
                    <a:pt x="41" y="181"/>
                  </a:cubicBezTo>
                  <a:cubicBezTo>
                    <a:pt x="41" y="181"/>
                    <a:pt x="34" y="241"/>
                    <a:pt x="10" y="261"/>
                  </a:cubicBezTo>
                  <a:close/>
                </a:path>
              </a:pathLst>
            </a:custGeom>
            <a:solidFill>
              <a:srgbClr val="543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213" name="Freeform 6934"/>
            <p:cNvSpPr>
              <a:spLocks/>
            </p:cNvSpPr>
            <p:nvPr/>
          </p:nvSpPr>
          <p:spPr bwMode="auto">
            <a:xfrm>
              <a:off x="8224838" y="1943101"/>
              <a:ext cx="219075" cy="60325"/>
            </a:xfrm>
            <a:custGeom>
              <a:avLst/>
              <a:gdLst>
                <a:gd name="T0" fmla="*/ 88 w 90"/>
                <a:gd name="T1" fmla="*/ 13 h 25"/>
                <a:gd name="T2" fmla="*/ 66 w 90"/>
                <a:gd name="T3" fmla="*/ 15 h 25"/>
                <a:gd name="T4" fmla="*/ 44 w 90"/>
                <a:gd name="T5" fmla="*/ 14 h 25"/>
                <a:gd name="T6" fmla="*/ 1 w 90"/>
                <a:gd name="T7" fmla="*/ 0 h 25"/>
                <a:gd name="T8" fmla="*/ 0 w 90"/>
                <a:gd name="T9" fmla="*/ 2 h 25"/>
                <a:gd name="T10" fmla="*/ 42 w 90"/>
                <a:gd name="T11" fmla="*/ 20 h 25"/>
                <a:gd name="T12" fmla="*/ 66 w 90"/>
                <a:gd name="T13" fmla="*/ 24 h 25"/>
                <a:gd name="T14" fmla="*/ 90 w 90"/>
                <a:gd name="T15" fmla="*/ 25 h 25"/>
                <a:gd name="T16" fmla="*/ 88 w 90"/>
                <a:gd name="T17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0" h="25">
                  <a:moveTo>
                    <a:pt x="88" y="13"/>
                  </a:moveTo>
                  <a:cubicBezTo>
                    <a:pt x="81" y="14"/>
                    <a:pt x="73" y="15"/>
                    <a:pt x="66" y="15"/>
                  </a:cubicBezTo>
                  <a:cubicBezTo>
                    <a:pt x="58" y="15"/>
                    <a:pt x="51" y="15"/>
                    <a:pt x="44" y="14"/>
                  </a:cubicBezTo>
                  <a:cubicBezTo>
                    <a:pt x="29" y="12"/>
                    <a:pt x="14" y="8"/>
                    <a:pt x="1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3" y="10"/>
                    <a:pt x="27" y="17"/>
                    <a:pt x="42" y="20"/>
                  </a:cubicBezTo>
                  <a:cubicBezTo>
                    <a:pt x="50" y="22"/>
                    <a:pt x="58" y="23"/>
                    <a:pt x="66" y="24"/>
                  </a:cubicBezTo>
                  <a:cubicBezTo>
                    <a:pt x="73" y="25"/>
                    <a:pt x="82" y="25"/>
                    <a:pt x="90" y="25"/>
                  </a:cubicBezTo>
                  <a:lnTo>
                    <a:pt x="88" y="13"/>
                  </a:lnTo>
                  <a:close/>
                </a:path>
              </a:pathLst>
            </a:custGeom>
            <a:solidFill>
              <a:srgbClr val="543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214" name="Freeform 6935"/>
            <p:cNvSpPr>
              <a:spLocks/>
            </p:cNvSpPr>
            <p:nvPr/>
          </p:nvSpPr>
          <p:spPr bwMode="auto">
            <a:xfrm>
              <a:off x="8435975" y="1657351"/>
              <a:ext cx="85725" cy="231775"/>
            </a:xfrm>
            <a:custGeom>
              <a:avLst/>
              <a:gdLst>
                <a:gd name="T0" fmla="*/ 5 w 35"/>
                <a:gd name="T1" fmla="*/ 96 h 96"/>
                <a:gd name="T2" fmla="*/ 19 w 35"/>
                <a:gd name="T3" fmla="*/ 71 h 96"/>
                <a:gd name="T4" fmla="*/ 28 w 35"/>
                <a:gd name="T5" fmla="*/ 48 h 96"/>
                <a:gd name="T6" fmla="*/ 34 w 35"/>
                <a:gd name="T7" fmla="*/ 24 h 96"/>
                <a:gd name="T8" fmla="*/ 34 w 35"/>
                <a:gd name="T9" fmla="*/ 0 h 96"/>
                <a:gd name="T10" fmla="*/ 33 w 35"/>
                <a:gd name="T11" fmla="*/ 0 h 96"/>
                <a:gd name="T12" fmla="*/ 31 w 35"/>
                <a:gd name="T13" fmla="*/ 24 h 96"/>
                <a:gd name="T14" fmla="*/ 24 w 35"/>
                <a:gd name="T15" fmla="*/ 47 h 96"/>
                <a:gd name="T16" fmla="*/ 13 w 35"/>
                <a:gd name="T17" fmla="*/ 68 h 96"/>
                <a:gd name="T18" fmla="*/ 0 w 35"/>
                <a:gd name="T19" fmla="*/ 88 h 96"/>
                <a:gd name="T20" fmla="*/ 5 w 35"/>
                <a:gd name="T21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" h="96">
                  <a:moveTo>
                    <a:pt x="5" y="96"/>
                  </a:moveTo>
                  <a:cubicBezTo>
                    <a:pt x="10" y="89"/>
                    <a:pt x="15" y="79"/>
                    <a:pt x="19" y="71"/>
                  </a:cubicBezTo>
                  <a:cubicBezTo>
                    <a:pt x="23" y="64"/>
                    <a:pt x="26" y="56"/>
                    <a:pt x="28" y="48"/>
                  </a:cubicBezTo>
                  <a:cubicBezTo>
                    <a:pt x="31" y="41"/>
                    <a:pt x="33" y="32"/>
                    <a:pt x="34" y="24"/>
                  </a:cubicBezTo>
                  <a:cubicBezTo>
                    <a:pt x="35" y="16"/>
                    <a:pt x="35" y="8"/>
                    <a:pt x="34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4" y="8"/>
                    <a:pt x="33" y="16"/>
                    <a:pt x="31" y="24"/>
                  </a:cubicBezTo>
                  <a:cubicBezTo>
                    <a:pt x="30" y="32"/>
                    <a:pt x="27" y="39"/>
                    <a:pt x="24" y="47"/>
                  </a:cubicBezTo>
                  <a:cubicBezTo>
                    <a:pt x="21" y="54"/>
                    <a:pt x="17" y="61"/>
                    <a:pt x="13" y="68"/>
                  </a:cubicBezTo>
                  <a:cubicBezTo>
                    <a:pt x="9" y="75"/>
                    <a:pt x="5" y="82"/>
                    <a:pt x="0" y="88"/>
                  </a:cubicBezTo>
                  <a:lnTo>
                    <a:pt x="5" y="96"/>
                  </a:lnTo>
                  <a:close/>
                </a:path>
              </a:pathLst>
            </a:custGeom>
            <a:solidFill>
              <a:srgbClr val="543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215" name="Freeform 6936"/>
            <p:cNvSpPr>
              <a:spLocks/>
            </p:cNvSpPr>
            <p:nvPr/>
          </p:nvSpPr>
          <p:spPr bwMode="auto">
            <a:xfrm>
              <a:off x="8383588" y="1636713"/>
              <a:ext cx="15875" cy="141288"/>
            </a:xfrm>
            <a:custGeom>
              <a:avLst/>
              <a:gdLst>
                <a:gd name="T0" fmla="*/ 4 w 7"/>
                <a:gd name="T1" fmla="*/ 58 h 58"/>
                <a:gd name="T2" fmla="*/ 7 w 7"/>
                <a:gd name="T3" fmla="*/ 42 h 58"/>
                <a:gd name="T4" fmla="*/ 7 w 7"/>
                <a:gd name="T5" fmla="*/ 28 h 58"/>
                <a:gd name="T6" fmla="*/ 3 w 7"/>
                <a:gd name="T7" fmla="*/ 0 h 58"/>
                <a:gd name="T8" fmla="*/ 1 w 7"/>
                <a:gd name="T9" fmla="*/ 0 h 58"/>
                <a:gd name="T10" fmla="*/ 5 w 7"/>
                <a:gd name="T11" fmla="*/ 28 h 58"/>
                <a:gd name="T12" fmla="*/ 3 w 7"/>
                <a:gd name="T13" fmla="*/ 41 h 58"/>
                <a:gd name="T14" fmla="*/ 0 w 7"/>
                <a:gd name="T15" fmla="*/ 55 h 58"/>
                <a:gd name="T16" fmla="*/ 4 w 7"/>
                <a:gd name="T17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58">
                  <a:moveTo>
                    <a:pt x="4" y="58"/>
                  </a:moveTo>
                  <a:cubicBezTo>
                    <a:pt x="5" y="53"/>
                    <a:pt x="6" y="47"/>
                    <a:pt x="7" y="42"/>
                  </a:cubicBezTo>
                  <a:cubicBezTo>
                    <a:pt x="7" y="37"/>
                    <a:pt x="7" y="32"/>
                    <a:pt x="7" y="28"/>
                  </a:cubicBezTo>
                  <a:cubicBezTo>
                    <a:pt x="7" y="18"/>
                    <a:pt x="6" y="9"/>
                    <a:pt x="3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4" y="9"/>
                    <a:pt x="5" y="18"/>
                    <a:pt x="5" y="28"/>
                  </a:cubicBezTo>
                  <a:cubicBezTo>
                    <a:pt x="4" y="32"/>
                    <a:pt x="4" y="37"/>
                    <a:pt x="3" y="41"/>
                  </a:cubicBezTo>
                  <a:cubicBezTo>
                    <a:pt x="2" y="46"/>
                    <a:pt x="1" y="50"/>
                    <a:pt x="0" y="55"/>
                  </a:cubicBezTo>
                  <a:lnTo>
                    <a:pt x="4" y="58"/>
                  </a:lnTo>
                  <a:close/>
                </a:path>
              </a:pathLst>
            </a:custGeom>
            <a:solidFill>
              <a:srgbClr val="543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216" name="Freeform 6937"/>
            <p:cNvSpPr>
              <a:spLocks/>
            </p:cNvSpPr>
            <p:nvPr/>
          </p:nvSpPr>
          <p:spPr bwMode="auto">
            <a:xfrm>
              <a:off x="8239125" y="1770063"/>
              <a:ext cx="168275" cy="82550"/>
            </a:xfrm>
            <a:custGeom>
              <a:avLst/>
              <a:gdLst>
                <a:gd name="T0" fmla="*/ 66 w 69"/>
                <a:gd name="T1" fmla="*/ 25 h 34"/>
                <a:gd name="T2" fmla="*/ 49 w 69"/>
                <a:gd name="T3" fmla="*/ 22 h 34"/>
                <a:gd name="T4" fmla="*/ 32 w 69"/>
                <a:gd name="T5" fmla="*/ 18 h 34"/>
                <a:gd name="T6" fmla="*/ 1 w 69"/>
                <a:gd name="T7" fmla="*/ 0 h 34"/>
                <a:gd name="T8" fmla="*/ 0 w 69"/>
                <a:gd name="T9" fmla="*/ 1 h 34"/>
                <a:gd name="T10" fmla="*/ 14 w 69"/>
                <a:gd name="T11" fmla="*/ 14 h 34"/>
                <a:gd name="T12" fmla="*/ 30 w 69"/>
                <a:gd name="T13" fmla="*/ 23 h 34"/>
                <a:gd name="T14" fmla="*/ 47 w 69"/>
                <a:gd name="T15" fmla="*/ 30 h 34"/>
                <a:gd name="T16" fmla="*/ 56 w 69"/>
                <a:gd name="T17" fmla="*/ 32 h 34"/>
                <a:gd name="T18" fmla="*/ 61 w 69"/>
                <a:gd name="T19" fmla="*/ 33 h 34"/>
                <a:gd name="T20" fmla="*/ 63 w 69"/>
                <a:gd name="T21" fmla="*/ 33 h 34"/>
                <a:gd name="T22" fmla="*/ 69 w 69"/>
                <a:gd name="T23" fmla="*/ 34 h 34"/>
                <a:gd name="T24" fmla="*/ 69 w 69"/>
                <a:gd name="T25" fmla="*/ 32 h 34"/>
                <a:gd name="T26" fmla="*/ 68 w 69"/>
                <a:gd name="T27" fmla="*/ 30 h 34"/>
                <a:gd name="T28" fmla="*/ 68 w 69"/>
                <a:gd name="T29" fmla="*/ 28 h 34"/>
                <a:gd name="T30" fmla="*/ 66 w 69"/>
                <a:gd name="T31" fmla="*/ 25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9" h="34">
                  <a:moveTo>
                    <a:pt x="66" y="25"/>
                  </a:moveTo>
                  <a:cubicBezTo>
                    <a:pt x="61" y="24"/>
                    <a:pt x="55" y="24"/>
                    <a:pt x="49" y="22"/>
                  </a:cubicBezTo>
                  <a:cubicBezTo>
                    <a:pt x="43" y="21"/>
                    <a:pt x="37" y="20"/>
                    <a:pt x="32" y="18"/>
                  </a:cubicBezTo>
                  <a:cubicBezTo>
                    <a:pt x="21" y="13"/>
                    <a:pt x="10" y="8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4" y="6"/>
                    <a:pt x="9" y="10"/>
                    <a:pt x="14" y="14"/>
                  </a:cubicBezTo>
                  <a:cubicBezTo>
                    <a:pt x="18" y="18"/>
                    <a:pt x="24" y="21"/>
                    <a:pt x="30" y="23"/>
                  </a:cubicBezTo>
                  <a:cubicBezTo>
                    <a:pt x="35" y="26"/>
                    <a:pt x="41" y="28"/>
                    <a:pt x="47" y="30"/>
                  </a:cubicBezTo>
                  <a:cubicBezTo>
                    <a:pt x="50" y="31"/>
                    <a:pt x="53" y="31"/>
                    <a:pt x="56" y="32"/>
                  </a:cubicBezTo>
                  <a:cubicBezTo>
                    <a:pt x="58" y="32"/>
                    <a:pt x="60" y="32"/>
                    <a:pt x="61" y="33"/>
                  </a:cubicBezTo>
                  <a:cubicBezTo>
                    <a:pt x="63" y="33"/>
                    <a:pt x="63" y="33"/>
                    <a:pt x="63" y="33"/>
                  </a:cubicBezTo>
                  <a:cubicBezTo>
                    <a:pt x="69" y="34"/>
                    <a:pt x="69" y="34"/>
                    <a:pt x="69" y="34"/>
                  </a:cubicBezTo>
                  <a:cubicBezTo>
                    <a:pt x="69" y="34"/>
                    <a:pt x="69" y="33"/>
                    <a:pt x="69" y="32"/>
                  </a:cubicBezTo>
                  <a:cubicBezTo>
                    <a:pt x="68" y="30"/>
                    <a:pt x="68" y="30"/>
                    <a:pt x="68" y="30"/>
                  </a:cubicBezTo>
                  <a:cubicBezTo>
                    <a:pt x="68" y="28"/>
                    <a:pt x="68" y="28"/>
                    <a:pt x="68" y="28"/>
                  </a:cubicBezTo>
                  <a:lnTo>
                    <a:pt x="66" y="25"/>
                  </a:lnTo>
                  <a:close/>
                </a:path>
              </a:pathLst>
            </a:custGeom>
            <a:solidFill>
              <a:srgbClr val="543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217" name="Oval 6938"/>
            <p:cNvSpPr>
              <a:spLocks noChangeArrowheads="1"/>
            </p:cNvSpPr>
            <p:nvPr/>
          </p:nvSpPr>
          <p:spPr bwMode="auto">
            <a:xfrm>
              <a:off x="8486775" y="1820863"/>
              <a:ext cx="73025" cy="68263"/>
            </a:xfrm>
            <a:prstGeom prst="ellipse">
              <a:avLst/>
            </a:prstGeom>
            <a:solidFill>
              <a:srgbClr val="FBB2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218" name="Oval 6939"/>
            <p:cNvSpPr>
              <a:spLocks noChangeArrowheads="1"/>
            </p:cNvSpPr>
            <p:nvPr/>
          </p:nvSpPr>
          <p:spPr bwMode="auto">
            <a:xfrm>
              <a:off x="8205788" y="1735138"/>
              <a:ext cx="69850" cy="71438"/>
            </a:xfrm>
            <a:prstGeom prst="ellipse">
              <a:avLst/>
            </a:prstGeom>
            <a:solidFill>
              <a:srgbClr val="FBB2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9310" name="AutoShape 7031"/>
          <p:cNvSpPr>
            <a:spLocks noChangeAspect="1" noChangeArrowheads="1" noTextEdit="1"/>
          </p:cNvSpPr>
          <p:nvPr/>
        </p:nvSpPr>
        <p:spPr bwMode="auto">
          <a:xfrm>
            <a:off x="8012113" y="3606800"/>
            <a:ext cx="962025" cy="1025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9311" name="Group 7233"/>
          <p:cNvGrpSpPr>
            <a:grpSpLocks/>
          </p:cNvGrpSpPr>
          <p:nvPr/>
        </p:nvGrpSpPr>
        <p:grpSpPr bwMode="auto">
          <a:xfrm>
            <a:off x="8058151" y="3605213"/>
            <a:ext cx="881063" cy="957263"/>
            <a:chOff x="5076" y="2271"/>
            <a:chExt cx="555" cy="603"/>
          </a:xfrm>
        </p:grpSpPr>
        <p:sp>
          <p:nvSpPr>
            <p:cNvPr id="10674" name="Rectangle 7033"/>
            <p:cNvSpPr>
              <a:spLocks noChangeArrowheads="1"/>
            </p:cNvSpPr>
            <p:nvPr/>
          </p:nvSpPr>
          <p:spPr bwMode="auto">
            <a:xfrm>
              <a:off x="5097" y="2473"/>
              <a:ext cx="500" cy="281"/>
            </a:xfrm>
            <a:prstGeom prst="rect">
              <a:avLst/>
            </a:prstGeom>
            <a:solidFill>
              <a:srgbClr val="7448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75" name="Rectangle 7034"/>
            <p:cNvSpPr>
              <a:spLocks noChangeArrowheads="1"/>
            </p:cNvSpPr>
            <p:nvPr/>
          </p:nvSpPr>
          <p:spPr bwMode="auto">
            <a:xfrm>
              <a:off x="5148" y="2495"/>
              <a:ext cx="32" cy="31"/>
            </a:xfrm>
            <a:prstGeom prst="rect">
              <a:avLst/>
            </a:prstGeom>
            <a:solidFill>
              <a:srgbClr val="1E34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76" name="Freeform 7035"/>
            <p:cNvSpPr>
              <a:spLocks noEditPoints="1"/>
            </p:cNvSpPr>
            <p:nvPr/>
          </p:nvSpPr>
          <p:spPr bwMode="auto">
            <a:xfrm>
              <a:off x="5146" y="2492"/>
              <a:ext cx="37" cy="38"/>
            </a:xfrm>
            <a:custGeom>
              <a:avLst/>
              <a:gdLst>
                <a:gd name="T0" fmla="*/ 37 w 37"/>
                <a:gd name="T1" fmla="*/ 38 h 38"/>
                <a:gd name="T2" fmla="*/ 0 w 37"/>
                <a:gd name="T3" fmla="*/ 38 h 38"/>
                <a:gd name="T4" fmla="*/ 0 w 37"/>
                <a:gd name="T5" fmla="*/ 0 h 38"/>
                <a:gd name="T6" fmla="*/ 37 w 37"/>
                <a:gd name="T7" fmla="*/ 0 h 38"/>
                <a:gd name="T8" fmla="*/ 37 w 37"/>
                <a:gd name="T9" fmla="*/ 38 h 38"/>
                <a:gd name="T10" fmla="*/ 6 w 37"/>
                <a:gd name="T11" fmla="*/ 32 h 38"/>
                <a:gd name="T12" fmla="*/ 31 w 37"/>
                <a:gd name="T13" fmla="*/ 32 h 38"/>
                <a:gd name="T14" fmla="*/ 31 w 37"/>
                <a:gd name="T15" fmla="*/ 6 h 38"/>
                <a:gd name="T16" fmla="*/ 6 w 37"/>
                <a:gd name="T17" fmla="*/ 6 h 38"/>
                <a:gd name="T18" fmla="*/ 6 w 37"/>
                <a:gd name="T19" fmla="*/ 32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" h="38">
                  <a:moveTo>
                    <a:pt x="37" y="38"/>
                  </a:moveTo>
                  <a:lnTo>
                    <a:pt x="0" y="38"/>
                  </a:lnTo>
                  <a:lnTo>
                    <a:pt x="0" y="0"/>
                  </a:lnTo>
                  <a:lnTo>
                    <a:pt x="37" y="0"/>
                  </a:lnTo>
                  <a:lnTo>
                    <a:pt x="37" y="38"/>
                  </a:lnTo>
                  <a:close/>
                  <a:moveTo>
                    <a:pt x="6" y="32"/>
                  </a:moveTo>
                  <a:lnTo>
                    <a:pt x="31" y="32"/>
                  </a:lnTo>
                  <a:lnTo>
                    <a:pt x="31" y="6"/>
                  </a:lnTo>
                  <a:lnTo>
                    <a:pt x="6" y="6"/>
                  </a:lnTo>
                  <a:lnTo>
                    <a:pt x="6" y="3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77" name="Rectangle 7036"/>
            <p:cNvSpPr>
              <a:spLocks noChangeArrowheads="1"/>
            </p:cNvSpPr>
            <p:nvPr/>
          </p:nvSpPr>
          <p:spPr bwMode="auto">
            <a:xfrm>
              <a:off x="5181" y="2495"/>
              <a:ext cx="31" cy="31"/>
            </a:xfrm>
            <a:prstGeom prst="rect">
              <a:avLst/>
            </a:prstGeom>
            <a:solidFill>
              <a:srgbClr val="1E34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78" name="Freeform 7037"/>
            <p:cNvSpPr>
              <a:spLocks noEditPoints="1"/>
            </p:cNvSpPr>
            <p:nvPr/>
          </p:nvSpPr>
          <p:spPr bwMode="auto">
            <a:xfrm>
              <a:off x="5177" y="2492"/>
              <a:ext cx="38" cy="38"/>
            </a:xfrm>
            <a:custGeom>
              <a:avLst/>
              <a:gdLst>
                <a:gd name="T0" fmla="*/ 38 w 38"/>
                <a:gd name="T1" fmla="*/ 38 h 38"/>
                <a:gd name="T2" fmla="*/ 0 w 38"/>
                <a:gd name="T3" fmla="*/ 38 h 38"/>
                <a:gd name="T4" fmla="*/ 0 w 38"/>
                <a:gd name="T5" fmla="*/ 0 h 38"/>
                <a:gd name="T6" fmla="*/ 38 w 38"/>
                <a:gd name="T7" fmla="*/ 0 h 38"/>
                <a:gd name="T8" fmla="*/ 38 w 38"/>
                <a:gd name="T9" fmla="*/ 38 h 38"/>
                <a:gd name="T10" fmla="*/ 6 w 38"/>
                <a:gd name="T11" fmla="*/ 32 h 38"/>
                <a:gd name="T12" fmla="*/ 32 w 38"/>
                <a:gd name="T13" fmla="*/ 32 h 38"/>
                <a:gd name="T14" fmla="*/ 32 w 38"/>
                <a:gd name="T15" fmla="*/ 6 h 38"/>
                <a:gd name="T16" fmla="*/ 6 w 38"/>
                <a:gd name="T17" fmla="*/ 6 h 38"/>
                <a:gd name="T18" fmla="*/ 6 w 38"/>
                <a:gd name="T19" fmla="*/ 32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" h="38">
                  <a:moveTo>
                    <a:pt x="38" y="38"/>
                  </a:moveTo>
                  <a:lnTo>
                    <a:pt x="0" y="38"/>
                  </a:lnTo>
                  <a:lnTo>
                    <a:pt x="0" y="0"/>
                  </a:lnTo>
                  <a:lnTo>
                    <a:pt x="38" y="0"/>
                  </a:lnTo>
                  <a:lnTo>
                    <a:pt x="38" y="38"/>
                  </a:lnTo>
                  <a:close/>
                  <a:moveTo>
                    <a:pt x="6" y="32"/>
                  </a:moveTo>
                  <a:lnTo>
                    <a:pt x="32" y="32"/>
                  </a:lnTo>
                  <a:lnTo>
                    <a:pt x="32" y="6"/>
                  </a:lnTo>
                  <a:lnTo>
                    <a:pt x="6" y="6"/>
                  </a:lnTo>
                  <a:lnTo>
                    <a:pt x="6" y="3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79" name="Rectangle 7038"/>
            <p:cNvSpPr>
              <a:spLocks noChangeArrowheads="1"/>
            </p:cNvSpPr>
            <p:nvPr/>
          </p:nvSpPr>
          <p:spPr bwMode="auto">
            <a:xfrm>
              <a:off x="5212" y="2495"/>
              <a:ext cx="32" cy="31"/>
            </a:xfrm>
            <a:prstGeom prst="rect">
              <a:avLst/>
            </a:prstGeom>
            <a:solidFill>
              <a:srgbClr val="1E34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80" name="Freeform 7039"/>
            <p:cNvSpPr>
              <a:spLocks noEditPoints="1"/>
            </p:cNvSpPr>
            <p:nvPr/>
          </p:nvSpPr>
          <p:spPr bwMode="auto">
            <a:xfrm>
              <a:off x="5210" y="2492"/>
              <a:ext cx="38" cy="38"/>
            </a:xfrm>
            <a:custGeom>
              <a:avLst/>
              <a:gdLst>
                <a:gd name="T0" fmla="*/ 38 w 38"/>
                <a:gd name="T1" fmla="*/ 38 h 38"/>
                <a:gd name="T2" fmla="*/ 0 w 38"/>
                <a:gd name="T3" fmla="*/ 38 h 38"/>
                <a:gd name="T4" fmla="*/ 0 w 38"/>
                <a:gd name="T5" fmla="*/ 0 h 38"/>
                <a:gd name="T6" fmla="*/ 38 w 38"/>
                <a:gd name="T7" fmla="*/ 0 h 38"/>
                <a:gd name="T8" fmla="*/ 38 w 38"/>
                <a:gd name="T9" fmla="*/ 38 h 38"/>
                <a:gd name="T10" fmla="*/ 6 w 38"/>
                <a:gd name="T11" fmla="*/ 32 h 38"/>
                <a:gd name="T12" fmla="*/ 32 w 38"/>
                <a:gd name="T13" fmla="*/ 32 h 38"/>
                <a:gd name="T14" fmla="*/ 32 w 38"/>
                <a:gd name="T15" fmla="*/ 6 h 38"/>
                <a:gd name="T16" fmla="*/ 6 w 38"/>
                <a:gd name="T17" fmla="*/ 6 h 38"/>
                <a:gd name="T18" fmla="*/ 6 w 38"/>
                <a:gd name="T19" fmla="*/ 32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" h="38">
                  <a:moveTo>
                    <a:pt x="38" y="38"/>
                  </a:moveTo>
                  <a:lnTo>
                    <a:pt x="0" y="38"/>
                  </a:lnTo>
                  <a:lnTo>
                    <a:pt x="0" y="0"/>
                  </a:lnTo>
                  <a:lnTo>
                    <a:pt x="38" y="0"/>
                  </a:lnTo>
                  <a:lnTo>
                    <a:pt x="38" y="38"/>
                  </a:lnTo>
                  <a:close/>
                  <a:moveTo>
                    <a:pt x="6" y="32"/>
                  </a:moveTo>
                  <a:lnTo>
                    <a:pt x="32" y="32"/>
                  </a:lnTo>
                  <a:lnTo>
                    <a:pt x="32" y="6"/>
                  </a:lnTo>
                  <a:lnTo>
                    <a:pt x="6" y="6"/>
                  </a:lnTo>
                  <a:lnTo>
                    <a:pt x="6" y="3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81" name="Rectangle 7040"/>
            <p:cNvSpPr>
              <a:spLocks noChangeArrowheads="1"/>
            </p:cNvSpPr>
            <p:nvPr/>
          </p:nvSpPr>
          <p:spPr bwMode="auto">
            <a:xfrm>
              <a:off x="5148" y="2526"/>
              <a:ext cx="32" cy="33"/>
            </a:xfrm>
            <a:prstGeom prst="rect">
              <a:avLst/>
            </a:prstGeom>
            <a:solidFill>
              <a:srgbClr val="1E34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82" name="Freeform 7041"/>
            <p:cNvSpPr>
              <a:spLocks noEditPoints="1"/>
            </p:cNvSpPr>
            <p:nvPr/>
          </p:nvSpPr>
          <p:spPr bwMode="auto">
            <a:xfrm>
              <a:off x="5146" y="2524"/>
              <a:ext cx="37" cy="38"/>
            </a:xfrm>
            <a:custGeom>
              <a:avLst/>
              <a:gdLst>
                <a:gd name="T0" fmla="*/ 37 w 37"/>
                <a:gd name="T1" fmla="*/ 38 h 38"/>
                <a:gd name="T2" fmla="*/ 0 w 37"/>
                <a:gd name="T3" fmla="*/ 38 h 38"/>
                <a:gd name="T4" fmla="*/ 0 w 37"/>
                <a:gd name="T5" fmla="*/ 0 h 38"/>
                <a:gd name="T6" fmla="*/ 37 w 37"/>
                <a:gd name="T7" fmla="*/ 0 h 38"/>
                <a:gd name="T8" fmla="*/ 37 w 37"/>
                <a:gd name="T9" fmla="*/ 38 h 38"/>
                <a:gd name="T10" fmla="*/ 6 w 37"/>
                <a:gd name="T11" fmla="*/ 31 h 38"/>
                <a:gd name="T12" fmla="*/ 31 w 37"/>
                <a:gd name="T13" fmla="*/ 31 h 38"/>
                <a:gd name="T14" fmla="*/ 31 w 37"/>
                <a:gd name="T15" fmla="*/ 6 h 38"/>
                <a:gd name="T16" fmla="*/ 6 w 37"/>
                <a:gd name="T17" fmla="*/ 6 h 38"/>
                <a:gd name="T18" fmla="*/ 6 w 37"/>
                <a:gd name="T19" fmla="*/ 3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" h="38">
                  <a:moveTo>
                    <a:pt x="37" y="38"/>
                  </a:moveTo>
                  <a:lnTo>
                    <a:pt x="0" y="38"/>
                  </a:lnTo>
                  <a:lnTo>
                    <a:pt x="0" y="0"/>
                  </a:lnTo>
                  <a:lnTo>
                    <a:pt x="37" y="0"/>
                  </a:lnTo>
                  <a:lnTo>
                    <a:pt x="37" y="38"/>
                  </a:lnTo>
                  <a:close/>
                  <a:moveTo>
                    <a:pt x="6" y="31"/>
                  </a:moveTo>
                  <a:lnTo>
                    <a:pt x="31" y="31"/>
                  </a:lnTo>
                  <a:lnTo>
                    <a:pt x="31" y="6"/>
                  </a:lnTo>
                  <a:lnTo>
                    <a:pt x="6" y="6"/>
                  </a:lnTo>
                  <a:lnTo>
                    <a:pt x="6" y="3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83" name="Rectangle 7042"/>
            <p:cNvSpPr>
              <a:spLocks noChangeArrowheads="1"/>
            </p:cNvSpPr>
            <p:nvPr/>
          </p:nvSpPr>
          <p:spPr bwMode="auto">
            <a:xfrm>
              <a:off x="5181" y="2526"/>
              <a:ext cx="31" cy="33"/>
            </a:xfrm>
            <a:prstGeom prst="rect">
              <a:avLst/>
            </a:prstGeom>
            <a:solidFill>
              <a:srgbClr val="1E34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84" name="Freeform 7043"/>
            <p:cNvSpPr>
              <a:spLocks noEditPoints="1"/>
            </p:cNvSpPr>
            <p:nvPr/>
          </p:nvSpPr>
          <p:spPr bwMode="auto">
            <a:xfrm>
              <a:off x="5177" y="2524"/>
              <a:ext cx="38" cy="38"/>
            </a:xfrm>
            <a:custGeom>
              <a:avLst/>
              <a:gdLst>
                <a:gd name="T0" fmla="*/ 38 w 38"/>
                <a:gd name="T1" fmla="*/ 38 h 38"/>
                <a:gd name="T2" fmla="*/ 0 w 38"/>
                <a:gd name="T3" fmla="*/ 38 h 38"/>
                <a:gd name="T4" fmla="*/ 0 w 38"/>
                <a:gd name="T5" fmla="*/ 0 h 38"/>
                <a:gd name="T6" fmla="*/ 38 w 38"/>
                <a:gd name="T7" fmla="*/ 0 h 38"/>
                <a:gd name="T8" fmla="*/ 38 w 38"/>
                <a:gd name="T9" fmla="*/ 38 h 38"/>
                <a:gd name="T10" fmla="*/ 6 w 38"/>
                <a:gd name="T11" fmla="*/ 31 h 38"/>
                <a:gd name="T12" fmla="*/ 32 w 38"/>
                <a:gd name="T13" fmla="*/ 31 h 38"/>
                <a:gd name="T14" fmla="*/ 32 w 38"/>
                <a:gd name="T15" fmla="*/ 6 h 38"/>
                <a:gd name="T16" fmla="*/ 6 w 38"/>
                <a:gd name="T17" fmla="*/ 6 h 38"/>
                <a:gd name="T18" fmla="*/ 6 w 38"/>
                <a:gd name="T19" fmla="*/ 3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" h="38">
                  <a:moveTo>
                    <a:pt x="38" y="38"/>
                  </a:moveTo>
                  <a:lnTo>
                    <a:pt x="0" y="38"/>
                  </a:lnTo>
                  <a:lnTo>
                    <a:pt x="0" y="0"/>
                  </a:lnTo>
                  <a:lnTo>
                    <a:pt x="38" y="0"/>
                  </a:lnTo>
                  <a:lnTo>
                    <a:pt x="38" y="38"/>
                  </a:lnTo>
                  <a:close/>
                  <a:moveTo>
                    <a:pt x="6" y="31"/>
                  </a:moveTo>
                  <a:lnTo>
                    <a:pt x="32" y="31"/>
                  </a:lnTo>
                  <a:lnTo>
                    <a:pt x="32" y="6"/>
                  </a:lnTo>
                  <a:lnTo>
                    <a:pt x="6" y="6"/>
                  </a:lnTo>
                  <a:lnTo>
                    <a:pt x="6" y="3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85" name="Rectangle 7044"/>
            <p:cNvSpPr>
              <a:spLocks noChangeArrowheads="1"/>
            </p:cNvSpPr>
            <p:nvPr/>
          </p:nvSpPr>
          <p:spPr bwMode="auto">
            <a:xfrm>
              <a:off x="5212" y="2526"/>
              <a:ext cx="32" cy="33"/>
            </a:xfrm>
            <a:prstGeom prst="rect">
              <a:avLst/>
            </a:prstGeom>
            <a:solidFill>
              <a:srgbClr val="1E34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86" name="Freeform 7045"/>
            <p:cNvSpPr>
              <a:spLocks noEditPoints="1"/>
            </p:cNvSpPr>
            <p:nvPr/>
          </p:nvSpPr>
          <p:spPr bwMode="auto">
            <a:xfrm>
              <a:off x="5210" y="2524"/>
              <a:ext cx="38" cy="38"/>
            </a:xfrm>
            <a:custGeom>
              <a:avLst/>
              <a:gdLst>
                <a:gd name="T0" fmla="*/ 38 w 38"/>
                <a:gd name="T1" fmla="*/ 38 h 38"/>
                <a:gd name="T2" fmla="*/ 0 w 38"/>
                <a:gd name="T3" fmla="*/ 38 h 38"/>
                <a:gd name="T4" fmla="*/ 0 w 38"/>
                <a:gd name="T5" fmla="*/ 0 h 38"/>
                <a:gd name="T6" fmla="*/ 38 w 38"/>
                <a:gd name="T7" fmla="*/ 0 h 38"/>
                <a:gd name="T8" fmla="*/ 38 w 38"/>
                <a:gd name="T9" fmla="*/ 38 h 38"/>
                <a:gd name="T10" fmla="*/ 6 w 38"/>
                <a:gd name="T11" fmla="*/ 31 h 38"/>
                <a:gd name="T12" fmla="*/ 32 w 38"/>
                <a:gd name="T13" fmla="*/ 31 h 38"/>
                <a:gd name="T14" fmla="*/ 32 w 38"/>
                <a:gd name="T15" fmla="*/ 6 h 38"/>
                <a:gd name="T16" fmla="*/ 6 w 38"/>
                <a:gd name="T17" fmla="*/ 6 h 38"/>
                <a:gd name="T18" fmla="*/ 6 w 38"/>
                <a:gd name="T19" fmla="*/ 3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" h="38">
                  <a:moveTo>
                    <a:pt x="38" y="38"/>
                  </a:moveTo>
                  <a:lnTo>
                    <a:pt x="0" y="38"/>
                  </a:lnTo>
                  <a:lnTo>
                    <a:pt x="0" y="0"/>
                  </a:lnTo>
                  <a:lnTo>
                    <a:pt x="38" y="0"/>
                  </a:lnTo>
                  <a:lnTo>
                    <a:pt x="38" y="38"/>
                  </a:lnTo>
                  <a:close/>
                  <a:moveTo>
                    <a:pt x="6" y="31"/>
                  </a:moveTo>
                  <a:lnTo>
                    <a:pt x="32" y="31"/>
                  </a:lnTo>
                  <a:lnTo>
                    <a:pt x="32" y="6"/>
                  </a:lnTo>
                  <a:lnTo>
                    <a:pt x="6" y="6"/>
                  </a:lnTo>
                  <a:lnTo>
                    <a:pt x="6" y="3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87" name="Rectangle 7046"/>
            <p:cNvSpPr>
              <a:spLocks noChangeArrowheads="1"/>
            </p:cNvSpPr>
            <p:nvPr/>
          </p:nvSpPr>
          <p:spPr bwMode="auto">
            <a:xfrm>
              <a:off x="5148" y="2559"/>
              <a:ext cx="32" cy="32"/>
            </a:xfrm>
            <a:prstGeom prst="rect">
              <a:avLst/>
            </a:prstGeom>
            <a:solidFill>
              <a:srgbClr val="1E34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88" name="Freeform 7047"/>
            <p:cNvSpPr>
              <a:spLocks noEditPoints="1"/>
            </p:cNvSpPr>
            <p:nvPr/>
          </p:nvSpPr>
          <p:spPr bwMode="auto">
            <a:xfrm>
              <a:off x="5146" y="2555"/>
              <a:ext cx="37" cy="38"/>
            </a:xfrm>
            <a:custGeom>
              <a:avLst/>
              <a:gdLst>
                <a:gd name="T0" fmla="*/ 37 w 37"/>
                <a:gd name="T1" fmla="*/ 38 h 38"/>
                <a:gd name="T2" fmla="*/ 0 w 37"/>
                <a:gd name="T3" fmla="*/ 38 h 38"/>
                <a:gd name="T4" fmla="*/ 0 w 37"/>
                <a:gd name="T5" fmla="*/ 0 h 38"/>
                <a:gd name="T6" fmla="*/ 37 w 37"/>
                <a:gd name="T7" fmla="*/ 0 h 38"/>
                <a:gd name="T8" fmla="*/ 37 w 37"/>
                <a:gd name="T9" fmla="*/ 38 h 38"/>
                <a:gd name="T10" fmla="*/ 6 w 37"/>
                <a:gd name="T11" fmla="*/ 32 h 38"/>
                <a:gd name="T12" fmla="*/ 31 w 37"/>
                <a:gd name="T13" fmla="*/ 32 h 38"/>
                <a:gd name="T14" fmla="*/ 31 w 37"/>
                <a:gd name="T15" fmla="*/ 7 h 38"/>
                <a:gd name="T16" fmla="*/ 6 w 37"/>
                <a:gd name="T17" fmla="*/ 7 h 38"/>
                <a:gd name="T18" fmla="*/ 6 w 37"/>
                <a:gd name="T19" fmla="*/ 32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" h="38">
                  <a:moveTo>
                    <a:pt x="37" y="38"/>
                  </a:moveTo>
                  <a:lnTo>
                    <a:pt x="0" y="38"/>
                  </a:lnTo>
                  <a:lnTo>
                    <a:pt x="0" y="0"/>
                  </a:lnTo>
                  <a:lnTo>
                    <a:pt x="37" y="0"/>
                  </a:lnTo>
                  <a:lnTo>
                    <a:pt x="37" y="38"/>
                  </a:lnTo>
                  <a:close/>
                  <a:moveTo>
                    <a:pt x="6" y="32"/>
                  </a:moveTo>
                  <a:lnTo>
                    <a:pt x="31" y="32"/>
                  </a:lnTo>
                  <a:lnTo>
                    <a:pt x="31" y="7"/>
                  </a:lnTo>
                  <a:lnTo>
                    <a:pt x="6" y="7"/>
                  </a:lnTo>
                  <a:lnTo>
                    <a:pt x="6" y="3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89" name="Rectangle 7048"/>
            <p:cNvSpPr>
              <a:spLocks noChangeArrowheads="1"/>
            </p:cNvSpPr>
            <p:nvPr/>
          </p:nvSpPr>
          <p:spPr bwMode="auto">
            <a:xfrm>
              <a:off x="5181" y="2559"/>
              <a:ext cx="31" cy="32"/>
            </a:xfrm>
            <a:prstGeom prst="rect">
              <a:avLst/>
            </a:prstGeom>
            <a:solidFill>
              <a:srgbClr val="1E34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90" name="Freeform 7049"/>
            <p:cNvSpPr>
              <a:spLocks noEditPoints="1"/>
            </p:cNvSpPr>
            <p:nvPr/>
          </p:nvSpPr>
          <p:spPr bwMode="auto">
            <a:xfrm>
              <a:off x="5177" y="2555"/>
              <a:ext cx="38" cy="38"/>
            </a:xfrm>
            <a:custGeom>
              <a:avLst/>
              <a:gdLst>
                <a:gd name="T0" fmla="*/ 38 w 38"/>
                <a:gd name="T1" fmla="*/ 38 h 38"/>
                <a:gd name="T2" fmla="*/ 0 w 38"/>
                <a:gd name="T3" fmla="*/ 38 h 38"/>
                <a:gd name="T4" fmla="*/ 0 w 38"/>
                <a:gd name="T5" fmla="*/ 0 h 38"/>
                <a:gd name="T6" fmla="*/ 38 w 38"/>
                <a:gd name="T7" fmla="*/ 0 h 38"/>
                <a:gd name="T8" fmla="*/ 38 w 38"/>
                <a:gd name="T9" fmla="*/ 38 h 38"/>
                <a:gd name="T10" fmla="*/ 6 w 38"/>
                <a:gd name="T11" fmla="*/ 32 h 38"/>
                <a:gd name="T12" fmla="*/ 32 w 38"/>
                <a:gd name="T13" fmla="*/ 32 h 38"/>
                <a:gd name="T14" fmla="*/ 32 w 38"/>
                <a:gd name="T15" fmla="*/ 7 h 38"/>
                <a:gd name="T16" fmla="*/ 6 w 38"/>
                <a:gd name="T17" fmla="*/ 7 h 38"/>
                <a:gd name="T18" fmla="*/ 6 w 38"/>
                <a:gd name="T19" fmla="*/ 32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" h="38">
                  <a:moveTo>
                    <a:pt x="38" y="38"/>
                  </a:moveTo>
                  <a:lnTo>
                    <a:pt x="0" y="38"/>
                  </a:lnTo>
                  <a:lnTo>
                    <a:pt x="0" y="0"/>
                  </a:lnTo>
                  <a:lnTo>
                    <a:pt x="38" y="0"/>
                  </a:lnTo>
                  <a:lnTo>
                    <a:pt x="38" y="38"/>
                  </a:lnTo>
                  <a:close/>
                  <a:moveTo>
                    <a:pt x="6" y="32"/>
                  </a:moveTo>
                  <a:lnTo>
                    <a:pt x="32" y="32"/>
                  </a:lnTo>
                  <a:lnTo>
                    <a:pt x="32" y="7"/>
                  </a:lnTo>
                  <a:lnTo>
                    <a:pt x="6" y="7"/>
                  </a:lnTo>
                  <a:lnTo>
                    <a:pt x="6" y="3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91" name="Rectangle 7050"/>
            <p:cNvSpPr>
              <a:spLocks noChangeArrowheads="1"/>
            </p:cNvSpPr>
            <p:nvPr/>
          </p:nvSpPr>
          <p:spPr bwMode="auto">
            <a:xfrm>
              <a:off x="5212" y="2559"/>
              <a:ext cx="32" cy="32"/>
            </a:xfrm>
            <a:prstGeom prst="rect">
              <a:avLst/>
            </a:prstGeom>
            <a:solidFill>
              <a:srgbClr val="1E34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92" name="Freeform 7051"/>
            <p:cNvSpPr>
              <a:spLocks noEditPoints="1"/>
            </p:cNvSpPr>
            <p:nvPr/>
          </p:nvSpPr>
          <p:spPr bwMode="auto">
            <a:xfrm>
              <a:off x="5210" y="2555"/>
              <a:ext cx="38" cy="38"/>
            </a:xfrm>
            <a:custGeom>
              <a:avLst/>
              <a:gdLst>
                <a:gd name="T0" fmla="*/ 38 w 38"/>
                <a:gd name="T1" fmla="*/ 38 h 38"/>
                <a:gd name="T2" fmla="*/ 0 w 38"/>
                <a:gd name="T3" fmla="*/ 38 h 38"/>
                <a:gd name="T4" fmla="*/ 0 w 38"/>
                <a:gd name="T5" fmla="*/ 0 h 38"/>
                <a:gd name="T6" fmla="*/ 38 w 38"/>
                <a:gd name="T7" fmla="*/ 0 h 38"/>
                <a:gd name="T8" fmla="*/ 38 w 38"/>
                <a:gd name="T9" fmla="*/ 38 h 38"/>
                <a:gd name="T10" fmla="*/ 6 w 38"/>
                <a:gd name="T11" fmla="*/ 32 h 38"/>
                <a:gd name="T12" fmla="*/ 32 w 38"/>
                <a:gd name="T13" fmla="*/ 32 h 38"/>
                <a:gd name="T14" fmla="*/ 32 w 38"/>
                <a:gd name="T15" fmla="*/ 7 h 38"/>
                <a:gd name="T16" fmla="*/ 6 w 38"/>
                <a:gd name="T17" fmla="*/ 7 h 38"/>
                <a:gd name="T18" fmla="*/ 6 w 38"/>
                <a:gd name="T19" fmla="*/ 32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" h="38">
                  <a:moveTo>
                    <a:pt x="38" y="38"/>
                  </a:moveTo>
                  <a:lnTo>
                    <a:pt x="0" y="38"/>
                  </a:lnTo>
                  <a:lnTo>
                    <a:pt x="0" y="0"/>
                  </a:lnTo>
                  <a:lnTo>
                    <a:pt x="38" y="0"/>
                  </a:lnTo>
                  <a:lnTo>
                    <a:pt x="38" y="38"/>
                  </a:lnTo>
                  <a:close/>
                  <a:moveTo>
                    <a:pt x="6" y="32"/>
                  </a:moveTo>
                  <a:lnTo>
                    <a:pt x="32" y="32"/>
                  </a:lnTo>
                  <a:lnTo>
                    <a:pt x="32" y="7"/>
                  </a:lnTo>
                  <a:lnTo>
                    <a:pt x="6" y="7"/>
                  </a:lnTo>
                  <a:lnTo>
                    <a:pt x="6" y="3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93" name="Rectangle 7052"/>
            <p:cNvSpPr>
              <a:spLocks noChangeArrowheads="1"/>
            </p:cNvSpPr>
            <p:nvPr/>
          </p:nvSpPr>
          <p:spPr bwMode="auto">
            <a:xfrm>
              <a:off x="5453" y="2495"/>
              <a:ext cx="32" cy="31"/>
            </a:xfrm>
            <a:prstGeom prst="rect">
              <a:avLst/>
            </a:prstGeom>
            <a:solidFill>
              <a:srgbClr val="1E34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94" name="Freeform 7053"/>
            <p:cNvSpPr>
              <a:spLocks noEditPoints="1"/>
            </p:cNvSpPr>
            <p:nvPr/>
          </p:nvSpPr>
          <p:spPr bwMode="auto">
            <a:xfrm>
              <a:off x="5450" y="2492"/>
              <a:ext cx="39" cy="38"/>
            </a:xfrm>
            <a:custGeom>
              <a:avLst/>
              <a:gdLst>
                <a:gd name="T0" fmla="*/ 39 w 39"/>
                <a:gd name="T1" fmla="*/ 38 h 38"/>
                <a:gd name="T2" fmla="*/ 0 w 39"/>
                <a:gd name="T3" fmla="*/ 38 h 38"/>
                <a:gd name="T4" fmla="*/ 0 w 39"/>
                <a:gd name="T5" fmla="*/ 0 h 38"/>
                <a:gd name="T6" fmla="*/ 39 w 39"/>
                <a:gd name="T7" fmla="*/ 0 h 38"/>
                <a:gd name="T8" fmla="*/ 39 w 39"/>
                <a:gd name="T9" fmla="*/ 38 h 38"/>
                <a:gd name="T10" fmla="*/ 7 w 39"/>
                <a:gd name="T11" fmla="*/ 32 h 38"/>
                <a:gd name="T12" fmla="*/ 33 w 39"/>
                <a:gd name="T13" fmla="*/ 32 h 38"/>
                <a:gd name="T14" fmla="*/ 33 w 39"/>
                <a:gd name="T15" fmla="*/ 6 h 38"/>
                <a:gd name="T16" fmla="*/ 7 w 39"/>
                <a:gd name="T17" fmla="*/ 6 h 38"/>
                <a:gd name="T18" fmla="*/ 7 w 39"/>
                <a:gd name="T19" fmla="*/ 32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9" h="38">
                  <a:moveTo>
                    <a:pt x="39" y="38"/>
                  </a:moveTo>
                  <a:lnTo>
                    <a:pt x="0" y="38"/>
                  </a:lnTo>
                  <a:lnTo>
                    <a:pt x="0" y="0"/>
                  </a:lnTo>
                  <a:lnTo>
                    <a:pt x="39" y="0"/>
                  </a:lnTo>
                  <a:lnTo>
                    <a:pt x="39" y="38"/>
                  </a:lnTo>
                  <a:close/>
                  <a:moveTo>
                    <a:pt x="7" y="32"/>
                  </a:moveTo>
                  <a:lnTo>
                    <a:pt x="33" y="32"/>
                  </a:lnTo>
                  <a:lnTo>
                    <a:pt x="33" y="6"/>
                  </a:lnTo>
                  <a:lnTo>
                    <a:pt x="7" y="6"/>
                  </a:lnTo>
                  <a:lnTo>
                    <a:pt x="7" y="3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95" name="Rectangle 7054"/>
            <p:cNvSpPr>
              <a:spLocks noChangeArrowheads="1"/>
            </p:cNvSpPr>
            <p:nvPr/>
          </p:nvSpPr>
          <p:spPr bwMode="auto">
            <a:xfrm>
              <a:off x="5486" y="2495"/>
              <a:ext cx="32" cy="31"/>
            </a:xfrm>
            <a:prstGeom prst="rect">
              <a:avLst/>
            </a:prstGeom>
            <a:solidFill>
              <a:srgbClr val="1E34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96" name="Freeform 7055"/>
            <p:cNvSpPr>
              <a:spLocks noEditPoints="1"/>
            </p:cNvSpPr>
            <p:nvPr/>
          </p:nvSpPr>
          <p:spPr bwMode="auto">
            <a:xfrm>
              <a:off x="5483" y="2492"/>
              <a:ext cx="37" cy="38"/>
            </a:xfrm>
            <a:custGeom>
              <a:avLst/>
              <a:gdLst>
                <a:gd name="T0" fmla="*/ 37 w 37"/>
                <a:gd name="T1" fmla="*/ 38 h 38"/>
                <a:gd name="T2" fmla="*/ 0 w 37"/>
                <a:gd name="T3" fmla="*/ 38 h 38"/>
                <a:gd name="T4" fmla="*/ 0 w 37"/>
                <a:gd name="T5" fmla="*/ 0 h 38"/>
                <a:gd name="T6" fmla="*/ 37 w 37"/>
                <a:gd name="T7" fmla="*/ 0 h 38"/>
                <a:gd name="T8" fmla="*/ 37 w 37"/>
                <a:gd name="T9" fmla="*/ 38 h 38"/>
                <a:gd name="T10" fmla="*/ 6 w 37"/>
                <a:gd name="T11" fmla="*/ 32 h 38"/>
                <a:gd name="T12" fmla="*/ 31 w 37"/>
                <a:gd name="T13" fmla="*/ 32 h 38"/>
                <a:gd name="T14" fmla="*/ 31 w 37"/>
                <a:gd name="T15" fmla="*/ 6 h 38"/>
                <a:gd name="T16" fmla="*/ 6 w 37"/>
                <a:gd name="T17" fmla="*/ 6 h 38"/>
                <a:gd name="T18" fmla="*/ 6 w 37"/>
                <a:gd name="T19" fmla="*/ 32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" h="38">
                  <a:moveTo>
                    <a:pt x="37" y="38"/>
                  </a:moveTo>
                  <a:lnTo>
                    <a:pt x="0" y="38"/>
                  </a:lnTo>
                  <a:lnTo>
                    <a:pt x="0" y="0"/>
                  </a:lnTo>
                  <a:lnTo>
                    <a:pt x="37" y="0"/>
                  </a:lnTo>
                  <a:lnTo>
                    <a:pt x="37" y="38"/>
                  </a:lnTo>
                  <a:close/>
                  <a:moveTo>
                    <a:pt x="6" y="32"/>
                  </a:moveTo>
                  <a:lnTo>
                    <a:pt x="31" y="32"/>
                  </a:lnTo>
                  <a:lnTo>
                    <a:pt x="31" y="6"/>
                  </a:lnTo>
                  <a:lnTo>
                    <a:pt x="6" y="6"/>
                  </a:lnTo>
                  <a:lnTo>
                    <a:pt x="6" y="3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97" name="Rectangle 7056"/>
            <p:cNvSpPr>
              <a:spLocks noChangeArrowheads="1"/>
            </p:cNvSpPr>
            <p:nvPr/>
          </p:nvSpPr>
          <p:spPr bwMode="auto">
            <a:xfrm>
              <a:off x="5518" y="2495"/>
              <a:ext cx="32" cy="31"/>
            </a:xfrm>
            <a:prstGeom prst="rect">
              <a:avLst/>
            </a:prstGeom>
            <a:solidFill>
              <a:srgbClr val="1E34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98" name="Freeform 7057"/>
            <p:cNvSpPr>
              <a:spLocks noEditPoints="1"/>
            </p:cNvSpPr>
            <p:nvPr/>
          </p:nvSpPr>
          <p:spPr bwMode="auto">
            <a:xfrm>
              <a:off x="5514" y="2492"/>
              <a:ext cx="39" cy="38"/>
            </a:xfrm>
            <a:custGeom>
              <a:avLst/>
              <a:gdLst>
                <a:gd name="T0" fmla="*/ 39 w 39"/>
                <a:gd name="T1" fmla="*/ 38 h 38"/>
                <a:gd name="T2" fmla="*/ 0 w 39"/>
                <a:gd name="T3" fmla="*/ 38 h 38"/>
                <a:gd name="T4" fmla="*/ 0 w 39"/>
                <a:gd name="T5" fmla="*/ 0 h 38"/>
                <a:gd name="T6" fmla="*/ 39 w 39"/>
                <a:gd name="T7" fmla="*/ 0 h 38"/>
                <a:gd name="T8" fmla="*/ 39 w 39"/>
                <a:gd name="T9" fmla="*/ 38 h 38"/>
                <a:gd name="T10" fmla="*/ 8 w 39"/>
                <a:gd name="T11" fmla="*/ 32 h 38"/>
                <a:gd name="T12" fmla="*/ 33 w 39"/>
                <a:gd name="T13" fmla="*/ 32 h 38"/>
                <a:gd name="T14" fmla="*/ 33 w 39"/>
                <a:gd name="T15" fmla="*/ 6 h 38"/>
                <a:gd name="T16" fmla="*/ 8 w 39"/>
                <a:gd name="T17" fmla="*/ 6 h 38"/>
                <a:gd name="T18" fmla="*/ 8 w 39"/>
                <a:gd name="T19" fmla="*/ 32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9" h="38">
                  <a:moveTo>
                    <a:pt x="39" y="38"/>
                  </a:moveTo>
                  <a:lnTo>
                    <a:pt x="0" y="38"/>
                  </a:lnTo>
                  <a:lnTo>
                    <a:pt x="0" y="0"/>
                  </a:lnTo>
                  <a:lnTo>
                    <a:pt x="39" y="0"/>
                  </a:lnTo>
                  <a:lnTo>
                    <a:pt x="39" y="38"/>
                  </a:lnTo>
                  <a:close/>
                  <a:moveTo>
                    <a:pt x="8" y="32"/>
                  </a:moveTo>
                  <a:lnTo>
                    <a:pt x="33" y="32"/>
                  </a:lnTo>
                  <a:lnTo>
                    <a:pt x="33" y="6"/>
                  </a:lnTo>
                  <a:lnTo>
                    <a:pt x="8" y="6"/>
                  </a:lnTo>
                  <a:lnTo>
                    <a:pt x="8" y="3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99" name="Rectangle 7058"/>
            <p:cNvSpPr>
              <a:spLocks noChangeArrowheads="1"/>
            </p:cNvSpPr>
            <p:nvPr/>
          </p:nvSpPr>
          <p:spPr bwMode="auto">
            <a:xfrm>
              <a:off x="5453" y="2526"/>
              <a:ext cx="32" cy="33"/>
            </a:xfrm>
            <a:prstGeom prst="rect">
              <a:avLst/>
            </a:prstGeom>
            <a:solidFill>
              <a:srgbClr val="1E34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00" name="Freeform 7059"/>
            <p:cNvSpPr>
              <a:spLocks noEditPoints="1"/>
            </p:cNvSpPr>
            <p:nvPr/>
          </p:nvSpPr>
          <p:spPr bwMode="auto">
            <a:xfrm>
              <a:off x="5450" y="2524"/>
              <a:ext cx="39" cy="38"/>
            </a:xfrm>
            <a:custGeom>
              <a:avLst/>
              <a:gdLst>
                <a:gd name="T0" fmla="*/ 39 w 39"/>
                <a:gd name="T1" fmla="*/ 38 h 38"/>
                <a:gd name="T2" fmla="*/ 0 w 39"/>
                <a:gd name="T3" fmla="*/ 38 h 38"/>
                <a:gd name="T4" fmla="*/ 0 w 39"/>
                <a:gd name="T5" fmla="*/ 0 h 38"/>
                <a:gd name="T6" fmla="*/ 39 w 39"/>
                <a:gd name="T7" fmla="*/ 0 h 38"/>
                <a:gd name="T8" fmla="*/ 39 w 39"/>
                <a:gd name="T9" fmla="*/ 38 h 38"/>
                <a:gd name="T10" fmla="*/ 7 w 39"/>
                <a:gd name="T11" fmla="*/ 31 h 38"/>
                <a:gd name="T12" fmla="*/ 33 w 39"/>
                <a:gd name="T13" fmla="*/ 31 h 38"/>
                <a:gd name="T14" fmla="*/ 33 w 39"/>
                <a:gd name="T15" fmla="*/ 6 h 38"/>
                <a:gd name="T16" fmla="*/ 7 w 39"/>
                <a:gd name="T17" fmla="*/ 6 h 38"/>
                <a:gd name="T18" fmla="*/ 7 w 39"/>
                <a:gd name="T19" fmla="*/ 3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9" h="38">
                  <a:moveTo>
                    <a:pt x="39" y="38"/>
                  </a:moveTo>
                  <a:lnTo>
                    <a:pt x="0" y="38"/>
                  </a:lnTo>
                  <a:lnTo>
                    <a:pt x="0" y="0"/>
                  </a:lnTo>
                  <a:lnTo>
                    <a:pt x="39" y="0"/>
                  </a:lnTo>
                  <a:lnTo>
                    <a:pt x="39" y="38"/>
                  </a:lnTo>
                  <a:close/>
                  <a:moveTo>
                    <a:pt x="7" y="31"/>
                  </a:moveTo>
                  <a:lnTo>
                    <a:pt x="33" y="31"/>
                  </a:lnTo>
                  <a:lnTo>
                    <a:pt x="33" y="6"/>
                  </a:lnTo>
                  <a:lnTo>
                    <a:pt x="7" y="6"/>
                  </a:lnTo>
                  <a:lnTo>
                    <a:pt x="7" y="3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01" name="Rectangle 7060"/>
            <p:cNvSpPr>
              <a:spLocks noChangeArrowheads="1"/>
            </p:cNvSpPr>
            <p:nvPr/>
          </p:nvSpPr>
          <p:spPr bwMode="auto">
            <a:xfrm>
              <a:off x="5486" y="2526"/>
              <a:ext cx="32" cy="33"/>
            </a:xfrm>
            <a:prstGeom prst="rect">
              <a:avLst/>
            </a:prstGeom>
            <a:solidFill>
              <a:srgbClr val="1E34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02" name="Freeform 7061"/>
            <p:cNvSpPr>
              <a:spLocks noEditPoints="1"/>
            </p:cNvSpPr>
            <p:nvPr/>
          </p:nvSpPr>
          <p:spPr bwMode="auto">
            <a:xfrm>
              <a:off x="5483" y="2524"/>
              <a:ext cx="37" cy="38"/>
            </a:xfrm>
            <a:custGeom>
              <a:avLst/>
              <a:gdLst>
                <a:gd name="T0" fmla="*/ 37 w 37"/>
                <a:gd name="T1" fmla="*/ 38 h 38"/>
                <a:gd name="T2" fmla="*/ 0 w 37"/>
                <a:gd name="T3" fmla="*/ 38 h 38"/>
                <a:gd name="T4" fmla="*/ 0 w 37"/>
                <a:gd name="T5" fmla="*/ 0 h 38"/>
                <a:gd name="T6" fmla="*/ 37 w 37"/>
                <a:gd name="T7" fmla="*/ 0 h 38"/>
                <a:gd name="T8" fmla="*/ 37 w 37"/>
                <a:gd name="T9" fmla="*/ 38 h 38"/>
                <a:gd name="T10" fmla="*/ 6 w 37"/>
                <a:gd name="T11" fmla="*/ 31 h 38"/>
                <a:gd name="T12" fmla="*/ 31 w 37"/>
                <a:gd name="T13" fmla="*/ 31 h 38"/>
                <a:gd name="T14" fmla="*/ 31 w 37"/>
                <a:gd name="T15" fmla="*/ 6 h 38"/>
                <a:gd name="T16" fmla="*/ 6 w 37"/>
                <a:gd name="T17" fmla="*/ 6 h 38"/>
                <a:gd name="T18" fmla="*/ 6 w 37"/>
                <a:gd name="T19" fmla="*/ 3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" h="38">
                  <a:moveTo>
                    <a:pt x="37" y="38"/>
                  </a:moveTo>
                  <a:lnTo>
                    <a:pt x="0" y="38"/>
                  </a:lnTo>
                  <a:lnTo>
                    <a:pt x="0" y="0"/>
                  </a:lnTo>
                  <a:lnTo>
                    <a:pt x="37" y="0"/>
                  </a:lnTo>
                  <a:lnTo>
                    <a:pt x="37" y="38"/>
                  </a:lnTo>
                  <a:close/>
                  <a:moveTo>
                    <a:pt x="6" y="31"/>
                  </a:moveTo>
                  <a:lnTo>
                    <a:pt x="31" y="31"/>
                  </a:lnTo>
                  <a:lnTo>
                    <a:pt x="31" y="6"/>
                  </a:lnTo>
                  <a:lnTo>
                    <a:pt x="6" y="6"/>
                  </a:lnTo>
                  <a:lnTo>
                    <a:pt x="6" y="3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03" name="Rectangle 7062"/>
            <p:cNvSpPr>
              <a:spLocks noChangeArrowheads="1"/>
            </p:cNvSpPr>
            <p:nvPr/>
          </p:nvSpPr>
          <p:spPr bwMode="auto">
            <a:xfrm>
              <a:off x="5518" y="2526"/>
              <a:ext cx="32" cy="33"/>
            </a:xfrm>
            <a:prstGeom prst="rect">
              <a:avLst/>
            </a:prstGeom>
            <a:solidFill>
              <a:srgbClr val="1E34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04" name="Freeform 7063"/>
            <p:cNvSpPr>
              <a:spLocks noEditPoints="1"/>
            </p:cNvSpPr>
            <p:nvPr/>
          </p:nvSpPr>
          <p:spPr bwMode="auto">
            <a:xfrm>
              <a:off x="5514" y="2524"/>
              <a:ext cx="39" cy="38"/>
            </a:xfrm>
            <a:custGeom>
              <a:avLst/>
              <a:gdLst>
                <a:gd name="T0" fmla="*/ 39 w 39"/>
                <a:gd name="T1" fmla="*/ 38 h 38"/>
                <a:gd name="T2" fmla="*/ 0 w 39"/>
                <a:gd name="T3" fmla="*/ 38 h 38"/>
                <a:gd name="T4" fmla="*/ 0 w 39"/>
                <a:gd name="T5" fmla="*/ 0 h 38"/>
                <a:gd name="T6" fmla="*/ 39 w 39"/>
                <a:gd name="T7" fmla="*/ 0 h 38"/>
                <a:gd name="T8" fmla="*/ 39 w 39"/>
                <a:gd name="T9" fmla="*/ 38 h 38"/>
                <a:gd name="T10" fmla="*/ 8 w 39"/>
                <a:gd name="T11" fmla="*/ 31 h 38"/>
                <a:gd name="T12" fmla="*/ 33 w 39"/>
                <a:gd name="T13" fmla="*/ 31 h 38"/>
                <a:gd name="T14" fmla="*/ 33 w 39"/>
                <a:gd name="T15" fmla="*/ 6 h 38"/>
                <a:gd name="T16" fmla="*/ 8 w 39"/>
                <a:gd name="T17" fmla="*/ 6 h 38"/>
                <a:gd name="T18" fmla="*/ 8 w 39"/>
                <a:gd name="T19" fmla="*/ 3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9" h="38">
                  <a:moveTo>
                    <a:pt x="39" y="38"/>
                  </a:moveTo>
                  <a:lnTo>
                    <a:pt x="0" y="38"/>
                  </a:lnTo>
                  <a:lnTo>
                    <a:pt x="0" y="0"/>
                  </a:lnTo>
                  <a:lnTo>
                    <a:pt x="39" y="0"/>
                  </a:lnTo>
                  <a:lnTo>
                    <a:pt x="39" y="38"/>
                  </a:lnTo>
                  <a:close/>
                  <a:moveTo>
                    <a:pt x="8" y="31"/>
                  </a:moveTo>
                  <a:lnTo>
                    <a:pt x="33" y="31"/>
                  </a:lnTo>
                  <a:lnTo>
                    <a:pt x="33" y="6"/>
                  </a:lnTo>
                  <a:lnTo>
                    <a:pt x="8" y="6"/>
                  </a:lnTo>
                  <a:lnTo>
                    <a:pt x="8" y="3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05" name="Rectangle 7064"/>
            <p:cNvSpPr>
              <a:spLocks noChangeArrowheads="1"/>
            </p:cNvSpPr>
            <p:nvPr/>
          </p:nvSpPr>
          <p:spPr bwMode="auto">
            <a:xfrm>
              <a:off x="5453" y="2559"/>
              <a:ext cx="32" cy="32"/>
            </a:xfrm>
            <a:prstGeom prst="rect">
              <a:avLst/>
            </a:prstGeom>
            <a:solidFill>
              <a:srgbClr val="1E34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06" name="Freeform 7065"/>
            <p:cNvSpPr>
              <a:spLocks noEditPoints="1"/>
            </p:cNvSpPr>
            <p:nvPr/>
          </p:nvSpPr>
          <p:spPr bwMode="auto">
            <a:xfrm>
              <a:off x="5450" y="2555"/>
              <a:ext cx="39" cy="38"/>
            </a:xfrm>
            <a:custGeom>
              <a:avLst/>
              <a:gdLst>
                <a:gd name="T0" fmla="*/ 39 w 39"/>
                <a:gd name="T1" fmla="*/ 38 h 38"/>
                <a:gd name="T2" fmla="*/ 0 w 39"/>
                <a:gd name="T3" fmla="*/ 38 h 38"/>
                <a:gd name="T4" fmla="*/ 0 w 39"/>
                <a:gd name="T5" fmla="*/ 0 h 38"/>
                <a:gd name="T6" fmla="*/ 39 w 39"/>
                <a:gd name="T7" fmla="*/ 0 h 38"/>
                <a:gd name="T8" fmla="*/ 39 w 39"/>
                <a:gd name="T9" fmla="*/ 38 h 38"/>
                <a:gd name="T10" fmla="*/ 7 w 39"/>
                <a:gd name="T11" fmla="*/ 32 h 38"/>
                <a:gd name="T12" fmla="*/ 33 w 39"/>
                <a:gd name="T13" fmla="*/ 32 h 38"/>
                <a:gd name="T14" fmla="*/ 33 w 39"/>
                <a:gd name="T15" fmla="*/ 7 h 38"/>
                <a:gd name="T16" fmla="*/ 7 w 39"/>
                <a:gd name="T17" fmla="*/ 7 h 38"/>
                <a:gd name="T18" fmla="*/ 7 w 39"/>
                <a:gd name="T19" fmla="*/ 32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9" h="38">
                  <a:moveTo>
                    <a:pt x="39" y="38"/>
                  </a:moveTo>
                  <a:lnTo>
                    <a:pt x="0" y="38"/>
                  </a:lnTo>
                  <a:lnTo>
                    <a:pt x="0" y="0"/>
                  </a:lnTo>
                  <a:lnTo>
                    <a:pt x="39" y="0"/>
                  </a:lnTo>
                  <a:lnTo>
                    <a:pt x="39" y="38"/>
                  </a:lnTo>
                  <a:close/>
                  <a:moveTo>
                    <a:pt x="7" y="32"/>
                  </a:moveTo>
                  <a:lnTo>
                    <a:pt x="33" y="32"/>
                  </a:lnTo>
                  <a:lnTo>
                    <a:pt x="33" y="7"/>
                  </a:lnTo>
                  <a:lnTo>
                    <a:pt x="7" y="7"/>
                  </a:lnTo>
                  <a:lnTo>
                    <a:pt x="7" y="3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07" name="Rectangle 7066"/>
            <p:cNvSpPr>
              <a:spLocks noChangeArrowheads="1"/>
            </p:cNvSpPr>
            <p:nvPr/>
          </p:nvSpPr>
          <p:spPr bwMode="auto">
            <a:xfrm>
              <a:off x="5486" y="2559"/>
              <a:ext cx="32" cy="32"/>
            </a:xfrm>
            <a:prstGeom prst="rect">
              <a:avLst/>
            </a:prstGeom>
            <a:solidFill>
              <a:srgbClr val="1E34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08" name="Freeform 7067"/>
            <p:cNvSpPr>
              <a:spLocks noEditPoints="1"/>
            </p:cNvSpPr>
            <p:nvPr/>
          </p:nvSpPr>
          <p:spPr bwMode="auto">
            <a:xfrm>
              <a:off x="5483" y="2555"/>
              <a:ext cx="37" cy="38"/>
            </a:xfrm>
            <a:custGeom>
              <a:avLst/>
              <a:gdLst>
                <a:gd name="T0" fmla="*/ 37 w 37"/>
                <a:gd name="T1" fmla="*/ 38 h 38"/>
                <a:gd name="T2" fmla="*/ 0 w 37"/>
                <a:gd name="T3" fmla="*/ 38 h 38"/>
                <a:gd name="T4" fmla="*/ 0 w 37"/>
                <a:gd name="T5" fmla="*/ 0 h 38"/>
                <a:gd name="T6" fmla="*/ 37 w 37"/>
                <a:gd name="T7" fmla="*/ 0 h 38"/>
                <a:gd name="T8" fmla="*/ 37 w 37"/>
                <a:gd name="T9" fmla="*/ 38 h 38"/>
                <a:gd name="T10" fmla="*/ 6 w 37"/>
                <a:gd name="T11" fmla="*/ 32 h 38"/>
                <a:gd name="T12" fmla="*/ 31 w 37"/>
                <a:gd name="T13" fmla="*/ 32 h 38"/>
                <a:gd name="T14" fmla="*/ 31 w 37"/>
                <a:gd name="T15" fmla="*/ 7 h 38"/>
                <a:gd name="T16" fmla="*/ 6 w 37"/>
                <a:gd name="T17" fmla="*/ 7 h 38"/>
                <a:gd name="T18" fmla="*/ 6 w 37"/>
                <a:gd name="T19" fmla="*/ 32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" h="38">
                  <a:moveTo>
                    <a:pt x="37" y="38"/>
                  </a:moveTo>
                  <a:lnTo>
                    <a:pt x="0" y="38"/>
                  </a:lnTo>
                  <a:lnTo>
                    <a:pt x="0" y="0"/>
                  </a:lnTo>
                  <a:lnTo>
                    <a:pt x="37" y="0"/>
                  </a:lnTo>
                  <a:lnTo>
                    <a:pt x="37" y="38"/>
                  </a:lnTo>
                  <a:close/>
                  <a:moveTo>
                    <a:pt x="6" y="32"/>
                  </a:moveTo>
                  <a:lnTo>
                    <a:pt x="31" y="32"/>
                  </a:lnTo>
                  <a:lnTo>
                    <a:pt x="31" y="7"/>
                  </a:lnTo>
                  <a:lnTo>
                    <a:pt x="6" y="7"/>
                  </a:lnTo>
                  <a:lnTo>
                    <a:pt x="6" y="3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09" name="Rectangle 7068"/>
            <p:cNvSpPr>
              <a:spLocks noChangeArrowheads="1"/>
            </p:cNvSpPr>
            <p:nvPr/>
          </p:nvSpPr>
          <p:spPr bwMode="auto">
            <a:xfrm>
              <a:off x="5518" y="2559"/>
              <a:ext cx="32" cy="32"/>
            </a:xfrm>
            <a:prstGeom prst="rect">
              <a:avLst/>
            </a:prstGeom>
            <a:solidFill>
              <a:srgbClr val="1E34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10" name="Freeform 7069"/>
            <p:cNvSpPr>
              <a:spLocks noEditPoints="1"/>
            </p:cNvSpPr>
            <p:nvPr/>
          </p:nvSpPr>
          <p:spPr bwMode="auto">
            <a:xfrm>
              <a:off x="5514" y="2555"/>
              <a:ext cx="39" cy="38"/>
            </a:xfrm>
            <a:custGeom>
              <a:avLst/>
              <a:gdLst>
                <a:gd name="T0" fmla="*/ 39 w 39"/>
                <a:gd name="T1" fmla="*/ 38 h 38"/>
                <a:gd name="T2" fmla="*/ 0 w 39"/>
                <a:gd name="T3" fmla="*/ 38 h 38"/>
                <a:gd name="T4" fmla="*/ 0 w 39"/>
                <a:gd name="T5" fmla="*/ 0 h 38"/>
                <a:gd name="T6" fmla="*/ 39 w 39"/>
                <a:gd name="T7" fmla="*/ 0 h 38"/>
                <a:gd name="T8" fmla="*/ 39 w 39"/>
                <a:gd name="T9" fmla="*/ 38 h 38"/>
                <a:gd name="T10" fmla="*/ 8 w 39"/>
                <a:gd name="T11" fmla="*/ 32 h 38"/>
                <a:gd name="T12" fmla="*/ 33 w 39"/>
                <a:gd name="T13" fmla="*/ 32 h 38"/>
                <a:gd name="T14" fmla="*/ 33 w 39"/>
                <a:gd name="T15" fmla="*/ 7 h 38"/>
                <a:gd name="T16" fmla="*/ 8 w 39"/>
                <a:gd name="T17" fmla="*/ 7 h 38"/>
                <a:gd name="T18" fmla="*/ 8 w 39"/>
                <a:gd name="T19" fmla="*/ 32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9" h="38">
                  <a:moveTo>
                    <a:pt x="39" y="38"/>
                  </a:moveTo>
                  <a:lnTo>
                    <a:pt x="0" y="38"/>
                  </a:lnTo>
                  <a:lnTo>
                    <a:pt x="0" y="0"/>
                  </a:lnTo>
                  <a:lnTo>
                    <a:pt x="39" y="0"/>
                  </a:lnTo>
                  <a:lnTo>
                    <a:pt x="39" y="38"/>
                  </a:lnTo>
                  <a:close/>
                  <a:moveTo>
                    <a:pt x="8" y="32"/>
                  </a:moveTo>
                  <a:lnTo>
                    <a:pt x="33" y="32"/>
                  </a:lnTo>
                  <a:lnTo>
                    <a:pt x="33" y="7"/>
                  </a:lnTo>
                  <a:lnTo>
                    <a:pt x="8" y="7"/>
                  </a:lnTo>
                  <a:lnTo>
                    <a:pt x="8" y="3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11" name="Rectangle 7070"/>
            <p:cNvSpPr>
              <a:spLocks noChangeArrowheads="1"/>
            </p:cNvSpPr>
            <p:nvPr/>
          </p:nvSpPr>
          <p:spPr bwMode="auto">
            <a:xfrm>
              <a:off x="5147" y="2627"/>
              <a:ext cx="31" cy="32"/>
            </a:xfrm>
            <a:prstGeom prst="rect">
              <a:avLst/>
            </a:prstGeom>
            <a:solidFill>
              <a:srgbClr val="1E34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12" name="Freeform 7071"/>
            <p:cNvSpPr>
              <a:spLocks noEditPoints="1"/>
            </p:cNvSpPr>
            <p:nvPr/>
          </p:nvSpPr>
          <p:spPr bwMode="auto">
            <a:xfrm>
              <a:off x="5143" y="2624"/>
              <a:ext cx="39" cy="39"/>
            </a:xfrm>
            <a:custGeom>
              <a:avLst/>
              <a:gdLst>
                <a:gd name="T0" fmla="*/ 39 w 39"/>
                <a:gd name="T1" fmla="*/ 39 h 39"/>
                <a:gd name="T2" fmla="*/ 0 w 39"/>
                <a:gd name="T3" fmla="*/ 39 h 39"/>
                <a:gd name="T4" fmla="*/ 0 w 39"/>
                <a:gd name="T5" fmla="*/ 0 h 39"/>
                <a:gd name="T6" fmla="*/ 39 w 39"/>
                <a:gd name="T7" fmla="*/ 0 h 39"/>
                <a:gd name="T8" fmla="*/ 39 w 39"/>
                <a:gd name="T9" fmla="*/ 39 h 39"/>
                <a:gd name="T10" fmla="*/ 6 w 39"/>
                <a:gd name="T11" fmla="*/ 32 h 39"/>
                <a:gd name="T12" fmla="*/ 33 w 39"/>
                <a:gd name="T13" fmla="*/ 32 h 39"/>
                <a:gd name="T14" fmla="*/ 33 w 39"/>
                <a:gd name="T15" fmla="*/ 6 h 39"/>
                <a:gd name="T16" fmla="*/ 6 w 39"/>
                <a:gd name="T17" fmla="*/ 6 h 39"/>
                <a:gd name="T18" fmla="*/ 6 w 39"/>
                <a:gd name="T19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9" h="39">
                  <a:moveTo>
                    <a:pt x="39" y="39"/>
                  </a:moveTo>
                  <a:lnTo>
                    <a:pt x="0" y="39"/>
                  </a:lnTo>
                  <a:lnTo>
                    <a:pt x="0" y="0"/>
                  </a:lnTo>
                  <a:lnTo>
                    <a:pt x="39" y="0"/>
                  </a:lnTo>
                  <a:lnTo>
                    <a:pt x="39" y="39"/>
                  </a:lnTo>
                  <a:close/>
                  <a:moveTo>
                    <a:pt x="6" y="32"/>
                  </a:moveTo>
                  <a:lnTo>
                    <a:pt x="33" y="32"/>
                  </a:lnTo>
                  <a:lnTo>
                    <a:pt x="33" y="6"/>
                  </a:lnTo>
                  <a:lnTo>
                    <a:pt x="6" y="6"/>
                  </a:lnTo>
                  <a:lnTo>
                    <a:pt x="6" y="3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13" name="Rectangle 7072"/>
            <p:cNvSpPr>
              <a:spLocks noChangeArrowheads="1"/>
            </p:cNvSpPr>
            <p:nvPr/>
          </p:nvSpPr>
          <p:spPr bwMode="auto">
            <a:xfrm>
              <a:off x="5178" y="2627"/>
              <a:ext cx="33" cy="32"/>
            </a:xfrm>
            <a:prstGeom prst="rect">
              <a:avLst/>
            </a:prstGeom>
            <a:solidFill>
              <a:srgbClr val="1E34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14" name="Freeform 7073"/>
            <p:cNvSpPr>
              <a:spLocks noEditPoints="1"/>
            </p:cNvSpPr>
            <p:nvPr/>
          </p:nvSpPr>
          <p:spPr bwMode="auto">
            <a:xfrm>
              <a:off x="5176" y="2624"/>
              <a:ext cx="38" cy="39"/>
            </a:xfrm>
            <a:custGeom>
              <a:avLst/>
              <a:gdLst>
                <a:gd name="T0" fmla="*/ 38 w 38"/>
                <a:gd name="T1" fmla="*/ 39 h 39"/>
                <a:gd name="T2" fmla="*/ 0 w 38"/>
                <a:gd name="T3" fmla="*/ 39 h 39"/>
                <a:gd name="T4" fmla="*/ 0 w 38"/>
                <a:gd name="T5" fmla="*/ 0 h 39"/>
                <a:gd name="T6" fmla="*/ 38 w 38"/>
                <a:gd name="T7" fmla="*/ 0 h 39"/>
                <a:gd name="T8" fmla="*/ 38 w 38"/>
                <a:gd name="T9" fmla="*/ 39 h 39"/>
                <a:gd name="T10" fmla="*/ 6 w 38"/>
                <a:gd name="T11" fmla="*/ 32 h 39"/>
                <a:gd name="T12" fmla="*/ 32 w 38"/>
                <a:gd name="T13" fmla="*/ 32 h 39"/>
                <a:gd name="T14" fmla="*/ 32 w 38"/>
                <a:gd name="T15" fmla="*/ 6 h 39"/>
                <a:gd name="T16" fmla="*/ 6 w 38"/>
                <a:gd name="T17" fmla="*/ 6 h 39"/>
                <a:gd name="T18" fmla="*/ 6 w 38"/>
                <a:gd name="T19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" h="39">
                  <a:moveTo>
                    <a:pt x="38" y="39"/>
                  </a:moveTo>
                  <a:lnTo>
                    <a:pt x="0" y="39"/>
                  </a:lnTo>
                  <a:lnTo>
                    <a:pt x="0" y="0"/>
                  </a:lnTo>
                  <a:lnTo>
                    <a:pt x="38" y="0"/>
                  </a:lnTo>
                  <a:lnTo>
                    <a:pt x="38" y="39"/>
                  </a:lnTo>
                  <a:close/>
                  <a:moveTo>
                    <a:pt x="6" y="32"/>
                  </a:moveTo>
                  <a:lnTo>
                    <a:pt x="32" y="32"/>
                  </a:lnTo>
                  <a:lnTo>
                    <a:pt x="32" y="6"/>
                  </a:lnTo>
                  <a:lnTo>
                    <a:pt x="6" y="6"/>
                  </a:lnTo>
                  <a:lnTo>
                    <a:pt x="6" y="3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15" name="Rectangle 7074"/>
            <p:cNvSpPr>
              <a:spLocks noChangeArrowheads="1"/>
            </p:cNvSpPr>
            <p:nvPr/>
          </p:nvSpPr>
          <p:spPr bwMode="auto">
            <a:xfrm>
              <a:off x="5211" y="2627"/>
              <a:ext cx="32" cy="32"/>
            </a:xfrm>
            <a:prstGeom prst="rect">
              <a:avLst/>
            </a:prstGeom>
            <a:solidFill>
              <a:srgbClr val="1E34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16" name="Freeform 7075"/>
            <p:cNvSpPr>
              <a:spLocks noEditPoints="1"/>
            </p:cNvSpPr>
            <p:nvPr/>
          </p:nvSpPr>
          <p:spPr bwMode="auto">
            <a:xfrm>
              <a:off x="5208" y="2624"/>
              <a:ext cx="39" cy="39"/>
            </a:xfrm>
            <a:custGeom>
              <a:avLst/>
              <a:gdLst>
                <a:gd name="T0" fmla="*/ 39 w 39"/>
                <a:gd name="T1" fmla="*/ 39 h 39"/>
                <a:gd name="T2" fmla="*/ 0 w 39"/>
                <a:gd name="T3" fmla="*/ 39 h 39"/>
                <a:gd name="T4" fmla="*/ 0 w 39"/>
                <a:gd name="T5" fmla="*/ 0 h 39"/>
                <a:gd name="T6" fmla="*/ 39 w 39"/>
                <a:gd name="T7" fmla="*/ 0 h 39"/>
                <a:gd name="T8" fmla="*/ 39 w 39"/>
                <a:gd name="T9" fmla="*/ 39 h 39"/>
                <a:gd name="T10" fmla="*/ 6 w 39"/>
                <a:gd name="T11" fmla="*/ 32 h 39"/>
                <a:gd name="T12" fmla="*/ 31 w 39"/>
                <a:gd name="T13" fmla="*/ 32 h 39"/>
                <a:gd name="T14" fmla="*/ 31 w 39"/>
                <a:gd name="T15" fmla="*/ 6 h 39"/>
                <a:gd name="T16" fmla="*/ 6 w 39"/>
                <a:gd name="T17" fmla="*/ 6 h 39"/>
                <a:gd name="T18" fmla="*/ 6 w 39"/>
                <a:gd name="T19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9" h="39">
                  <a:moveTo>
                    <a:pt x="39" y="39"/>
                  </a:moveTo>
                  <a:lnTo>
                    <a:pt x="0" y="39"/>
                  </a:lnTo>
                  <a:lnTo>
                    <a:pt x="0" y="0"/>
                  </a:lnTo>
                  <a:lnTo>
                    <a:pt x="39" y="0"/>
                  </a:lnTo>
                  <a:lnTo>
                    <a:pt x="39" y="39"/>
                  </a:lnTo>
                  <a:close/>
                  <a:moveTo>
                    <a:pt x="6" y="32"/>
                  </a:moveTo>
                  <a:lnTo>
                    <a:pt x="31" y="32"/>
                  </a:lnTo>
                  <a:lnTo>
                    <a:pt x="31" y="6"/>
                  </a:lnTo>
                  <a:lnTo>
                    <a:pt x="6" y="6"/>
                  </a:lnTo>
                  <a:lnTo>
                    <a:pt x="6" y="3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17" name="Rectangle 7076"/>
            <p:cNvSpPr>
              <a:spLocks noChangeArrowheads="1"/>
            </p:cNvSpPr>
            <p:nvPr/>
          </p:nvSpPr>
          <p:spPr bwMode="auto">
            <a:xfrm>
              <a:off x="5147" y="2659"/>
              <a:ext cx="31" cy="32"/>
            </a:xfrm>
            <a:prstGeom prst="rect">
              <a:avLst/>
            </a:prstGeom>
            <a:solidFill>
              <a:srgbClr val="1E34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18" name="Freeform 7077"/>
            <p:cNvSpPr>
              <a:spLocks noEditPoints="1"/>
            </p:cNvSpPr>
            <p:nvPr/>
          </p:nvSpPr>
          <p:spPr bwMode="auto">
            <a:xfrm>
              <a:off x="5143" y="2656"/>
              <a:ext cx="39" cy="38"/>
            </a:xfrm>
            <a:custGeom>
              <a:avLst/>
              <a:gdLst>
                <a:gd name="T0" fmla="*/ 39 w 39"/>
                <a:gd name="T1" fmla="*/ 38 h 38"/>
                <a:gd name="T2" fmla="*/ 0 w 39"/>
                <a:gd name="T3" fmla="*/ 38 h 38"/>
                <a:gd name="T4" fmla="*/ 0 w 39"/>
                <a:gd name="T5" fmla="*/ 0 h 38"/>
                <a:gd name="T6" fmla="*/ 39 w 39"/>
                <a:gd name="T7" fmla="*/ 0 h 38"/>
                <a:gd name="T8" fmla="*/ 39 w 39"/>
                <a:gd name="T9" fmla="*/ 38 h 38"/>
                <a:gd name="T10" fmla="*/ 6 w 39"/>
                <a:gd name="T11" fmla="*/ 32 h 38"/>
                <a:gd name="T12" fmla="*/ 33 w 39"/>
                <a:gd name="T13" fmla="*/ 32 h 38"/>
                <a:gd name="T14" fmla="*/ 33 w 39"/>
                <a:gd name="T15" fmla="*/ 7 h 38"/>
                <a:gd name="T16" fmla="*/ 6 w 39"/>
                <a:gd name="T17" fmla="*/ 7 h 38"/>
                <a:gd name="T18" fmla="*/ 6 w 39"/>
                <a:gd name="T19" fmla="*/ 32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9" h="38">
                  <a:moveTo>
                    <a:pt x="39" y="38"/>
                  </a:moveTo>
                  <a:lnTo>
                    <a:pt x="0" y="38"/>
                  </a:lnTo>
                  <a:lnTo>
                    <a:pt x="0" y="0"/>
                  </a:lnTo>
                  <a:lnTo>
                    <a:pt x="39" y="0"/>
                  </a:lnTo>
                  <a:lnTo>
                    <a:pt x="39" y="38"/>
                  </a:lnTo>
                  <a:close/>
                  <a:moveTo>
                    <a:pt x="6" y="32"/>
                  </a:moveTo>
                  <a:lnTo>
                    <a:pt x="33" y="32"/>
                  </a:lnTo>
                  <a:lnTo>
                    <a:pt x="33" y="7"/>
                  </a:lnTo>
                  <a:lnTo>
                    <a:pt x="6" y="7"/>
                  </a:lnTo>
                  <a:lnTo>
                    <a:pt x="6" y="3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19" name="Rectangle 7078"/>
            <p:cNvSpPr>
              <a:spLocks noChangeArrowheads="1"/>
            </p:cNvSpPr>
            <p:nvPr/>
          </p:nvSpPr>
          <p:spPr bwMode="auto">
            <a:xfrm>
              <a:off x="5178" y="2659"/>
              <a:ext cx="33" cy="32"/>
            </a:xfrm>
            <a:prstGeom prst="rect">
              <a:avLst/>
            </a:prstGeom>
            <a:solidFill>
              <a:srgbClr val="1E34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20" name="Freeform 7079"/>
            <p:cNvSpPr>
              <a:spLocks noEditPoints="1"/>
            </p:cNvSpPr>
            <p:nvPr/>
          </p:nvSpPr>
          <p:spPr bwMode="auto">
            <a:xfrm>
              <a:off x="5176" y="2656"/>
              <a:ext cx="38" cy="38"/>
            </a:xfrm>
            <a:custGeom>
              <a:avLst/>
              <a:gdLst>
                <a:gd name="T0" fmla="*/ 38 w 38"/>
                <a:gd name="T1" fmla="*/ 38 h 38"/>
                <a:gd name="T2" fmla="*/ 0 w 38"/>
                <a:gd name="T3" fmla="*/ 38 h 38"/>
                <a:gd name="T4" fmla="*/ 0 w 38"/>
                <a:gd name="T5" fmla="*/ 0 h 38"/>
                <a:gd name="T6" fmla="*/ 38 w 38"/>
                <a:gd name="T7" fmla="*/ 0 h 38"/>
                <a:gd name="T8" fmla="*/ 38 w 38"/>
                <a:gd name="T9" fmla="*/ 38 h 38"/>
                <a:gd name="T10" fmla="*/ 6 w 38"/>
                <a:gd name="T11" fmla="*/ 32 h 38"/>
                <a:gd name="T12" fmla="*/ 32 w 38"/>
                <a:gd name="T13" fmla="*/ 32 h 38"/>
                <a:gd name="T14" fmla="*/ 32 w 38"/>
                <a:gd name="T15" fmla="*/ 7 h 38"/>
                <a:gd name="T16" fmla="*/ 6 w 38"/>
                <a:gd name="T17" fmla="*/ 7 h 38"/>
                <a:gd name="T18" fmla="*/ 6 w 38"/>
                <a:gd name="T19" fmla="*/ 32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" h="38">
                  <a:moveTo>
                    <a:pt x="38" y="38"/>
                  </a:moveTo>
                  <a:lnTo>
                    <a:pt x="0" y="38"/>
                  </a:lnTo>
                  <a:lnTo>
                    <a:pt x="0" y="0"/>
                  </a:lnTo>
                  <a:lnTo>
                    <a:pt x="38" y="0"/>
                  </a:lnTo>
                  <a:lnTo>
                    <a:pt x="38" y="38"/>
                  </a:lnTo>
                  <a:close/>
                  <a:moveTo>
                    <a:pt x="6" y="32"/>
                  </a:moveTo>
                  <a:lnTo>
                    <a:pt x="32" y="32"/>
                  </a:lnTo>
                  <a:lnTo>
                    <a:pt x="32" y="7"/>
                  </a:lnTo>
                  <a:lnTo>
                    <a:pt x="6" y="7"/>
                  </a:lnTo>
                  <a:lnTo>
                    <a:pt x="6" y="3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21" name="Rectangle 7080"/>
            <p:cNvSpPr>
              <a:spLocks noChangeArrowheads="1"/>
            </p:cNvSpPr>
            <p:nvPr/>
          </p:nvSpPr>
          <p:spPr bwMode="auto">
            <a:xfrm>
              <a:off x="5211" y="2659"/>
              <a:ext cx="32" cy="32"/>
            </a:xfrm>
            <a:prstGeom prst="rect">
              <a:avLst/>
            </a:prstGeom>
            <a:solidFill>
              <a:srgbClr val="1E34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22" name="Freeform 7081"/>
            <p:cNvSpPr>
              <a:spLocks noEditPoints="1"/>
            </p:cNvSpPr>
            <p:nvPr/>
          </p:nvSpPr>
          <p:spPr bwMode="auto">
            <a:xfrm>
              <a:off x="5208" y="2656"/>
              <a:ext cx="39" cy="38"/>
            </a:xfrm>
            <a:custGeom>
              <a:avLst/>
              <a:gdLst>
                <a:gd name="T0" fmla="*/ 39 w 39"/>
                <a:gd name="T1" fmla="*/ 38 h 38"/>
                <a:gd name="T2" fmla="*/ 0 w 39"/>
                <a:gd name="T3" fmla="*/ 38 h 38"/>
                <a:gd name="T4" fmla="*/ 0 w 39"/>
                <a:gd name="T5" fmla="*/ 0 h 38"/>
                <a:gd name="T6" fmla="*/ 39 w 39"/>
                <a:gd name="T7" fmla="*/ 0 h 38"/>
                <a:gd name="T8" fmla="*/ 39 w 39"/>
                <a:gd name="T9" fmla="*/ 38 h 38"/>
                <a:gd name="T10" fmla="*/ 6 w 39"/>
                <a:gd name="T11" fmla="*/ 32 h 38"/>
                <a:gd name="T12" fmla="*/ 31 w 39"/>
                <a:gd name="T13" fmla="*/ 32 h 38"/>
                <a:gd name="T14" fmla="*/ 31 w 39"/>
                <a:gd name="T15" fmla="*/ 7 h 38"/>
                <a:gd name="T16" fmla="*/ 6 w 39"/>
                <a:gd name="T17" fmla="*/ 7 h 38"/>
                <a:gd name="T18" fmla="*/ 6 w 39"/>
                <a:gd name="T19" fmla="*/ 32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9" h="38">
                  <a:moveTo>
                    <a:pt x="39" y="38"/>
                  </a:moveTo>
                  <a:lnTo>
                    <a:pt x="0" y="38"/>
                  </a:lnTo>
                  <a:lnTo>
                    <a:pt x="0" y="0"/>
                  </a:lnTo>
                  <a:lnTo>
                    <a:pt x="39" y="0"/>
                  </a:lnTo>
                  <a:lnTo>
                    <a:pt x="39" y="38"/>
                  </a:lnTo>
                  <a:close/>
                  <a:moveTo>
                    <a:pt x="6" y="32"/>
                  </a:moveTo>
                  <a:lnTo>
                    <a:pt x="31" y="32"/>
                  </a:lnTo>
                  <a:lnTo>
                    <a:pt x="31" y="7"/>
                  </a:lnTo>
                  <a:lnTo>
                    <a:pt x="6" y="7"/>
                  </a:lnTo>
                  <a:lnTo>
                    <a:pt x="6" y="3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23" name="Rectangle 7082"/>
            <p:cNvSpPr>
              <a:spLocks noChangeArrowheads="1"/>
            </p:cNvSpPr>
            <p:nvPr/>
          </p:nvSpPr>
          <p:spPr bwMode="auto">
            <a:xfrm>
              <a:off x="5147" y="2691"/>
              <a:ext cx="31" cy="32"/>
            </a:xfrm>
            <a:prstGeom prst="rect">
              <a:avLst/>
            </a:prstGeom>
            <a:solidFill>
              <a:srgbClr val="1E34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24" name="Freeform 7083"/>
            <p:cNvSpPr>
              <a:spLocks noEditPoints="1"/>
            </p:cNvSpPr>
            <p:nvPr/>
          </p:nvSpPr>
          <p:spPr bwMode="auto">
            <a:xfrm>
              <a:off x="5143" y="2688"/>
              <a:ext cx="39" cy="38"/>
            </a:xfrm>
            <a:custGeom>
              <a:avLst/>
              <a:gdLst>
                <a:gd name="T0" fmla="*/ 39 w 39"/>
                <a:gd name="T1" fmla="*/ 38 h 38"/>
                <a:gd name="T2" fmla="*/ 0 w 39"/>
                <a:gd name="T3" fmla="*/ 38 h 38"/>
                <a:gd name="T4" fmla="*/ 0 w 39"/>
                <a:gd name="T5" fmla="*/ 0 h 38"/>
                <a:gd name="T6" fmla="*/ 39 w 39"/>
                <a:gd name="T7" fmla="*/ 0 h 38"/>
                <a:gd name="T8" fmla="*/ 39 w 39"/>
                <a:gd name="T9" fmla="*/ 38 h 38"/>
                <a:gd name="T10" fmla="*/ 6 w 39"/>
                <a:gd name="T11" fmla="*/ 32 h 38"/>
                <a:gd name="T12" fmla="*/ 33 w 39"/>
                <a:gd name="T13" fmla="*/ 32 h 38"/>
                <a:gd name="T14" fmla="*/ 33 w 39"/>
                <a:gd name="T15" fmla="*/ 6 h 38"/>
                <a:gd name="T16" fmla="*/ 6 w 39"/>
                <a:gd name="T17" fmla="*/ 6 h 38"/>
                <a:gd name="T18" fmla="*/ 6 w 39"/>
                <a:gd name="T19" fmla="*/ 32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9" h="38">
                  <a:moveTo>
                    <a:pt x="39" y="38"/>
                  </a:moveTo>
                  <a:lnTo>
                    <a:pt x="0" y="38"/>
                  </a:lnTo>
                  <a:lnTo>
                    <a:pt x="0" y="0"/>
                  </a:lnTo>
                  <a:lnTo>
                    <a:pt x="39" y="0"/>
                  </a:lnTo>
                  <a:lnTo>
                    <a:pt x="39" y="38"/>
                  </a:lnTo>
                  <a:close/>
                  <a:moveTo>
                    <a:pt x="6" y="32"/>
                  </a:moveTo>
                  <a:lnTo>
                    <a:pt x="33" y="32"/>
                  </a:lnTo>
                  <a:lnTo>
                    <a:pt x="33" y="6"/>
                  </a:lnTo>
                  <a:lnTo>
                    <a:pt x="6" y="6"/>
                  </a:lnTo>
                  <a:lnTo>
                    <a:pt x="6" y="3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25" name="Rectangle 7084"/>
            <p:cNvSpPr>
              <a:spLocks noChangeArrowheads="1"/>
            </p:cNvSpPr>
            <p:nvPr/>
          </p:nvSpPr>
          <p:spPr bwMode="auto">
            <a:xfrm>
              <a:off x="5178" y="2691"/>
              <a:ext cx="33" cy="32"/>
            </a:xfrm>
            <a:prstGeom prst="rect">
              <a:avLst/>
            </a:prstGeom>
            <a:solidFill>
              <a:srgbClr val="1E34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26" name="Freeform 7085"/>
            <p:cNvSpPr>
              <a:spLocks noEditPoints="1"/>
            </p:cNvSpPr>
            <p:nvPr/>
          </p:nvSpPr>
          <p:spPr bwMode="auto">
            <a:xfrm>
              <a:off x="5176" y="2688"/>
              <a:ext cx="38" cy="38"/>
            </a:xfrm>
            <a:custGeom>
              <a:avLst/>
              <a:gdLst>
                <a:gd name="T0" fmla="*/ 38 w 38"/>
                <a:gd name="T1" fmla="*/ 38 h 38"/>
                <a:gd name="T2" fmla="*/ 0 w 38"/>
                <a:gd name="T3" fmla="*/ 38 h 38"/>
                <a:gd name="T4" fmla="*/ 0 w 38"/>
                <a:gd name="T5" fmla="*/ 0 h 38"/>
                <a:gd name="T6" fmla="*/ 38 w 38"/>
                <a:gd name="T7" fmla="*/ 0 h 38"/>
                <a:gd name="T8" fmla="*/ 38 w 38"/>
                <a:gd name="T9" fmla="*/ 38 h 38"/>
                <a:gd name="T10" fmla="*/ 6 w 38"/>
                <a:gd name="T11" fmla="*/ 32 h 38"/>
                <a:gd name="T12" fmla="*/ 32 w 38"/>
                <a:gd name="T13" fmla="*/ 32 h 38"/>
                <a:gd name="T14" fmla="*/ 32 w 38"/>
                <a:gd name="T15" fmla="*/ 6 h 38"/>
                <a:gd name="T16" fmla="*/ 6 w 38"/>
                <a:gd name="T17" fmla="*/ 6 h 38"/>
                <a:gd name="T18" fmla="*/ 6 w 38"/>
                <a:gd name="T19" fmla="*/ 32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" h="38">
                  <a:moveTo>
                    <a:pt x="38" y="38"/>
                  </a:moveTo>
                  <a:lnTo>
                    <a:pt x="0" y="38"/>
                  </a:lnTo>
                  <a:lnTo>
                    <a:pt x="0" y="0"/>
                  </a:lnTo>
                  <a:lnTo>
                    <a:pt x="38" y="0"/>
                  </a:lnTo>
                  <a:lnTo>
                    <a:pt x="38" y="38"/>
                  </a:lnTo>
                  <a:close/>
                  <a:moveTo>
                    <a:pt x="6" y="32"/>
                  </a:moveTo>
                  <a:lnTo>
                    <a:pt x="32" y="32"/>
                  </a:lnTo>
                  <a:lnTo>
                    <a:pt x="32" y="6"/>
                  </a:lnTo>
                  <a:lnTo>
                    <a:pt x="6" y="6"/>
                  </a:lnTo>
                  <a:lnTo>
                    <a:pt x="6" y="3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27" name="Rectangle 7086"/>
            <p:cNvSpPr>
              <a:spLocks noChangeArrowheads="1"/>
            </p:cNvSpPr>
            <p:nvPr/>
          </p:nvSpPr>
          <p:spPr bwMode="auto">
            <a:xfrm>
              <a:off x="5211" y="2691"/>
              <a:ext cx="32" cy="32"/>
            </a:xfrm>
            <a:prstGeom prst="rect">
              <a:avLst/>
            </a:prstGeom>
            <a:solidFill>
              <a:srgbClr val="1E34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28" name="Freeform 7087"/>
            <p:cNvSpPr>
              <a:spLocks noEditPoints="1"/>
            </p:cNvSpPr>
            <p:nvPr/>
          </p:nvSpPr>
          <p:spPr bwMode="auto">
            <a:xfrm>
              <a:off x="5208" y="2688"/>
              <a:ext cx="39" cy="38"/>
            </a:xfrm>
            <a:custGeom>
              <a:avLst/>
              <a:gdLst>
                <a:gd name="T0" fmla="*/ 39 w 39"/>
                <a:gd name="T1" fmla="*/ 38 h 38"/>
                <a:gd name="T2" fmla="*/ 0 w 39"/>
                <a:gd name="T3" fmla="*/ 38 h 38"/>
                <a:gd name="T4" fmla="*/ 0 w 39"/>
                <a:gd name="T5" fmla="*/ 0 h 38"/>
                <a:gd name="T6" fmla="*/ 39 w 39"/>
                <a:gd name="T7" fmla="*/ 0 h 38"/>
                <a:gd name="T8" fmla="*/ 39 w 39"/>
                <a:gd name="T9" fmla="*/ 38 h 38"/>
                <a:gd name="T10" fmla="*/ 6 w 39"/>
                <a:gd name="T11" fmla="*/ 32 h 38"/>
                <a:gd name="T12" fmla="*/ 31 w 39"/>
                <a:gd name="T13" fmla="*/ 32 h 38"/>
                <a:gd name="T14" fmla="*/ 31 w 39"/>
                <a:gd name="T15" fmla="*/ 6 h 38"/>
                <a:gd name="T16" fmla="*/ 6 w 39"/>
                <a:gd name="T17" fmla="*/ 6 h 38"/>
                <a:gd name="T18" fmla="*/ 6 w 39"/>
                <a:gd name="T19" fmla="*/ 32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9" h="38">
                  <a:moveTo>
                    <a:pt x="39" y="38"/>
                  </a:moveTo>
                  <a:lnTo>
                    <a:pt x="0" y="38"/>
                  </a:lnTo>
                  <a:lnTo>
                    <a:pt x="0" y="0"/>
                  </a:lnTo>
                  <a:lnTo>
                    <a:pt x="39" y="0"/>
                  </a:lnTo>
                  <a:lnTo>
                    <a:pt x="39" y="38"/>
                  </a:lnTo>
                  <a:close/>
                  <a:moveTo>
                    <a:pt x="6" y="32"/>
                  </a:moveTo>
                  <a:lnTo>
                    <a:pt x="31" y="32"/>
                  </a:lnTo>
                  <a:lnTo>
                    <a:pt x="31" y="6"/>
                  </a:lnTo>
                  <a:lnTo>
                    <a:pt x="6" y="6"/>
                  </a:lnTo>
                  <a:lnTo>
                    <a:pt x="6" y="3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29" name="Rectangle 7088"/>
            <p:cNvSpPr>
              <a:spLocks noChangeArrowheads="1"/>
            </p:cNvSpPr>
            <p:nvPr/>
          </p:nvSpPr>
          <p:spPr bwMode="auto">
            <a:xfrm>
              <a:off x="5452" y="2627"/>
              <a:ext cx="32" cy="32"/>
            </a:xfrm>
            <a:prstGeom prst="rect">
              <a:avLst/>
            </a:prstGeom>
            <a:solidFill>
              <a:srgbClr val="1E34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30" name="Freeform 7089"/>
            <p:cNvSpPr>
              <a:spLocks noEditPoints="1"/>
            </p:cNvSpPr>
            <p:nvPr/>
          </p:nvSpPr>
          <p:spPr bwMode="auto">
            <a:xfrm>
              <a:off x="5449" y="2624"/>
              <a:ext cx="38" cy="39"/>
            </a:xfrm>
            <a:custGeom>
              <a:avLst/>
              <a:gdLst>
                <a:gd name="T0" fmla="*/ 38 w 38"/>
                <a:gd name="T1" fmla="*/ 39 h 39"/>
                <a:gd name="T2" fmla="*/ 0 w 38"/>
                <a:gd name="T3" fmla="*/ 39 h 39"/>
                <a:gd name="T4" fmla="*/ 0 w 38"/>
                <a:gd name="T5" fmla="*/ 0 h 39"/>
                <a:gd name="T6" fmla="*/ 38 w 38"/>
                <a:gd name="T7" fmla="*/ 0 h 39"/>
                <a:gd name="T8" fmla="*/ 38 w 38"/>
                <a:gd name="T9" fmla="*/ 39 h 39"/>
                <a:gd name="T10" fmla="*/ 6 w 38"/>
                <a:gd name="T11" fmla="*/ 32 h 39"/>
                <a:gd name="T12" fmla="*/ 31 w 38"/>
                <a:gd name="T13" fmla="*/ 32 h 39"/>
                <a:gd name="T14" fmla="*/ 31 w 38"/>
                <a:gd name="T15" fmla="*/ 6 h 39"/>
                <a:gd name="T16" fmla="*/ 6 w 38"/>
                <a:gd name="T17" fmla="*/ 6 h 39"/>
                <a:gd name="T18" fmla="*/ 6 w 38"/>
                <a:gd name="T19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" h="39">
                  <a:moveTo>
                    <a:pt x="38" y="39"/>
                  </a:moveTo>
                  <a:lnTo>
                    <a:pt x="0" y="39"/>
                  </a:lnTo>
                  <a:lnTo>
                    <a:pt x="0" y="0"/>
                  </a:lnTo>
                  <a:lnTo>
                    <a:pt x="38" y="0"/>
                  </a:lnTo>
                  <a:lnTo>
                    <a:pt x="38" y="39"/>
                  </a:lnTo>
                  <a:close/>
                  <a:moveTo>
                    <a:pt x="6" y="32"/>
                  </a:moveTo>
                  <a:lnTo>
                    <a:pt x="31" y="32"/>
                  </a:lnTo>
                  <a:lnTo>
                    <a:pt x="31" y="6"/>
                  </a:lnTo>
                  <a:lnTo>
                    <a:pt x="6" y="6"/>
                  </a:lnTo>
                  <a:lnTo>
                    <a:pt x="6" y="3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31" name="Rectangle 7090"/>
            <p:cNvSpPr>
              <a:spLocks noChangeArrowheads="1"/>
            </p:cNvSpPr>
            <p:nvPr/>
          </p:nvSpPr>
          <p:spPr bwMode="auto">
            <a:xfrm>
              <a:off x="5484" y="2627"/>
              <a:ext cx="33" cy="32"/>
            </a:xfrm>
            <a:prstGeom prst="rect">
              <a:avLst/>
            </a:prstGeom>
            <a:solidFill>
              <a:srgbClr val="1E34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32" name="Freeform 7091"/>
            <p:cNvSpPr>
              <a:spLocks noEditPoints="1"/>
            </p:cNvSpPr>
            <p:nvPr/>
          </p:nvSpPr>
          <p:spPr bwMode="auto">
            <a:xfrm>
              <a:off x="5481" y="2624"/>
              <a:ext cx="38" cy="39"/>
            </a:xfrm>
            <a:custGeom>
              <a:avLst/>
              <a:gdLst>
                <a:gd name="T0" fmla="*/ 38 w 38"/>
                <a:gd name="T1" fmla="*/ 39 h 39"/>
                <a:gd name="T2" fmla="*/ 0 w 38"/>
                <a:gd name="T3" fmla="*/ 39 h 39"/>
                <a:gd name="T4" fmla="*/ 0 w 38"/>
                <a:gd name="T5" fmla="*/ 0 h 39"/>
                <a:gd name="T6" fmla="*/ 38 w 38"/>
                <a:gd name="T7" fmla="*/ 0 h 39"/>
                <a:gd name="T8" fmla="*/ 38 w 38"/>
                <a:gd name="T9" fmla="*/ 39 h 39"/>
                <a:gd name="T10" fmla="*/ 6 w 38"/>
                <a:gd name="T11" fmla="*/ 32 h 39"/>
                <a:gd name="T12" fmla="*/ 32 w 38"/>
                <a:gd name="T13" fmla="*/ 32 h 39"/>
                <a:gd name="T14" fmla="*/ 32 w 38"/>
                <a:gd name="T15" fmla="*/ 6 h 39"/>
                <a:gd name="T16" fmla="*/ 6 w 38"/>
                <a:gd name="T17" fmla="*/ 6 h 39"/>
                <a:gd name="T18" fmla="*/ 6 w 38"/>
                <a:gd name="T19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" h="39">
                  <a:moveTo>
                    <a:pt x="38" y="39"/>
                  </a:moveTo>
                  <a:lnTo>
                    <a:pt x="0" y="39"/>
                  </a:lnTo>
                  <a:lnTo>
                    <a:pt x="0" y="0"/>
                  </a:lnTo>
                  <a:lnTo>
                    <a:pt x="38" y="0"/>
                  </a:lnTo>
                  <a:lnTo>
                    <a:pt x="38" y="39"/>
                  </a:lnTo>
                  <a:close/>
                  <a:moveTo>
                    <a:pt x="6" y="32"/>
                  </a:moveTo>
                  <a:lnTo>
                    <a:pt x="32" y="32"/>
                  </a:lnTo>
                  <a:lnTo>
                    <a:pt x="32" y="6"/>
                  </a:lnTo>
                  <a:lnTo>
                    <a:pt x="6" y="6"/>
                  </a:lnTo>
                  <a:lnTo>
                    <a:pt x="6" y="3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33" name="Rectangle 7092"/>
            <p:cNvSpPr>
              <a:spLocks noChangeArrowheads="1"/>
            </p:cNvSpPr>
            <p:nvPr/>
          </p:nvSpPr>
          <p:spPr bwMode="auto">
            <a:xfrm>
              <a:off x="5517" y="2627"/>
              <a:ext cx="31" cy="32"/>
            </a:xfrm>
            <a:prstGeom prst="rect">
              <a:avLst/>
            </a:prstGeom>
            <a:solidFill>
              <a:srgbClr val="1E34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34" name="Freeform 7093"/>
            <p:cNvSpPr>
              <a:spLocks noEditPoints="1"/>
            </p:cNvSpPr>
            <p:nvPr/>
          </p:nvSpPr>
          <p:spPr bwMode="auto">
            <a:xfrm>
              <a:off x="5513" y="2624"/>
              <a:ext cx="39" cy="39"/>
            </a:xfrm>
            <a:custGeom>
              <a:avLst/>
              <a:gdLst>
                <a:gd name="T0" fmla="*/ 39 w 39"/>
                <a:gd name="T1" fmla="*/ 39 h 39"/>
                <a:gd name="T2" fmla="*/ 0 w 39"/>
                <a:gd name="T3" fmla="*/ 39 h 39"/>
                <a:gd name="T4" fmla="*/ 0 w 39"/>
                <a:gd name="T5" fmla="*/ 0 h 39"/>
                <a:gd name="T6" fmla="*/ 39 w 39"/>
                <a:gd name="T7" fmla="*/ 0 h 39"/>
                <a:gd name="T8" fmla="*/ 39 w 39"/>
                <a:gd name="T9" fmla="*/ 39 h 39"/>
                <a:gd name="T10" fmla="*/ 6 w 39"/>
                <a:gd name="T11" fmla="*/ 32 h 39"/>
                <a:gd name="T12" fmla="*/ 32 w 39"/>
                <a:gd name="T13" fmla="*/ 32 h 39"/>
                <a:gd name="T14" fmla="*/ 32 w 39"/>
                <a:gd name="T15" fmla="*/ 6 h 39"/>
                <a:gd name="T16" fmla="*/ 6 w 39"/>
                <a:gd name="T17" fmla="*/ 6 h 39"/>
                <a:gd name="T18" fmla="*/ 6 w 39"/>
                <a:gd name="T19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9" h="39">
                  <a:moveTo>
                    <a:pt x="39" y="39"/>
                  </a:moveTo>
                  <a:lnTo>
                    <a:pt x="0" y="39"/>
                  </a:lnTo>
                  <a:lnTo>
                    <a:pt x="0" y="0"/>
                  </a:lnTo>
                  <a:lnTo>
                    <a:pt x="39" y="0"/>
                  </a:lnTo>
                  <a:lnTo>
                    <a:pt x="39" y="39"/>
                  </a:lnTo>
                  <a:close/>
                  <a:moveTo>
                    <a:pt x="6" y="32"/>
                  </a:moveTo>
                  <a:lnTo>
                    <a:pt x="32" y="32"/>
                  </a:lnTo>
                  <a:lnTo>
                    <a:pt x="32" y="6"/>
                  </a:lnTo>
                  <a:lnTo>
                    <a:pt x="6" y="6"/>
                  </a:lnTo>
                  <a:lnTo>
                    <a:pt x="6" y="3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35" name="Rectangle 7094"/>
            <p:cNvSpPr>
              <a:spLocks noChangeArrowheads="1"/>
            </p:cNvSpPr>
            <p:nvPr/>
          </p:nvSpPr>
          <p:spPr bwMode="auto">
            <a:xfrm>
              <a:off x="5452" y="2659"/>
              <a:ext cx="32" cy="32"/>
            </a:xfrm>
            <a:prstGeom prst="rect">
              <a:avLst/>
            </a:prstGeom>
            <a:solidFill>
              <a:srgbClr val="1E34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36" name="Freeform 7095"/>
            <p:cNvSpPr>
              <a:spLocks noEditPoints="1"/>
            </p:cNvSpPr>
            <p:nvPr/>
          </p:nvSpPr>
          <p:spPr bwMode="auto">
            <a:xfrm>
              <a:off x="5449" y="2656"/>
              <a:ext cx="38" cy="38"/>
            </a:xfrm>
            <a:custGeom>
              <a:avLst/>
              <a:gdLst>
                <a:gd name="T0" fmla="*/ 38 w 38"/>
                <a:gd name="T1" fmla="*/ 38 h 38"/>
                <a:gd name="T2" fmla="*/ 0 w 38"/>
                <a:gd name="T3" fmla="*/ 38 h 38"/>
                <a:gd name="T4" fmla="*/ 0 w 38"/>
                <a:gd name="T5" fmla="*/ 0 h 38"/>
                <a:gd name="T6" fmla="*/ 38 w 38"/>
                <a:gd name="T7" fmla="*/ 0 h 38"/>
                <a:gd name="T8" fmla="*/ 38 w 38"/>
                <a:gd name="T9" fmla="*/ 38 h 38"/>
                <a:gd name="T10" fmla="*/ 6 w 38"/>
                <a:gd name="T11" fmla="*/ 32 h 38"/>
                <a:gd name="T12" fmla="*/ 31 w 38"/>
                <a:gd name="T13" fmla="*/ 32 h 38"/>
                <a:gd name="T14" fmla="*/ 31 w 38"/>
                <a:gd name="T15" fmla="*/ 7 h 38"/>
                <a:gd name="T16" fmla="*/ 6 w 38"/>
                <a:gd name="T17" fmla="*/ 7 h 38"/>
                <a:gd name="T18" fmla="*/ 6 w 38"/>
                <a:gd name="T19" fmla="*/ 32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" h="38">
                  <a:moveTo>
                    <a:pt x="38" y="38"/>
                  </a:moveTo>
                  <a:lnTo>
                    <a:pt x="0" y="38"/>
                  </a:lnTo>
                  <a:lnTo>
                    <a:pt x="0" y="0"/>
                  </a:lnTo>
                  <a:lnTo>
                    <a:pt x="38" y="0"/>
                  </a:lnTo>
                  <a:lnTo>
                    <a:pt x="38" y="38"/>
                  </a:lnTo>
                  <a:close/>
                  <a:moveTo>
                    <a:pt x="6" y="32"/>
                  </a:moveTo>
                  <a:lnTo>
                    <a:pt x="31" y="32"/>
                  </a:lnTo>
                  <a:lnTo>
                    <a:pt x="31" y="7"/>
                  </a:lnTo>
                  <a:lnTo>
                    <a:pt x="6" y="7"/>
                  </a:lnTo>
                  <a:lnTo>
                    <a:pt x="6" y="3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37" name="Rectangle 7096"/>
            <p:cNvSpPr>
              <a:spLocks noChangeArrowheads="1"/>
            </p:cNvSpPr>
            <p:nvPr/>
          </p:nvSpPr>
          <p:spPr bwMode="auto">
            <a:xfrm>
              <a:off x="5484" y="2659"/>
              <a:ext cx="33" cy="32"/>
            </a:xfrm>
            <a:prstGeom prst="rect">
              <a:avLst/>
            </a:prstGeom>
            <a:solidFill>
              <a:srgbClr val="1E34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38" name="Freeform 7097"/>
            <p:cNvSpPr>
              <a:spLocks noEditPoints="1"/>
            </p:cNvSpPr>
            <p:nvPr/>
          </p:nvSpPr>
          <p:spPr bwMode="auto">
            <a:xfrm>
              <a:off x="5481" y="2656"/>
              <a:ext cx="38" cy="38"/>
            </a:xfrm>
            <a:custGeom>
              <a:avLst/>
              <a:gdLst>
                <a:gd name="T0" fmla="*/ 38 w 38"/>
                <a:gd name="T1" fmla="*/ 38 h 38"/>
                <a:gd name="T2" fmla="*/ 0 w 38"/>
                <a:gd name="T3" fmla="*/ 38 h 38"/>
                <a:gd name="T4" fmla="*/ 0 w 38"/>
                <a:gd name="T5" fmla="*/ 0 h 38"/>
                <a:gd name="T6" fmla="*/ 38 w 38"/>
                <a:gd name="T7" fmla="*/ 0 h 38"/>
                <a:gd name="T8" fmla="*/ 38 w 38"/>
                <a:gd name="T9" fmla="*/ 38 h 38"/>
                <a:gd name="T10" fmla="*/ 6 w 38"/>
                <a:gd name="T11" fmla="*/ 32 h 38"/>
                <a:gd name="T12" fmla="*/ 32 w 38"/>
                <a:gd name="T13" fmla="*/ 32 h 38"/>
                <a:gd name="T14" fmla="*/ 32 w 38"/>
                <a:gd name="T15" fmla="*/ 7 h 38"/>
                <a:gd name="T16" fmla="*/ 6 w 38"/>
                <a:gd name="T17" fmla="*/ 7 h 38"/>
                <a:gd name="T18" fmla="*/ 6 w 38"/>
                <a:gd name="T19" fmla="*/ 32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" h="38">
                  <a:moveTo>
                    <a:pt x="38" y="38"/>
                  </a:moveTo>
                  <a:lnTo>
                    <a:pt x="0" y="38"/>
                  </a:lnTo>
                  <a:lnTo>
                    <a:pt x="0" y="0"/>
                  </a:lnTo>
                  <a:lnTo>
                    <a:pt x="38" y="0"/>
                  </a:lnTo>
                  <a:lnTo>
                    <a:pt x="38" y="38"/>
                  </a:lnTo>
                  <a:close/>
                  <a:moveTo>
                    <a:pt x="6" y="32"/>
                  </a:moveTo>
                  <a:lnTo>
                    <a:pt x="32" y="32"/>
                  </a:lnTo>
                  <a:lnTo>
                    <a:pt x="32" y="7"/>
                  </a:lnTo>
                  <a:lnTo>
                    <a:pt x="6" y="7"/>
                  </a:lnTo>
                  <a:lnTo>
                    <a:pt x="6" y="3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39" name="Rectangle 7098"/>
            <p:cNvSpPr>
              <a:spLocks noChangeArrowheads="1"/>
            </p:cNvSpPr>
            <p:nvPr/>
          </p:nvSpPr>
          <p:spPr bwMode="auto">
            <a:xfrm>
              <a:off x="5517" y="2659"/>
              <a:ext cx="31" cy="32"/>
            </a:xfrm>
            <a:prstGeom prst="rect">
              <a:avLst/>
            </a:prstGeom>
            <a:solidFill>
              <a:srgbClr val="1E34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40" name="Freeform 7099"/>
            <p:cNvSpPr>
              <a:spLocks noEditPoints="1"/>
            </p:cNvSpPr>
            <p:nvPr/>
          </p:nvSpPr>
          <p:spPr bwMode="auto">
            <a:xfrm>
              <a:off x="5513" y="2656"/>
              <a:ext cx="39" cy="38"/>
            </a:xfrm>
            <a:custGeom>
              <a:avLst/>
              <a:gdLst>
                <a:gd name="T0" fmla="*/ 39 w 39"/>
                <a:gd name="T1" fmla="*/ 38 h 38"/>
                <a:gd name="T2" fmla="*/ 0 w 39"/>
                <a:gd name="T3" fmla="*/ 38 h 38"/>
                <a:gd name="T4" fmla="*/ 0 w 39"/>
                <a:gd name="T5" fmla="*/ 0 h 38"/>
                <a:gd name="T6" fmla="*/ 39 w 39"/>
                <a:gd name="T7" fmla="*/ 0 h 38"/>
                <a:gd name="T8" fmla="*/ 39 w 39"/>
                <a:gd name="T9" fmla="*/ 38 h 38"/>
                <a:gd name="T10" fmla="*/ 6 w 39"/>
                <a:gd name="T11" fmla="*/ 32 h 38"/>
                <a:gd name="T12" fmla="*/ 32 w 39"/>
                <a:gd name="T13" fmla="*/ 32 h 38"/>
                <a:gd name="T14" fmla="*/ 32 w 39"/>
                <a:gd name="T15" fmla="*/ 7 h 38"/>
                <a:gd name="T16" fmla="*/ 6 w 39"/>
                <a:gd name="T17" fmla="*/ 7 h 38"/>
                <a:gd name="T18" fmla="*/ 6 w 39"/>
                <a:gd name="T19" fmla="*/ 32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9" h="38">
                  <a:moveTo>
                    <a:pt x="39" y="38"/>
                  </a:moveTo>
                  <a:lnTo>
                    <a:pt x="0" y="38"/>
                  </a:lnTo>
                  <a:lnTo>
                    <a:pt x="0" y="0"/>
                  </a:lnTo>
                  <a:lnTo>
                    <a:pt x="39" y="0"/>
                  </a:lnTo>
                  <a:lnTo>
                    <a:pt x="39" y="38"/>
                  </a:lnTo>
                  <a:close/>
                  <a:moveTo>
                    <a:pt x="6" y="32"/>
                  </a:moveTo>
                  <a:lnTo>
                    <a:pt x="32" y="32"/>
                  </a:lnTo>
                  <a:lnTo>
                    <a:pt x="32" y="7"/>
                  </a:lnTo>
                  <a:lnTo>
                    <a:pt x="6" y="7"/>
                  </a:lnTo>
                  <a:lnTo>
                    <a:pt x="6" y="3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41" name="Rectangle 7100"/>
            <p:cNvSpPr>
              <a:spLocks noChangeArrowheads="1"/>
            </p:cNvSpPr>
            <p:nvPr/>
          </p:nvSpPr>
          <p:spPr bwMode="auto">
            <a:xfrm>
              <a:off x="5452" y="2691"/>
              <a:ext cx="32" cy="32"/>
            </a:xfrm>
            <a:prstGeom prst="rect">
              <a:avLst/>
            </a:prstGeom>
            <a:solidFill>
              <a:srgbClr val="1E34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42" name="Freeform 7101"/>
            <p:cNvSpPr>
              <a:spLocks noEditPoints="1"/>
            </p:cNvSpPr>
            <p:nvPr/>
          </p:nvSpPr>
          <p:spPr bwMode="auto">
            <a:xfrm>
              <a:off x="5449" y="2688"/>
              <a:ext cx="38" cy="38"/>
            </a:xfrm>
            <a:custGeom>
              <a:avLst/>
              <a:gdLst>
                <a:gd name="T0" fmla="*/ 38 w 38"/>
                <a:gd name="T1" fmla="*/ 38 h 38"/>
                <a:gd name="T2" fmla="*/ 0 w 38"/>
                <a:gd name="T3" fmla="*/ 38 h 38"/>
                <a:gd name="T4" fmla="*/ 0 w 38"/>
                <a:gd name="T5" fmla="*/ 0 h 38"/>
                <a:gd name="T6" fmla="*/ 38 w 38"/>
                <a:gd name="T7" fmla="*/ 0 h 38"/>
                <a:gd name="T8" fmla="*/ 38 w 38"/>
                <a:gd name="T9" fmla="*/ 38 h 38"/>
                <a:gd name="T10" fmla="*/ 6 w 38"/>
                <a:gd name="T11" fmla="*/ 32 h 38"/>
                <a:gd name="T12" fmla="*/ 31 w 38"/>
                <a:gd name="T13" fmla="*/ 32 h 38"/>
                <a:gd name="T14" fmla="*/ 31 w 38"/>
                <a:gd name="T15" fmla="*/ 6 h 38"/>
                <a:gd name="T16" fmla="*/ 6 w 38"/>
                <a:gd name="T17" fmla="*/ 6 h 38"/>
                <a:gd name="T18" fmla="*/ 6 w 38"/>
                <a:gd name="T19" fmla="*/ 32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" h="38">
                  <a:moveTo>
                    <a:pt x="38" y="38"/>
                  </a:moveTo>
                  <a:lnTo>
                    <a:pt x="0" y="38"/>
                  </a:lnTo>
                  <a:lnTo>
                    <a:pt x="0" y="0"/>
                  </a:lnTo>
                  <a:lnTo>
                    <a:pt x="38" y="0"/>
                  </a:lnTo>
                  <a:lnTo>
                    <a:pt x="38" y="38"/>
                  </a:lnTo>
                  <a:close/>
                  <a:moveTo>
                    <a:pt x="6" y="32"/>
                  </a:moveTo>
                  <a:lnTo>
                    <a:pt x="31" y="32"/>
                  </a:lnTo>
                  <a:lnTo>
                    <a:pt x="31" y="6"/>
                  </a:lnTo>
                  <a:lnTo>
                    <a:pt x="6" y="6"/>
                  </a:lnTo>
                  <a:lnTo>
                    <a:pt x="6" y="3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43" name="Rectangle 7102"/>
            <p:cNvSpPr>
              <a:spLocks noChangeArrowheads="1"/>
            </p:cNvSpPr>
            <p:nvPr/>
          </p:nvSpPr>
          <p:spPr bwMode="auto">
            <a:xfrm>
              <a:off x="5484" y="2691"/>
              <a:ext cx="33" cy="32"/>
            </a:xfrm>
            <a:prstGeom prst="rect">
              <a:avLst/>
            </a:prstGeom>
            <a:solidFill>
              <a:srgbClr val="1E34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44" name="Freeform 7103"/>
            <p:cNvSpPr>
              <a:spLocks noEditPoints="1"/>
            </p:cNvSpPr>
            <p:nvPr/>
          </p:nvSpPr>
          <p:spPr bwMode="auto">
            <a:xfrm>
              <a:off x="5481" y="2688"/>
              <a:ext cx="38" cy="38"/>
            </a:xfrm>
            <a:custGeom>
              <a:avLst/>
              <a:gdLst>
                <a:gd name="T0" fmla="*/ 38 w 38"/>
                <a:gd name="T1" fmla="*/ 38 h 38"/>
                <a:gd name="T2" fmla="*/ 0 w 38"/>
                <a:gd name="T3" fmla="*/ 38 h 38"/>
                <a:gd name="T4" fmla="*/ 0 w 38"/>
                <a:gd name="T5" fmla="*/ 0 h 38"/>
                <a:gd name="T6" fmla="*/ 38 w 38"/>
                <a:gd name="T7" fmla="*/ 0 h 38"/>
                <a:gd name="T8" fmla="*/ 38 w 38"/>
                <a:gd name="T9" fmla="*/ 38 h 38"/>
                <a:gd name="T10" fmla="*/ 6 w 38"/>
                <a:gd name="T11" fmla="*/ 32 h 38"/>
                <a:gd name="T12" fmla="*/ 32 w 38"/>
                <a:gd name="T13" fmla="*/ 32 h 38"/>
                <a:gd name="T14" fmla="*/ 32 w 38"/>
                <a:gd name="T15" fmla="*/ 6 h 38"/>
                <a:gd name="T16" fmla="*/ 6 w 38"/>
                <a:gd name="T17" fmla="*/ 6 h 38"/>
                <a:gd name="T18" fmla="*/ 6 w 38"/>
                <a:gd name="T19" fmla="*/ 32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" h="38">
                  <a:moveTo>
                    <a:pt x="38" y="38"/>
                  </a:moveTo>
                  <a:lnTo>
                    <a:pt x="0" y="38"/>
                  </a:lnTo>
                  <a:lnTo>
                    <a:pt x="0" y="0"/>
                  </a:lnTo>
                  <a:lnTo>
                    <a:pt x="38" y="0"/>
                  </a:lnTo>
                  <a:lnTo>
                    <a:pt x="38" y="38"/>
                  </a:lnTo>
                  <a:close/>
                  <a:moveTo>
                    <a:pt x="6" y="32"/>
                  </a:moveTo>
                  <a:lnTo>
                    <a:pt x="32" y="32"/>
                  </a:lnTo>
                  <a:lnTo>
                    <a:pt x="32" y="6"/>
                  </a:lnTo>
                  <a:lnTo>
                    <a:pt x="6" y="6"/>
                  </a:lnTo>
                  <a:lnTo>
                    <a:pt x="6" y="3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45" name="Rectangle 7104"/>
            <p:cNvSpPr>
              <a:spLocks noChangeArrowheads="1"/>
            </p:cNvSpPr>
            <p:nvPr/>
          </p:nvSpPr>
          <p:spPr bwMode="auto">
            <a:xfrm>
              <a:off x="5517" y="2691"/>
              <a:ext cx="31" cy="32"/>
            </a:xfrm>
            <a:prstGeom prst="rect">
              <a:avLst/>
            </a:prstGeom>
            <a:solidFill>
              <a:srgbClr val="1E34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46" name="Freeform 7105"/>
            <p:cNvSpPr>
              <a:spLocks noEditPoints="1"/>
            </p:cNvSpPr>
            <p:nvPr/>
          </p:nvSpPr>
          <p:spPr bwMode="auto">
            <a:xfrm>
              <a:off x="5513" y="2688"/>
              <a:ext cx="39" cy="38"/>
            </a:xfrm>
            <a:custGeom>
              <a:avLst/>
              <a:gdLst>
                <a:gd name="T0" fmla="*/ 39 w 39"/>
                <a:gd name="T1" fmla="*/ 38 h 38"/>
                <a:gd name="T2" fmla="*/ 0 w 39"/>
                <a:gd name="T3" fmla="*/ 38 h 38"/>
                <a:gd name="T4" fmla="*/ 0 w 39"/>
                <a:gd name="T5" fmla="*/ 0 h 38"/>
                <a:gd name="T6" fmla="*/ 39 w 39"/>
                <a:gd name="T7" fmla="*/ 0 h 38"/>
                <a:gd name="T8" fmla="*/ 39 w 39"/>
                <a:gd name="T9" fmla="*/ 38 h 38"/>
                <a:gd name="T10" fmla="*/ 6 w 39"/>
                <a:gd name="T11" fmla="*/ 32 h 38"/>
                <a:gd name="T12" fmla="*/ 32 w 39"/>
                <a:gd name="T13" fmla="*/ 32 h 38"/>
                <a:gd name="T14" fmla="*/ 32 w 39"/>
                <a:gd name="T15" fmla="*/ 6 h 38"/>
                <a:gd name="T16" fmla="*/ 6 w 39"/>
                <a:gd name="T17" fmla="*/ 6 h 38"/>
                <a:gd name="T18" fmla="*/ 6 w 39"/>
                <a:gd name="T19" fmla="*/ 32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9" h="38">
                  <a:moveTo>
                    <a:pt x="39" y="38"/>
                  </a:moveTo>
                  <a:lnTo>
                    <a:pt x="0" y="38"/>
                  </a:lnTo>
                  <a:lnTo>
                    <a:pt x="0" y="0"/>
                  </a:lnTo>
                  <a:lnTo>
                    <a:pt x="39" y="0"/>
                  </a:lnTo>
                  <a:lnTo>
                    <a:pt x="39" y="38"/>
                  </a:lnTo>
                  <a:close/>
                  <a:moveTo>
                    <a:pt x="6" y="32"/>
                  </a:moveTo>
                  <a:lnTo>
                    <a:pt x="32" y="32"/>
                  </a:lnTo>
                  <a:lnTo>
                    <a:pt x="32" y="6"/>
                  </a:lnTo>
                  <a:lnTo>
                    <a:pt x="6" y="6"/>
                  </a:lnTo>
                  <a:lnTo>
                    <a:pt x="6" y="3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47" name="Freeform 7106"/>
            <p:cNvSpPr>
              <a:spLocks/>
            </p:cNvSpPr>
            <p:nvPr/>
          </p:nvSpPr>
          <p:spPr bwMode="auto">
            <a:xfrm>
              <a:off x="5076" y="2291"/>
              <a:ext cx="543" cy="159"/>
            </a:xfrm>
            <a:custGeom>
              <a:avLst/>
              <a:gdLst>
                <a:gd name="T0" fmla="*/ 0 w 543"/>
                <a:gd name="T1" fmla="*/ 159 h 159"/>
                <a:gd name="T2" fmla="*/ 272 w 543"/>
                <a:gd name="T3" fmla="*/ 0 h 159"/>
                <a:gd name="T4" fmla="*/ 543 w 543"/>
                <a:gd name="T5" fmla="*/ 159 h 159"/>
                <a:gd name="T6" fmla="*/ 0 w 543"/>
                <a:gd name="T7" fmla="*/ 159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3" h="159">
                  <a:moveTo>
                    <a:pt x="0" y="159"/>
                  </a:moveTo>
                  <a:lnTo>
                    <a:pt x="272" y="0"/>
                  </a:lnTo>
                  <a:lnTo>
                    <a:pt x="543" y="159"/>
                  </a:lnTo>
                  <a:lnTo>
                    <a:pt x="0" y="159"/>
                  </a:lnTo>
                  <a:close/>
                </a:path>
              </a:pathLst>
            </a:custGeom>
            <a:solidFill>
              <a:srgbClr val="0059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48" name="Freeform 7107"/>
            <p:cNvSpPr>
              <a:spLocks/>
            </p:cNvSpPr>
            <p:nvPr/>
          </p:nvSpPr>
          <p:spPr bwMode="auto">
            <a:xfrm>
              <a:off x="5272" y="2271"/>
              <a:ext cx="151" cy="100"/>
            </a:xfrm>
            <a:custGeom>
              <a:avLst/>
              <a:gdLst>
                <a:gd name="T0" fmla="*/ 103 w 124"/>
                <a:gd name="T1" fmla="*/ 41 h 82"/>
                <a:gd name="T2" fmla="*/ 62 w 124"/>
                <a:gd name="T3" fmla="*/ 0 h 82"/>
                <a:gd name="T4" fmla="*/ 21 w 124"/>
                <a:gd name="T5" fmla="*/ 41 h 82"/>
                <a:gd name="T6" fmla="*/ 0 w 124"/>
                <a:gd name="T7" fmla="*/ 41 h 82"/>
                <a:gd name="T8" fmla="*/ 0 w 124"/>
                <a:gd name="T9" fmla="*/ 82 h 82"/>
                <a:gd name="T10" fmla="*/ 124 w 124"/>
                <a:gd name="T11" fmla="*/ 82 h 82"/>
                <a:gd name="T12" fmla="*/ 124 w 124"/>
                <a:gd name="T13" fmla="*/ 41 h 82"/>
                <a:gd name="T14" fmla="*/ 103 w 124"/>
                <a:gd name="T15" fmla="*/ 41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4" h="82">
                  <a:moveTo>
                    <a:pt x="103" y="41"/>
                  </a:moveTo>
                  <a:cubicBezTo>
                    <a:pt x="103" y="19"/>
                    <a:pt x="85" y="0"/>
                    <a:pt x="62" y="0"/>
                  </a:cubicBezTo>
                  <a:cubicBezTo>
                    <a:pt x="39" y="0"/>
                    <a:pt x="21" y="19"/>
                    <a:pt x="21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124" y="82"/>
                    <a:pt x="124" y="82"/>
                    <a:pt x="124" y="82"/>
                  </a:cubicBezTo>
                  <a:cubicBezTo>
                    <a:pt x="124" y="41"/>
                    <a:pt x="124" y="41"/>
                    <a:pt x="124" y="41"/>
                  </a:cubicBezTo>
                  <a:lnTo>
                    <a:pt x="103" y="41"/>
                  </a:lnTo>
                  <a:close/>
                </a:path>
              </a:pathLst>
            </a:custGeom>
            <a:solidFill>
              <a:srgbClr val="0059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49" name="Rectangle 7108"/>
            <p:cNvSpPr>
              <a:spLocks noChangeArrowheads="1"/>
            </p:cNvSpPr>
            <p:nvPr/>
          </p:nvSpPr>
          <p:spPr bwMode="auto">
            <a:xfrm>
              <a:off x="5086" y="2450"/>
              <a:ext cx="523" cy="23"/>
            </a:xfrm>
            <a:prstGeom prst="rect">
              <a:avLst/>
            </a:prstGeom>
            <a:solidFill>
              <a:srgbClr val="1D0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50" name="Rectangle 7109"/>
            <p:cNvSpPr>
              <a:spLocks noChangeArrowheads="1"/>
            </p:cNvSpPr>
            <p:nvPr/>
          </p:nvSpPr>
          <p:spPr bwMode="auto">
            <a:xfrm>
              <a:off x="5097" y="2754"/>
              <a:ext cx="500" cy="72"/>
            </a:xfrm>
            <a:prstGeom prst="rect">
              <a:avLst/>
            </a:prstGeom>
            <a:solidFill>
              <a:srgbClr val="3A0B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51" name="Rectangle 7110"/>
            <p:cNvSpPr>
              <a:spLocks noChangeArrowheads="1"/>
            </p:cNvSpPr>
            <p:nvPr/>
          </p:nvSpPr>
          <p:spPr bwMode="auto">
            <a:xfrm>
              <a:off x="5288" y="2495"/>
              <a:ext cx="120" cy="259"/>
            </a:xfrm>
            <a:prstGeom prst="rect">
              <a:avLst/>
            </a:prstGeom>
            <a:solidFill>
              <a:srgbClr val="9F84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52" name="Rectangle 7111"/>
            <p:cNvSpPr>
              <a:spLocks noChangeArrowheads="1"/>
            </p:cNvSpPr>
            <p:nvPr/>
          </p:nvSpPr>
          <p:spPr bwMode="auto">
            <a:xfrm>
              <a:off x="5287" y="2754"/>
              <a:ext cx="121" cy="13"/>
            </a:xfrm>
            <a:prstGeom prst="rect">
              <a:avLst/>
            </a:prstGeom>
            <a:solidFill>
              <a:srgbClr val="2C08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53" name="Rectangle 7112"/>
            <p:cNvSpPr>
              <a:spLocks noChangeArrowheads="1"/>
            </p:cNvSpPr>
            <p:nvPr/>
          </p:nvSpPr>
          <p:spPr bwMode="auto">
            <a:xfrm>
              <a:off x="5284" y="2767"/>
              <a:ext cx="127" cy="15"/>
            </a:xfrm>
            <a:prstGeom prst="rect">
              <a:avLst/>
            </a:prstGeom>
            <a:solidFill>
              <a:srgbClr val="2C08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54" name="Rectangle 7113"/>
            <p:cNvSpPr>
              <a:spLocks noChangeArrowheads="1"/>
            </p:cNvSpPr>
            <p:nvPr/>
          </p:nvSpPr>
          <p:spPr bwMode="auto">
            <a:xfrm>
              <a:off x="5282" y="2782"/>
              <a:ext cx="131" cy="13"/>
            </a:xfrm>
            <a:prstGeom prst="rect">
              <a:avLst/>
            </a:prstGeom>
            <a:solidFill>
              <a:srgbClr val="2C08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55" name="Rectangle 7114"/>
            <p:cNvSpPr>
              <a:spLocks noChangeArrowheads="1"/>
            </p:cNvSpPr>
            <p:nvPr/>
          </p:nvSpPr>
          <p:spPr bwMode="auto">
            <a:xfrm>
              <a:off x="5279" y="2795"/>
              <a:ext cx="137" cy="15"/>
            </a:xfrm>
            <a:prstGeom prst="rect">
              <a:avLst/>
            </a:prstGeom>
            <a:solidFill>
              <a:srgbClr val="2C08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56" name="Rectangle 7115"/>
            <p:cNvSpPr>
              <a:spLocks noChangeArrowheads="1"/>
            </p:cNvSpPr>
            <p:nvPr/>
          </p:nvSpPr>
          <p:spPr bwMode="auto">
            <a:xfrm>
              <a:off x="5277" y="2810"/>
              <a:ext cx="141" cy="13"/>
            </a:xfrm>
            <a:prstGeom prst="rect">
              <a:avLst/>
            </a:prstGeom>
            <a:solidFill>
              <a:srgbClr val="2C08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57" name="Rectangle 7116"/>
            <p:cNvSpPr>
              <a:spLocks noChangeArrowheads="1"/>
            </p:cNvSpPr>
            <p:nvPr/>
          </p:nvSpPr>
          <p:spPr bwMode="auto">
            <a:xfrm>
              <a:off x="5312" y="2625"/>
              <a:ext cx="72" cy="129"/>
            </a:xfrm>
            <a:prstGeom prst="rect">
              <a:avLst/>
            </a:prstGeom>
            <a:solidFill>
              <a:srgbClr val="2C08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58" name="Freeform 7117"/>
            <p:cNvSpPr>
              <a:spLocks/>
            </p:cNvSpPr>
            <p:nvPr/>
          </p:nvSpPr>
          <p:spPr bwMode="auto">
            <a:xfrm>
              <a:off x="5271" y="2479"/>
              <a:ext cx="154" cy="84"/>
            </a:xfrm>
            <a:custGeom>
              <a:avLst/>
              <a:gdLst>
                <a:gd name="T0" fmla="*/ 127 w 127"/>
                <a:gd name="T1" fmla="*/ 22 h 69"/>
                <a:gd name="T2" fmla="*/ 127 w 127"/>
                <a:gd name="T3" fmla="*/ 25 h 69"/>
                <a:gd name="T4" fmla="*/ 127 w 127"/>
                <a:gd name="T5" fmla="*/ 69 h 69"/>
                <a:gd name="T6" fmla="*/ 64 w 127"/>
                <a:gd name="T7" fmla="*/ 49 h 69"/>
                <a:gd name="T8" fmla="*/ 0 w 127"/>
                <a:gd name="T9" fmla="*/ 69 h 69"/>
                <a:gd name="T10" fmla="*/ 0 w 127"/>
                <a:gd name="T11" fmla="*/ 25 h 69"/>
                <a:gd name="T12" fmla="*/ 0 w 127"/>
                <a:gd name="T13" fmla="*/ 22 h 69"/>
                <a:gd name="T14" fmla="*/ 64 w 127"/>
                <a:gd name="T15" fmla="*/ 0 h 69"/>
                <a:gd name="T16" fmla="*/ 127 w 127"/>
                <a:gd name="T17" fmla="*/ 22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7" h="69">
                  <a:moveTo>
                    <a:pt x="127" y="22"/>
                  </a:moveTo>
                  <a:cubicBezTo>
                    <a:pt x="127" y="23"/>
                    <a:pt x="127" y="24"/>
                    <a:pt x="127" y="25"/>
                  </a:cubicBezTo>
                  <a:cubicBezTo>
                    <a:pt x="127" y="69"/>
                    <a:pt x="127" y="69"/>
                    <a:pt x="127" y="69"/>
                  </a:cubicBezTo>
                  <a:cubicBezTo>
                    <a:pt x="123" y="58"/>
                    <a:pt x="96" y="49"/>
                    <a:pt x="64" y="49"/>
                  </a:cubicBezTo>
                  <a:cubicBezTo>
                    <a:pt x="31" y="49"/>
                    <a:pt x="4" y="58"/>
                    <a:pt x="0" y="69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4"/>
                    <a:pt x="0" y="23"/>
                    <a:pt x="0" y="22"/>
                  </a:cubicBezTo>
                  <a:cubicBezTo>
                    <a:pt x="0" y="10"/>
                    <a:pt x="29" y="0"/>
                    <a:pt x="64" y="0"/>
                  </a:cubicBezTo>
                  <a:cubicBezTo>
                    <a:pt x="99" y="0"/>
                    <a:pt x="127" y="10"/>
                    <a:pt x="127" y="22"/>
                  </a:cubicBezTo>
                  <a:close/>
                </a:path>
              </a:pathLst>
            </a:custGeom>
            <a:solidFill>
              <a:srgbClr val="1E34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59" name="Freeform 7118"/>
            <p:cNvSpPr>
              <a:spLocks noEditPoints="1"/>
            </p:cNvSpPr>
            <p:nvPr/>
          </p:nvSpPr>
          <p:spPr bwMode="auto">
            <a:xfrm>
              <a:off x="5268" y="2476"/>
              <a:ext cx="160" cy="105"/>
            </a:xfrm>
            <a:custGeom>
              <a:avLst/>
              <a:gdLst>
                <a:gd name="T0" fmla="*/ 131 w 131"/>
                <a:gd name="T1" fmla="*/ 86 h 86"/>
                <a:gd name="T2" fmla="*/ 127 w 131"/>
                <a:gd name="T3" fmla="*/ 72 h 86"/>
                <a:gd name="T4" fmla="*/ 66 w 131"/>
                <a:gd name="T5" fmla="*/ 53 h 86"/>
                <a:gd name="T6" fmla="*/ 4 w 131"/>
                <a:gd name="T7" fmla="*/ 72 h 86"/>
                <a:gd name="T8" fmla="*/ 0 w 131"/>
                <a:gd name="T9" fmla="*/ 86 h 86"/>
                <a:gd name="T10" fmla="*/ 0 w 131"/>
                <a:gd name="T11" fmla="*/ 27 h 86"/>
                <a:gd name="T12" fmla="*/ 0 w 131"/>
                <a:gd name="T13" fmla="*/ 24 h 86"/>
                <a:gd name="T14" fmla="*/ 66 w 131"/>
                <a:gd name="T15" fmla="*/ 0 h 86"/>
                <a:gd name="T16" fmla="*/ 131 w 131"/>
                <a:gd name="T17" fmla="*/ 24 h 86"/>
                <a:gd name="T18" fmla="*/ 131 w 131"/>
                <a:gd name="T19" fmla="*/ 27 h 86"/>
                <a:gd name="T20" fmla="*/ 131 w 131"/>
                <a:gd name="T21" fmla="*/ 86 h 86"/>
                <a:gd name="T22" fmla="*/ 66 w 131"/>
                <a:gd name="T23" fmla="*/ 49 h 86"/>
                <a:gd name="T24" fmla="*/ 127 w 131"/>
                <a:gd name="T25" fmla="*/ 64 h 86"/>
                <a:gd name="T26" fmla="*/ 127 w 131"/>
                <a:gd name="T27" fmla="*/ 26 h 86"/>
                <a:gd name="T28" fmla="*/ 127 w 131"/>
                <a:gd name="T29" fmla="*/ 24 h 86"/>
                <a:gd name="T30" fmla="*/ 66 w 131"/>
                <a:gd name="T31" fmla="*/ 4 h 86"/>
                <a:gd name="T32" fmla="*/ 4 w 131"/>
                <a:gd name="T33" fmla="*/ 24 h 86"/>
                <a:gd name="T34" fmla="*/ 4 w 131"/>
                <a:gd name="T35" fmla="*/ 26 h 86"/>
                <a:gd name="T36" fmla="*/ 5 w 131"/>
                <a:gd name="T37" fmla="*/ 27 h 86"/>
                <a:gd name="T38" fmla="*/ 5 w 131"/>
                <a:gd name="T39" fmla="*/ 64 h 86"/>
                <a:gd name="T40" fmla="*/ 66 w 131"/>
                <a:gd name="T41" fmla="*/ 49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31" h="86">
                  <a:moveTo>
                    <a:pt x="131" y="86"/>
                  </a:moveTo>
                  <a:cubicBezTo>
                    <a:pt x="127" y="72"/>
                    <a:pt x="127" y="72"/>
                    <a:pt x="127" y="72"/>
                  </a:cubicBezTo>
                  <a:cubicBezTo>
                    <a:pt x="124" y="62"/>
                    <a:pt x="100" y="53"/>
                    <a:pt x="66" y="53"/>
                  </a:cubicBezTo>
                  <a:cubicBezTo>
                    <a:pt x="31" y="53"/>
                    <a:pt x="7" y="62"/>
                    <a:pt x="4" y="72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6"/>
                    <a:pt x="0" y="25"/>
                    <a:pt x="0" y="24"/>
                  </a:cubicBezTo>
                  <a:cubicBezTo>
                    <a:pt x="0" y="10"/>
                    <a:pt x="29" y="0"/>
                    <a:pt x="66" y="0"/>
                  </a:cubicBezTo>
                  <a:cubicBezTo>
                    <a:pt x="102" y="0"/>
                    <a:pt x="131" y="10"/>
                    <a:pt x="131" y="24"/>
                  </a:cubicBezTo>
                  <a:cubicBezTo>
                    <a:pt x="131" y="25"/>
                    <a:pt x="131" y="26"/>
                    <a:pt x="131" y="27"/>
                  </a:cubicBezTo>
                  <a:lnTo>
                    <a:pt x="131" y="86"/>
                  </a:lnTo>
                  <a:close/>
                  <a:moveTo>
                    <a:pt x="66" y="49"/>
                  </a:moveTo>
                  <a:cubicBezTo>
                    <a:pt x="94" y="49"/>
                    <a:pt x="117" y="55"/>
                    <a:pt x="127" y="64"/>
                  </a:cubicBezTo>
                  <a:cubicBezTo>
                    <a:pt x="127" y="26"/>
                    <a:pt x="127" y="26"/>
                    <a:pt x="127" y="26"/>
                  </a:cubicBezTo>
                  <a:cubicBezTo>
                    <a:pt x="127" y="26"/>
                    <a:pt x="127" y="25"/>
                    <a:pt x="127" y="24"/>
                  </a:cubicBezTo>
                  <a:cubicBezTo>
                    <a:pt x="127" y="14"/>
                    <a:pt x="102" y="4"/>
                    <a:pt x="66" y="4"/>
                  </a:cubicBezTo>
                  <a:cubicBezTo>
                    <a:pt x="29" y="4"/>
                    <a:pt x="4" y="14"/>
                    <a:pt x="4" y="24"/>
                  </a:cubicBezTo>
                  <a:cubicBezTo>
                    <a:pt x="4" y="25"/>
                    <a:pt x="4" y="26"/>
                    <a:pt x="4" y="26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5" y="64"/>
                    <a:pt x="5" y="64"/>
                    <a:pt x="5" y="64"/>
                  </a:cubicBezTo>
                  <a:cubicBezTo>
                    <a:pt x="14" y="55"/>
                    <a:pt x="37" y="49"/>
                    <a:pt x="66" y="49"/>
                  </a:cubicBez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60" name="Rectangle 7119"/>
            <p:cNvSpPr>
              <a:spLocks noChangeArrowheads="1"/>
            </p:cNvSpPr>
            <p:nvPr/>
          </p:nvSpPr>
          <p:spPr bwMode="auto">
            <a:xfrm>
              <a:off x="5345" y="2479"/>
              <a:ext cx="6" cy="59"/>
            </a:xfrm>
            <a:prstGeom prst="rect">
              <a:avLst/>
            </a:prstGeom>
            <a:solidFill>
              <a:srgbClr val="F5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61" name="Rectangle 7120"/>
            <p:cNvSpPr>
              <a:spLocks noChangeArrowheads="1"/>
            </p:cNvSpPr>
            <p:nvPr/>
          </p:nvSpPr>
          <p:spPr bwMode="auto">
            <a:xfrm>
              <a:off x="5317" y="2480"/>
              <a:ext cx="5" cy="60"/>
            </a:xfrm>
            <a:prstGeom prst="rect">
              <a:avLst/>
            </a:prstGeom>
            <a:solidFill>
              <a:srgbClr val="F5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62" name="Rectangle 7121"/>
            <p:cNvSpPr>
              <a:spLocks noChangeArrowheads="1"/>
            </p:cNvSpPr>
            <p:nvPr/>
          </p:nvSpPr>
          <p:spPr bwMode="auto">
            <a:xfrm>
              <a:off x="5374" y="2480"/>
              <a:ext cx="5" cy="60"/>
            </a:xfrm>
            <a:prstGeom prst="rect">
              <a:avLst/>
            </a:prstGeom>
            <a:solidFill>
              <a:srgbClr val="F5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63" name="Rectangle 7122"/>
            <p:cNvSpPr>
              <a:spLocks noChangeArrowheads="1"/>
            </p:cNvSpPr>
            <p:nvPr/>
          </p:nvSpPr>
          <p:spPr bwMode="auto">
            <a:xfrm>
              <a:off x="5289" y="2487"/>
              <a:ext cx="5" cy="60"/>
            </a:xfrm>
            <a:prstGeom prst="rect">
              <a:avLst/>
            </a:prstGeom>
            <a:solidFill>
              <a:srgbClr val="F5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64" name="Rectangle 7123"/>
            <p:cNvSpPr>
              <a:spLocks noChangeArrowheads="1"/>
            </p:cNvSpPr>
            <p:nvPr/>
          </p:nvSpPr>
          <p:spPr bwMode="auto">
            <a:xfrm>
              <a:off x="5400" y="2487"/>
              <a:ext cx="5" cy="60"/>
            </a:xfrm>
            <a:prstGeom prst="rect">
              <a:avLst/>
            </a:prstGeom>
            <a:solidFill>
              <a:srgbClr val="F5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65" name="Freeform 7124"/>
            <p:cNvSpPr>
              <a:spLocks/>
            </p:cNvSpPr>
            <p:nvPr/>
          </p:nvSpPr>
          <p:spPr bwMode="auto">
            <a:xfrm>
              <a:off x="5304" y="2391"/>
              <a:ext cx="89" cy="59"/>
            </a:xfrm>
            <a:custGeom>
              <a:avLst/>
              <a:gdLst>
                <a:gd name="T0" fmla="*/ 2 w 73"/>
                <a:gd name="T1" fmla="*/ 48 h 48"/>
                <a:gd name="T2" fmla="*/ 0 w 73"/>
                <a:gd name="T3" fmla="*/ 37 h 48"/>
                <a:gd name="T4" fmla="*/ 37 w 73"/>
                <a:gd name="T5" fmla="*/ 0 h 48"/>
                <a:gd name="T6" fmla="*/ 73 w 73"/>
                <a:gd name="T7" fmla="*/ 37 h 48"/>
                <a:gd name="T8" fmla="*/ 71 w 73"/>
                <a:gd name="T9" fmla="*/ 48 h 48"/>
                <a:gd name="T10" fmla="*/ 2 w 73"/>
                <a:gd name="T11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3" h="48">
                  <a:moveTo>
                    <a:pt x="2" y="48"/>
                  </a:moveTo>
                  <a:cubicBezTo>
                    <a:pt x="1" y="45"/>
                    <a:pt x="0" y="41"/>
                    <a:pt x="0" y="37"/>
                  </a:cubicBezTo>
                  <a:cubicBezTo>
                    <a:pt x="0" y="16"/>
                    <a:pt x="16" y="0"/>
                    <a:pt x="37" y="0"/>
                  </a:cubicBezTo>
                  <a:cubicBezTo>
                    <a:pt x="57" y="0"/>
                    <a:pt x="73" y="16"/>
                    <a:pt x="73" y="37"/>
                  </a:cubicBezTo>
                  <a:cubicBezTo>
                    <a:pt x="73" y="41"/>
                    <a:pt x="73" y="45"/>
                    <a:pt x="71" y="48"/>
                  </a:cubicBezTo>
                  <a:lnTo>
                    <a:pt x="2" y="48"/>
                  </a:lnTo>
                  <a:close/>
                </a:path>
              </a:pathLst>
            </a:custGeom>
            <a:solidFill>
              <a:srgbClr val="1D0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66" name="Freeform 7125"/>
            <p:cNvSpPr>
              <a:spLocks/>
            </p:cNvSpPr>
            <p:nvPr/>
          </p:nvSpPr>
          <p:spPr bwMode="auto">
            <a:xfrm>
              <a:off x="5487" y="2806"/>
              <a:ext cx="66" cy="68"/>
            </a:xfrm>
            <a:custGeom>
              <a:avLst/>
              <a:gdLst>
                <a:gd name="T0" fmla="*/ 19 w 54"/>
                <a:gd name="T1" fmla="*/ 56 h 56"/>
                <a:gd name="T2" fmla="*/ 54 w 54"/>
                <a:gd name="T3" fmla="*/ 2 h 56"/>
                <a:gd name="T4" fmla="*/ 14 w 54"/>
                <a:gd name="T5" fmla="*/ 46 h 56"/>
                <a:gd name="T6" fmla="*/ 17 w 54"/>
                <a:gd name="T7" fmla="*/ 9 h 56"/>
                <a:gd name="T8" fmla="*/ 12 w 54"/>
                <a:gd name="T9" fmla="*/ 56 h 56"/>
                <a:gd name="T10" fmla="*/ 19 w 54"/>
                <a:gd name="T11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4" h="56">
                  <a:moveTo>
                    <a:pt x="19" y="56"/>
                  </a:moveTo>
                  <a:cubicBezTo>
                    <a:pt x="19" y="56"/>
                    <a:pt x="20" y="9"/>
                    <a:pt x="54" y="2"/>
                  </a:cubicBezTo>
                  <a:cubicBezTo>
                    <a:pt x="54" y="2"/>
                    <a:pt x="28" y="0"/>
                    <a:pt x="14" y="46"/>
                  </a:cubicBezTo>
                  <a:cubicBezTo>
                    <a:pt x="14" y="46"/>
                    <a:pt x="2" y="16"/>
                    <a:pt x="17" y="9"/>
                  </a:cubicBezTo>
                  <a:cubicBezTo>
                    <a:pt x="17" y="9"/>
                    <a:pt x="0" y="8"/>
                    <a:pt x="12" y="56"/>
                  </a:cubicBezTo>
                  <a:lnTo>
                    <a:pt x="19" y="56"/>
                  </a:ln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67" name="Freeform 7126"/>
            <p:cNvSpPr>
              <a:spLocks/>
            </p:cNvSpPr>
            <p:nvPr/>
          </p:nvSpPr>
          <p:spPr bwMode="auto">
            <a:xfrm>
              <a:off x="5532" y="2819"/>
              <a:ext cx="61" cy="55"/>
            </a:xfrm>
            <a:custGeom>
              <a:avLst/>
              <a:gdLst>
                <a:gd name="T0" fmla="*/ 27 w 50"/>
                <a:gd name="T1" fmla="*/ 45 h 45"/>
                <a:gd name="T2" fmla="*/ 0 w 50"/>
                <a:gd name="T3" fmla="*/ 34 h 45"/>
                <a:gd name="T4" fmla="*/ 26 w 50"/>
                <a:gd name="T5" fmla="*/ 34 h 45"/>
                <a:gd name="T6" fmla="*/ 8 w 50"/>
                <a:gd name="T7" fmla="*/ 37 h 45"/>
                <a:gd name="T8" fmla="*/ 26 w 50"/>
                <a:gd name="T9" fmla="*/ 21 h 45"/>
                <a:gd name="T10" fmla="*/ 41 w 50"/>
                <a:gd name="T11" fmla="*/ 4 h 45"/>
                <a:gd name="T12" fmla="*/ 42 w 50"/>
                <a:gd name="T13" fmla="*/ 5 h 45"/>
                <a:gd name="T14" fmla="*/ 40 w 50"/>
                <a:gd name="T15" fmla="*/ 5 h 45"/>
                <a:gd name="T16" fmla="*/ 33 w 50"/>
                <a:gd name="T17" fmla="*/ 22 h 45"/>
                <a:gd name="T18" fmla="*/ 50 w 50"/>
                <a:gd name="T19" fmla="*/ 30 h 45"/>
                <a:gd name="T20" fmla="*/ 35 w 50"/>
                <a:gd name="T21" fmla="*/ 45 h 45"/>
                <a:gd name="T22" fmla="*/ 27 w 50"/>
                <a:gd name="T23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0" h="45">
                  <a:moveTo>
                    <a:pt x="27" y="45"/>
                  </a:moveTo>
                  <a:cubicBezTo>
                    <a:pt x="27" y="45"/>
                    <a:pt x="19" y="20"/>
                    <a:pt x="0" y="34"/>
                  </a:cubicBezTo>
                  <a:cubicBezTo>
                    <a:pt x="0" y="34"/>
                    <a:pt x="13" y="19"/>
                    <a:pt x="26" y="34"/>
                  </a:cubicBezTo>
                  <a:cubicBezTo>
                    <a:pt x="26" y="34"/>
                    <a:pt x="20" y="4"/>
                    <a:pt x="8" y="37"/>
                  </a:cubicBezTo>
                  <a:cubicBezTo>
                    <a:pt x="8" y="37"/>
                    <a:pt x="14" y="10"/>
                    <a:pt x="26" y="21"/>
                  </a:cubicBezTo>
                  <a:cubicBezTo>
                    <a:pt x="26" y="21"/>
                    <a:pt x="24" y="0"/>
                    <a:pt x="41" y="4"/>
                  </a:cubicBezTo>
                  <a:cubicBezTo>
                    <a:pt x="42" y="4"/>
                    <a:pt x="42" y="5"/>
                    <a:pt x="42" y="5"/>
                  </a:cubicBezTo>
                  <a:cubicBezTo>
                    <a:pt x="40" y="5"/>
                    <a:pt x="40" y="5"/>
                    <a:pt x="40" y="5"/>
                  </a:cubicBezTo>
                  <a:cubicBezTo>
                    <a:pt x="40" y="5"/>
                    <a:pt x="24" y="4"/>
                    <a:pt x="33" y="22"/>
                  </a:cubicBezTo>
                  <a:cubicBezTo>
                    <a:pt x="33" y="22"/>
                    <a:pt x="44" y="9"/>
                    <a:pt x="50" y="30"/>
                  </a:cubicBezTo>
                  <a:cubicBezTo>
                    <a:pt x="50" y="30"/>
                    <a:pt x="35" y="0"/>
                    <a:pt x="35" y="45"/>
                  </a:cubicBezTo>
                  <a:lnTo>
                    <a:pt x="27" y="45"/>
                  </a:lnTo>
                  <a:close/>
                </a:path>
              </a:pathLst>
            </a:custGeom>
            <a:solidFill>
              <a:srgbClr val="4DA0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68" name="Freeform 7127"/>
            <p:cNvSpPr>
              <a:spLocks/>
            </p:cNvSpPr>
            <p:nvPr/>
          </p:nvSpPr>
          <p:spPr bwMode="auto">
            <a:xfrm>
              <a:off x="5496" y="2778"/>
              <a:ext cx="58" cy="96"/>
            </a:xfrm>
            <a:custGeom>
              <a:avLst/>
              <a:gdLst>
                <a:gd name="T0" fmla="*/ 35 w 48"/>
                <a:gd name="T1" fmla="*/ 79 h 79"/>
                <a:gd name="T2" fmla="*/ 0 w 48"/>
                <a:gd name="T3" fmla="*/ 10 h 79"/>
                <a:gd name="T4" fmla="*/ 33 w 48"/>
                <a:gd name="T5" fmla="*/ 52 h 79"/>
                <a:gd name="T6" fmla="*/ 48 w 48"/>
                <a:gd name="T7" fmla="*/ 0 h 79"/>
                <a:gd name="T8" fmla="*/ 40 w 48"/>
                <a:gd name="T9" fmla="*/ 79 h 79"/>
                <a:gd name="T10" fmla="*/ 35 w 48"/>
                <a:gd name="T11" fmla="*/ 7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8" h="79">
                  <a:moveTo>
                    <a:pt x="35" y="79"/>
                  </a:moveTo>
                  <a:cubicBezTo>
                    <a:pt x="35" y="79"/>
                    <a:pt x="25" y="8"/>
                    <a:pt x="0" y="10"/>
                  </a:cubicBezTo>
                  <a:cubicBezTo>
                    <a:pt x="0" y="10"/>
                    <a:pt x="19" y="4"/>
                    <a:pt x="33" y="52"/>
                  </a:cubicBezTo>
                  <a:cubicBezTo>
                    <a:pt x="33" y="52"/>
                    <a:pt x="41" y="7"/>
                    <a:pt x="48" y="0"/>
                  </a:cubicBezTo>
                  <a:cubicBezTo>
                    <a:pt x="48" y="0"/>
                    <a:pt x="30" y="54"/>
                    <a:pt x="40" y="79"/>
                  </a:cubicBezTo>
                  <a:lnTo>
                    <a:pt x="35" y="79"/>
                  </a:ln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69" name="Freeform 7128"/>
            <p:cNvSpPr>
              <a:spLocks/>
            </p:cNvSpPr>
            <p:nvPr/>
          </p:nvSpPr>
          <p:spPr bwMode="auto">
            <a:xfrm>
              <a:off x="5492" y="2788"/>
              <a:ext cx="67" cy="86"/>
            </a:xfrm>
            <a:custGeom>
              <a:avLst/>
              <a:gdLst>
                <a:gd name="T0" fmla="*/ 19 w 55"/>
                <a:gd name="T1" fmla="*/ 71 h 71"/>
                <a:gd name="T2" fmla="*/ 55 w 55"/>
                <a:gd name="T3" fmla="*/ 17 h 71"/>
                <a:gd name="T4" fmla="*/ 14 w 55"/>
                <a:gd name="T5" fmla="*/ 61 h 71"/>
                <a:gd name="T6" fmla="*/ 14 w 55"/>
                <a:gd name="T7" fmla="*/ 17 h 71"/>
                <a:gd name="T8" fmla="*/ 12 w 55"/>
                <a:gd name="T9" fmla="*/ 71 h 71"/>
                <a:gd name="T10" fmla="*/ 19 w 55"/>
                <a:gd name="T11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5" h="71">
                  <a:moveTo>
                    <a:pt x="19" y="71"/>
                  </a:moveTo>
                  <a:cubicBezTo>
                    <a:pt x="19" y="71"/>
                    <a:pt x="24" y="5"/>
                    <a:pt x="55" y="17"/>
                  </a:cubicBezTo>
                  <a:cubicBezTo>
                    <a:pt x="55" y="17"/>
                    <a:pt x="31" y="0"/>
                    <a:pt x="14" y="61"/>
                  </a:cubicBezTo>
                  <a:cubicBezTo>
                    <a:pt x="14" y="61"/>
                    <a:pt x="5" y="22"/>
                    <a:pt x="14" y="17"/>
                  </a:cubicBezTo>
                  <a:cubicBezTo>
                    <a:pt x="14" y="17"/>
                    <a:pt x="0" y="23"/>
                    <a:pt x="12" y="71"/>
                  </a:cubicBezTo>
                  <a:lnTo>
                    <a:pt x="19" y="71"/>
                  </a:lnTo>
                  <a:close/>
                </a:path>
              </a:pathLst>
            </a:custGeom>
            <a:solidFill>
              <a:srgbClr val="4DA0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70" name="Freeform 7129"/>
            <p:cNvSpPr>
              <a:spLocks/>
            </p:cNvSpPr>
            <p:nvPr/>
          </p:nvSpPr>
          <p:spPr bwMode="auto">
            <a:xfrm>
              <a:off x="5540" y="2795"/>
              <a:ext cx="68" cy="79"/>
            </a:xfrm>
            <a:custGeom>
              <a:avLst/>
              <a:gdLst>
                <a:gd name="T0" fmla="*/ 26 w 56"/>
                <a:gd name="T1" fmla="*/ 65 h 65"/>
                <a:gd name="T2" fmla="*/ 0 w 56"/>
                <a:gd name="T3" fmla="*/ 32 h 65"/>
                <a:gd name="T4" fmla="*/ 28 w 56"/>
                <a:gd name="T5" fmla="*/ 52 h 65"/>
                <a:gd name="T6" fmla="*/ 16 w 56"/>
                <a:gd name="T7" fmla="*/ 8 h 65"/>
                <a:gd name="T8" fmla="*/ 34 w 56"/>
                <a:gd name="T9" fmla="*/ 54 h 65"/>
                <a:gd name="T10" fmla="*/ 56 w 56"/>
                <a:gd name="T11" fmla="*/ 54 h 65"/>
                <a:gd name="T12" fmla="*/ 35 w 56"/>
                <a:gd name="T13" fmla="*/ 65 h 65"/>
                <a:gd name="T14" fmla="*/ 26 w 56"/>
                <a:gd name="T15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6" h="65">
                  <a:moveTo>
                    <a:pt x="26" y="65"/>
                  </a:moveTo>
                  <a:cubicBezTo>
                    <a:pt x="26" y="65"/>
                    <a:pt x="22" y="21"/>
                    <a:pt x="0" y="32"/>
                  </a:cubicBezTo>
                  <a:cubicBezTo>
                    <a:pt x="0" y="32"/>
                    <a:pt x="16" y="19"/>
                    <a:pt x="28" y="52"/>
                  </a:cubicBezTo>
                  <a:cubicBezTo>
                    <a:pt x="28" y="52"/>
                    <a:pt x="31" y="5"/>
                    <a:pt x="16" y="8"/>
                  </a:cubicBezTo>
                  <a:cubicBezTo>
                    <a:pt x="16" y="8"/>
                    <a:pt x="32" y="0"/>
                    <a:pt x="34" y="54"/>
                  </a:cubicBezTo>
                  <a:cubicBezTo>
                    <a:pt x="34" y="54"/>
                    <a:pt x="45" y="36"/>
                    <a:pt x="56" y="54"/>
                  </a:cubicBezTo>
                  <a:cubicBezTo>
                    <a:pt x="56" y="54"/>
                    <a:pt x="43" y="33"/>
                    <a:pt x="35" y="65"/>
                  </a:cubicBezTo>
                  <a:lnTo>
                    <a:pt x="26" y="65"/>
                  </a:ln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71" name="Freeform 7130"/>
            <p:cNvSpPr>
              <a:spLocks/>
            </p:cNvSpPr>
            <p:nvPr/>
          </p:nvSpPr>
          <p:spPr bwMode="auto">
            <a:xfrm>
              <a:off x="5496" y="2796"/>
              <a:ext cx="94" cy="78"/>
            </a:xfrm>
            <a:custGeom>
              <a:avLst/>
              <a:gdLst>
                <a:gd name="T0" fmla="*/ 40 w 77"/>
                <a:gd name="T1" fmla="*/ 64 h 64"/>
                <a:gd name="T2" fmla="*/ 0 w 77"/>
                <a:gd name="T3" fmla="*/ 36 h 64"/>
                <a:gd name="T4" fmla="*/ 42 w 77"/>
                <a:gd name="T5" fmla="*/ 51 h 64"/>
                <a:gd name="T6" fmla="*/ 64 w 77"/>
                <a:gd name="T7" fmla="*/ 6 h 64"/>
                <a:gd name="T8" fmla="*/ 48 w 77"/>
                <a:gd name="T9" fmla="*/ 52 h 64"/>
                <a:gd name="T10" fmla="*/ 68 w 77"/>
                <a:gd name="T11" fmla="*/ 21 h 64"/>
                <a:gd name="T12" fmla="*/ 55 w 77"/>
                <a:gd name="T13" fmla="*/ 51 h 64"/>
                <a:gd name="T14" fmla="*/ 77 w 77"/>
                <a:gd name="T15" fmla="*/ 49 h 64"/>
                <a:gd name="T16" fmla="*/ 58 w 77"/>
                <a:gd name="T17" fmla="*/ 64 h 64"/>
                <a:gd name="T18" fmla="*/ 40 w 77"/>
                <a:gd name="T19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7" h="64">
                  <a:moveTo>
                    <a:pt x="40" y="64"/>
                  </a:moveTo>
                  <a:cubicBezTo>
                    <a:pt x="40" y="64"/>
                    <a:pt x="29" y="16"/>
                    <a:pt x="0" y="36"/>
                  </a:cubicBezTo>
                  <a:cubicBezTo>
                    <a:pt x="0" y="36"/>
                    <a:pt x="26" y="15"/>
                    <a:pt x="42" y="51"/>
                  </a:cubicBezTo>
                  <a:cubicBezTo>
                    <a:pt x="42" y="51"/>
                    <a:pt x="44" y="0"/>
                    <a:pt x="64" y="6"/>
                  </a:cubicBezTo>
                  <a:cubicBezTo>
                    <a:pt x="64" y="6"/>
                    <a:pt x="45" y="0"/>
                    <a:pt x="48" y="52"/>
                  </a:cubicBezTo>
                  <a:cubicBezTo>
                    <a:pt x="48" y="52"/>
                    <a:pt x="50" y="11"/>
                    <a:pt x="68" y="21"/>
                  </a:cubicBezTo>
                  <a:cubicBezTo>
                    <a:pt x="68" y="21"/>
                    <a:pt x="52" y="15"/>
                    <a:pt x="55" y="51"/>
                  </a:cubicBezTo>
                  <a:cubicBezTo>
                    <a:pt x="55" y="51"/>
                    <a:pt x="72" y="35"/>
                    <a:pt x="77" y="49"/>
                  </a:cubicBezTo>
                  <a:cubicBezTo>
                    <a:pt x="77" y="49"/>
                    <a:pt x="67" y="34"/>
                    <a:pt x="58" y="64"/>
                  </a:cubicBezTo>
                  <a:lnTo>
                    <a:pt x="40" y="64"/>
                  </a:ln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72" name="Freeform 7131"/>
            <p:cNvSpPr>
              <a:spLocks/>
            </p:cNvSpPr>
            <p:nvPr/>
          </p:nvSpPr>
          <p:spPr bwMode="auto">
            <a:xfrm>
              <a:off x="5487" y="2816"/>
              <a:ext cx="48" cy="58"/>
            </a:xfrm>
            <a:custGeom>
              <a:avLst/>
              <a:gdLst>
                <a:gd name="T0" fmla="*/ 23 w 39"/>
                <a:gd name="T1" fmla="*/ 48 h 48"/>
                <a:gd name="T2" fmla="*/ 0 w 39"/>
                <a:gd name="T3" fmla="*/ 36 h 48"/>
                <a:gd name="T4" fmla="*/ 21 w 39"/>
                <a:gd name="T5" fmla="*/ 40 h 48"/>
                <a:gd name="T6" fmla="*/ 12 w 39"/>
                <a:gd name="T7" fmla="*/ 10 h 48"/>
                <a:gd name="T8" fmla="*/ 24 w 39"/>
                <a:gd name="T9" fmla="*/ 38 h 48"/>
                <a:gd name="T10" fmla="*/ 24 w 39"/>
                <a:gd name="T11" fmla="*/ 0 h 48"/>
                <a:gd name="T12" fmla="*/ 27 w 39"/>
                <a:gd name="T13" fmla="*/ 39 h 48"/>
                <a:gd name="T14" fmla="*/ 39 w 39"/>
                <a:gd name="T15" fmla="*/ 33 h 48"/>
                <a:gd name="T16" fmla="*/ 29 w 39"/>
                <a:gd name="T17" fmla="*/ 48 h 48"/>
                <a:gd name="T18" fmla="*/ 23 w 39"/>
                <a:gd name="T19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9" h="48">
                  <a:moveTo>
                    <a:pt x="23" y="48"/>
                  </a:moveTo>
                  <a:cubicBezTo>
                    <a:pt x="23" y="48"/>
                    <a:pt x="14" y="25"/>
                    <a:pt x="0" y="36"/>
                  </a:cubicBezTo>
                  <a:cubicBezTo>
                    <a:pt x="0" y="36"/>
                    <a:pt x="12" y="28"/>
                    <a:pt x="21" y="40"/>
                  </a:cubicBezTo>
                  <a:cubicBezTo>
                    <a:pt x="21" y="40"/>
                    <a:pt x="23" y="14"/>
                    <a:pt x="12" y="10"/>
                  </a:cubicBezTo>
                  <a:cubicBezTo>
                    <a:pt x="12" y="10"/>
                    <a:pt x="24" y="15"/>
                    <a:pt x="24" y="38"/>
                  </a:cubicBezTo>
                  <a:cubicBezTo>
                    <a:pt x="24" y="38"/>
                    <a:pt x="30" y="1"/>
                    <a:pt x="24" y="0"/>
                  </a:cubicBezTo>
                  <a:cubicBezTo>
                    <a:pt x="24" y="0"/>
                    <a:pt x="34" y="0"/>
                    <a:pt x="27" y="39"/>
                  </a:cubicBezTo>
                  <a:cubicBezTo>
                    <a:pt x="27" y="39"/>
                    <a:pt x="32" y="20"/>
                    <a:pt x="39" y="33"/>
                  </a:cubicBezTo>
                  <a:cubicBezTo>
                    <a:pt x="39" y="33"/>
                    <a:pt x="30" y="19"/>
                    <a:pt x="29" y="48"/>
                  </a:cubicBezTo>
                  <a:lnTo>
                    <a:pt x="23" y="48"/>
                  </a:ln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73" name="Freeform 7132"/>
            <p:cNvSpPr>
              <a:spLocks/>
            </p:cNvSpPr>
            <p:nvPr/>
          </p:nvSpPr>
          <p:spPr bwMode="auto">
            <a:xfrm>
              <a:off x="5504" y="2799"/>
              <a:ext cx="71" cy="75"/>
            </a:xfrm>
            <a:custGeom>
              <a:avLst/>
              <a:gdLst>
                <a:gd name="T0" fmla="*/ 28 w 58"/>
                <a:gd name="T1" fmla="*/ 62 h 62"/>
                <a:gd name="T2" fmla="*/ 58 w 58"/>
                <a:gd name="T3" fmla="*/ 19 h 62"/>
                <a:gd name="T4" fmla="*/ 25 w 58"/>
                <a:gd name="T5" fmla="*/ 52 h 62"/>
                <a:gd name="T6" fmla="*/ 0 w 58"/>
                <a:gd name="T7" fmla="*/ 0 h 62"/>
                <a:gd name="T8" fmla="*/ 17 w 58"/>
                <a:gd name="T9" fmla="*/ 62 h 62"/>
                <a:gd name="T10" fmla="*/ 28 w 58"/>
                <a:gd name="T11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8" h="62">
                  <a:moveTo>
                    <a:pt x="28" y="62"/>
                  </a:moveTo>
                  <a:cubicBezTo>
                    <a:pt x="28" y="62"/>
                    <a:pt x="33" y="20"/>
                    <a:pt x="58" y="19"/>
                  </a:cubicBezTo>
                  <a:cubicBezTo>
                    <a:pt x="58" y="19"/>
                    <a:pt x="36" y="17"/>
                    <a:pt x="25" y="52"/>
                  </a:cubicBezTo>
                  <a:cubicBezTo>
                    <a:pt x="25" y="52"/>
                    <a:pt x="17" y="9"/>
                    <a:pt x="0" y="0"/>
                  </a:cubicBezTo>
                  <a:cubicBezTo>
                    <a:pt x="0" y="0"/>
                    <a:pt x="24" y="23"/>
                    <a:pt x="17" y="62"/>
                  </a:cubicBezTo>
                  <a:lnTo>
                    <a:pt x="28" y="62"/>
                  </a:ln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74" name="Freeform 7133"/>
            <p:cNvSpPr>
              <a:spLocks/>
            </p:cNvSpPr>
            <p:nvPr/>
          </p:nvSpPr>
          <p:spPr bwMode="auto">
            <a:xfrm>
              <a:off x="5548" y="2784"/>
              <a:ext cx="76" cy="90"/>
            </a:xfrm>
            <a:custGeom>
              <a:avLst/>
              <a:gdLst>
                <a:gd name="T0" fmla="*/ 33 w 62"/>
                <a:gd name="T1" fmla="*/ 74 h 74"/>
                <a:gd name="T2" fmla="*/ 0 w 62"/>
                <a:gd name="T3" fmla="*/ 21 h 74"/>
                <a:gd name="T4" fmla="*/ 33 w 62"/>
                <a:gd name="T5" fmla="*/ 49 h 74"/>
                <a:gd name="T6" fmla="*/ 24 w 62"/>
                <a:gd name="T7" fmla="*/ 0 h 74"/>
                <a:gd name="T8" fmla="*/ 40 w 62"/>
                <a:gd name="T9" fmla="*/ 55 h 74"/>
                <a:gd name="T10" fmla="*/ 62 w 62"/>
                <a:gd name="T11" fmla="*/ 18 h 74"/>
                <a:gd name="T12" fmla="*/ 43 w 62"/>
                <a:gd name="T13" fmla="*/ 74 h 74"/>
                <a:gd name="T14" fmla="*/ 33 w 62"/>
                <a:gd name="T15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2" h="74">
                  <a:moveTo>
                    <a:pt x="33" y="74"/>
                  </a:moveTo>
                  <a:cubicBezTo>
                    <a:pt x="33" y="74"/>
                    <a:pt x="31" y="17"/>
                    <a:pt x="0" y="21"/>
                  </a:cubicBezTo>
                  <a:cubicBezTo>
                    <a:pt x="0" y="21"/>
                    <a:pt x="20" y="11"/>
                    <a:pt x="33" y="49"/>
                  </a:cubicBezTo>
                  <a:cubicBezTo>
                    <a:pt x="33" y="49"/>
                    <a:pt x="26" y="3"/>
                    <a:pt x="24" y="0"/>
                  </a:cubicBezTo>
                  <a:cubicBezTo>
                    <a:pt x="24" y="0"/>
                    <a:pt x="29" y="14"/>
                    <a:pt x="40" y="55"/>
                  </a:cubicBezTo>
                  <a:cubicBezTo>
                    <a:pt x="40" y="55"/>
                    <a:pt x="47" y="20"/>
                    <a:pt x="62" y="18"/>
                  </a:cubicBezTo>
                  <a:cubicBezTo>
                    <a:pt x="62" y="18"/>
                    <a:pt x="42" y="22"/>
                    <a:pt x="43" y="74"/>
                  </a:cubicBezTo>
                  <a:lnTo>
                    <a:pt x="33" y="74"/>
                  </a:lnTo>
                  <a:close/>
                </a:path>
              </a:pathLst>
            </a:custGeom>
            <a:solidFill>
              <a:srgbClr val="4DA0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75" name="Freeform 7134"/>
            <p:cNvSpPr>
              <a:spLocks/>
            </p:cNvSpPr>
            <p:nvPr/>
          </p:nvSpPr>
          <p:spPr bwMode="auto">
            <a:xfrm>
              <a:off x="5553" y="2824"/>
              <a:ext cx="54" cy="50"/>
            </a:xfrm>
            <a:custGeom>
              <a:avLst/>
              <a:gdLst>
                <a:gd name="T0" fmla="*/ 24 w 44"/>
                <a:gd name="T1" fmla="*/ 41 h 41"/>
                <a:gd name="T2" fmla="*/ 0 w 44"/>
                <a:gd name="T3" fmla="*/ 33 h 41"/>
                <a:gd name="T4" fmla="*/ 20 w 44"/>
                <a:gd name="T5" fmla="*/ 31 h 41"/>
                <a:gd name="T6" fmla="*/ 8 w 44"/>
                <a:gd name="T7" fmla="*/ 34 h 41"/>
                <a:gd name="T8" fmla="*/ 23 w 44"/>
                <a:gd name="T9" fmla="*/ 26 h 41"/>
                <a:gd name="T10" fmla="*/ 9 w 44"/>
                <a:gd name="T11" fmla="*/ 7 h 41"/>
                <a:gd name="T12" fmla="*/ 26 w 44"/>
                <a:gd name="T13" fmla="*/ 27 h 41"/>
                <a:gd name="T14" fmla="*/ 44 w 44"/>
                <a:gd name="T15" fmla="*/ 24 h 41"/>
                <a:gd name="T16" fmla="*/ 29 w 44"/>
                <a:gd name="T17" fmla="*/ 41 h 41"/>
                <a:gd name="T18" fmla="*/ 24 w 44"/>
                <a:gd name="T19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41">
                  <a:moveTo>
                    <a:pt x="24" y="41"/>
                  </a:moveTo>
                  <a:cubicBezTo>
                    <a:pt x="24" y="41"/>
                    <a:pt x="16" y="21"/>
                    <a:pt x="0" y="33"/>
                  </a:cubicBezTo>
                  <a:cubicBezTo>
                    <a:pt x="0" y="33"/>
                    <a:pt x="8" y="23"/>
                    <a:pt x="20" y="31"/>
                  </a:cubicBezTo>
                  <a:cubicBezTo>
                    <a:pt x="20" y="31"/>
                    <a:pt x="10" y="5"/>
                    <a:pt x="8" y="34"/>
                  </a:cubicBezTo>
                  <a:cubicBezTo>
                    <a:pt x="8" y="34"/>
                    <a:pt x="4" y="0"/>
                    <a:pt x="23" y="26"/>
                  </a:cubicBezTo>
                  <a:cubicBezTo>
                    <a:pt x="23" y="26"/>
                    <a:pt x="16" y="7"/>
                    <a:pt x="9" y="7"/>
                  </a:cubicBezTo>
                  <a:cubicBezTo>
                    <a:pt x="9" y="7"/>
                    <a:pt x="20" y="8"/>
                    <a:pt x="26" y="27"/>
                  </a:cubicBezTo>
                  <a:cubicBezTo>
                    <a:pt x="26" y="27"/>
                    <a:pt x="36" y="9"/>
                    <a:pt x="44" y="24"/>
                  </a:cubicBezTo>
                  <a:cubicBezTo>
                    <a:pt x="44" y="24"/>
                    <a:pt x="31" y="5"/>
                    <a:pt x="29" y="41"/>
                  </a:cubicBezTo>
                  <a:lnTo>
                    <a:pt x="24" y="41"/>
                  </a:ln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76" name="Freeform 7135"/>
            <p:cNvSpPr>
              <a:spLocks/>
            </p:cNvSpPr>
            <p:nvPr/>
          </p:nvSpPr>
          <p:spPr bwMode="auto">
            <a:xfrm>
              <a:off x="5459" y="2819"/>
              <a:ext cx="61" cy="55"/>
            </a:xfrm>
            <a:custGeom>
              <a:avLst/>
              <a:gdLst>
                <a:gd name="T0" fmla="*/ 27 w 50"/>
                <a:gd name="T1" fmla="*/ 45 h 45"/>
                <a:gd name="T2" fmla="*/ 0 w 50"/>
                <a:gd name="T3" fmla="*/ 34 h 45"/>
                <a:gd name="T4" fmla="*/ 26 w 50"/>
                <a:gd name="T5" fmla="*/ 34 h 45"/>
                <a:gd name="T6" fmla="*/ 8 w 50"/>
                <a:gd name="T7" fmla="*/ 37 h 45"/>
                <a:gd name="T8" fmla="*/ 26 w 50"/>
                <a:gd name="T9" fmla="*/ 21 h 45"/>
                <a:gd name="T10" fmla="*/ 41 w 50"/>
                <a:gd name="T11" fmla="*/ 4 h 45"/>
                <a:gd name="T12" fmla="*/ 42 w 50"/>
                <a:gd name="T13" fmla="*/ 5 h 45"/>
                <a:gd name="T14" fmla="*/ 41 w 50"/>
                <a:gd name="T15" fmla="*/ 5 h 45"/>
                <a:gd name="T16" fmla="*/ 33 w 50"/>
                <a:gd name="T17" fmla="*/ 22 h 45"/>
                <a:gd name="T18" fmla="*/ 50 w 50"/>
                <a:gd name="T19" fmla="*/ 30 h 45"/>
                <a:gd name="T20" fmla="*/ 35 w 50"/>
                <a:gd name="T21" fmla="*/ 45 h 45"/>
                <a:gd name="T22" fmla="*/ 27 w 50"/>
                <a:gd name="T23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0" h="45">
                  <a:moveTo>
                    <a:pt x="27" y="45"/>
                  </a:moveTo>
                  <a:cubicBezTo>
                    <a:pt x="27" y="45"/>
                    <a:pt x="19" y="20"/>
                    <a:pt x="0" y="34"/>
                  </a:cubicBezTo>
                  <a:cubicBezTo>
                    <a:pt x="0" y="34"/>
                    <a:pt x="13" y="19"/>
                    <a:pt x="26" y="34"/>
                  </a:cubicBezTo>
                  <a:cubicBezTo>
                    <a:pt x="26" y="34"/>
                    <a:pt x="20" y="4"/>
                    <a:pt x="8" y="37"/>
                  </a:cubicBezTo>
                  <a:cubicBezTo>
                    <a:pt x="8" y="37"/>
                    <a:pt x="14" y="10"/>
                    <a:pt x="26" y="21"/>
                  </a:cubicBezTo>
                  <a:cubicBezTo>
                    <a:pt x="26" y="21"/>
                    <a:pt x="24" y="0"/>
                    <a:pt x="41" y="4"/>
                  </a:cubicBezTo>
                  <a:cubicBezTo>
                    <a:pt x="42" y="4"/>
                    <a:pt x="42" y="5"/>
                    <a:pt x="42" y="5"/>
                  </a:cubicBezTo>
                  <a:cubicBezTo>
                    <a:pt x="41" y="5"/>
                    <a:pt x="41" y="5"/>
                    <a:pt x="41" y="5"/>
                  </a:cubicBezTo>
                  <a:cubicBezTo>
                    <a:pt x="41" y="5"/>
                    <a:pt x="25" y="4"/>
                    <a:pt x="33" y="22"/>
                  </a:cubicBezTo>
                  <a:cubicBezTo>
                    <a:pt x="33" y="22"/>
                    <a:pt x="44" y="9"/>
                    <a:pt x="50" y="30"/>
                  </a:cubicBezTo>
                  <a:cubicBezTo>
                    <a:pt x="50" y="30"/>
                    <a:pt x="35" y="0"/>
                    <a:pt x="35" y="45"/>
                  </a:cubicBezTo>
                  <a:lnTo>
                    <a:pt x="27" y="45"/>
                  </a:ln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77" name="Freeform 7136"/>
            <p:cNvSpPr>
              <a:spLocks/>
            </p:cNvSpPr>
            <p:nvPr/>
          </p:nvSpPr>
          <p:spPr bwMode="auto">
            <a:xfrm>
              <a:off x="5503" y="2795"/>
              <a:ext cx="76" cy="79"/>
            </a:xfrm>
            <a:custGeom>
              <a:avLst/>
              <a:gdLst>
                <a:gd name="T0" fmla="*/ 19 w 62"/>
                <a:gd name="T1" fmla="*/ 65 h 65"/>
                <a:gd name="T2" fmla="*/ 62 w 62"/>
                <a:gd name="T3" fmla="*/ 33 h 65"/>
                <a:gd name="T4" fmla="*/ 25 w 62"/>
                <a:gd name="T5" fmla="*/ 44 h 65"/>
                <a:gd name="T6" fmla="*/ 15 w 62"/>
                <a:gd name="T7" fmla="*/ 0 h 65"/>
                <a:gd name="T8" fmla="*/ 18 w 62"/>
                <a:gd name="T9" fmla="*/ 51 h 65"/>
                <a:gd name="T10" fmla="*/ 0 w 62"/>
                <a:gd name="T11" fmla="*/ 43 h 65"/>
                <a:gd name="T12" fmla="*/ 16 w 62"/>
                <a:gd name="T13" fmla="*/ 65 h 65"/>
                <a:gd name="T14" fmla="*/ 19 w 62"/>
                <a:gd name="T15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2" h="65">
                  <a:moveTo>
                    <a:pt x="19" y="65"/>
                  </a:moveTo>
                  <a:cubicBezTo>
                    <a:pt x="19" y="65"/>
                    <a:pt x="35" y="16"/>
                    <a:pt x="62" y="33"/>
                  </a:cubicBezTo>
                  <a:cubicBezTo>
                    <a:pt x="62" y="33"/>
                    <a:pt x="48" y="19"/>
                    <a:pt x="25" y="44"/>
                  </a:cubicBezTo>
                  <a:cubicBezTo>
                    <a:pt x="25" y="44"/>
                    <a:pt x="18" y="4"/>
                    <a:pt x="15" y="0"/>
                  </a:cubicBezTo>
                  <a:cubicBezTo>
                    <a:pt x="15" y="0"/>
                    <a:pt x="23" y="32"/>
                    <a:pt x="18" y="51"/>
                  </a:cubicBezTo>
                  <a:cubicBezTo>
                    <a:pt x="18" y="51"/>
                    <a:pt x="12" y="32"/>
                    <a:pt x="0" y="43"/>
                  </a:cubicBezTo>
                  <a:cubicBezTo>
                    <a:pt x="0" y="43"/>
                    <a:pt x="17" y="30"/>
                    <a:pt x="16" y="65"/>
                  </a:cubicBezTo>
                  <a:lnTo>
                    <a:pt x="19" y="65"/>
                  </a:ln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78" name="Freeform 7137"/>
            <p:cNvSpPr>
              <a:spLocks/>
            </p:cNvSpPr>
            <p:nvPr/>
          </p:nvSpPr>
          <p:spPr bwMode="auto">
            <a:xfrm>
              <a:off x="5456" y="2795"/>
              <a:ext cx="68" cy="79"/>
            </a:xfrm>
            <a:custGeom>
              <a:avLst/>
              <a:gdLst>
                <a:gd name="T0" fmla="*/ 30 w 56"/>
                <a:gd name="T1" fmla="*/ 65 h 65"/>
                <a:gd name="T2" fmla="*/ 56 w 56"/>
                <a:gd name="T3" fmla="*/ 32 h 65"/>
                <a:gd name="T4" fmla="*/ 28 w 56"/>
                <a:gd name="T5" fmla="*/ 52 h 65"/>
                <a:gd name="T6" fmla="*/ 40 w 56"/>
                <a:gd name="T7" fmla="*/ 8 h 65"/>
                <a:gd name="T8" fmla="*/ 21 w 56"/>
                <a:gd name="T9" fmla="*/ 54 h 65"/>
                <a:gd name="T10" fmla="*/ 0 w 56"/>
                <a:gd name="T11" fmla="*/ 54 h 65"/>
                <a:gd name="T12" fmla="*/ 21 w 56"/>
                <a:gd name="T13" fmla="*/ 65 h 65"/>
                <a:gd name="T14" fmla="*/ 30 w 56"/>
                <a:gd name="T15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6" h="65">
                  <a:moveTo>
                    <a:pt x="30" y="65"/>
                  </a:moveTo>
                  <a:cubicBezTo>
                    <a:pt x="30" y="65"/>
                    <a:pt x="34" y="21"/>
                    <a:pt x="56" y="32"/>
                  </a:cubicBezTo>
                  <a:cubicBezTo>
                    <a:pt x="56" y="32"/>
                    <a:pt x="40" y="19"/>
                    <a:pt x="28" y="52"/>
                  </a:cubicBezTo>
                  <a:cubicBezTo>
                    <a:pt x="28" y="52"/>
                    <a:pt x="25" y="5"/>
                    <a:pt x="40" y="8"/>
                  </a:cubicBezTo>
                  <a:cubicBezTo>
                    <a:pt x="40" y="8"/>
                    <a:pt x="24" y="0"/>
                    <a:pt x="21" y="54"/>
                  </a:cubicBezTo>
                  <a:cubicBezTo>
                    <a:pt x="21" y="54"/>
                    <a:pt x="11" y="36"/>
                    <a:pt x="0" y="54"/>
                  </a:cubicBezTo>
                  <a:cubicBezTo>
                    <a:pt x="0" y="54"/>
                    <a:pt x="12" y="33"/>
                    <a:pt x="21" y="65"/>
                  </a:cubicBezTo>
                  <a:lnTo>
                    <a:pt x="30" y="65"/>
                  </a:ln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79" name="Freeform 7138"/>
            <p:cNvSpPr>
              <a:spLocks/>
            </p:cNvSpPr>
            <p:nvPr/>
          </p:nvSpPr>
          <p:spPr bwMode="auto">
            <a:xfrm>
              <a:off x="5446" y="2773"/>
              <a:ext cx="76" cy="101"/>
            </a:xfrm>
            <a:custGeom>
              <a:avLst/>
              <a:gdLst>
                <a:gd name="T0" fmla="*/ 29 w 62"/>
                <a:gd name="T1" fmla="*/ 83 h 83"/>
                <a:gd name="T2" fmla="*/ 62 w 62"/>
                <a:gd name="T3" fmla="*/ 30 h 83"/>
                <a:gd name="T4" fmla="*/ 29 w 62"/>
                <a:gd name="T5" fmla="*/ 58 h 83"/>
                <a:gd name="T6" fmla="*/ 44 w 62"/>
                <a:gd name="T7" fmla="*/ 0 h 83"/>
                <a:gd name="T8" fmla="*/ 22 w 62"/>
                <a:gd name="T9" fmla="*/ 64 h 83"/>
                <a:gd name="T10" fmla="*/ 0 w 62"/>
                <a:gd name="T11" fmla="*/ 27 h 83"/>
                <a:gd name="T12" fmla="*/ 19 w 62"/>
                <a:gd name="T13" fmla="*/ 83 h 83"/>
                <a:gd name="T14" fmla="*/ 29 w 62"/>
                <a:gd name="T15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2" h="83">
                  <a:moveTo>
                    <a:pt x="29" y="83"/>
                  </a:moveTo>
                  <a:cubicBezTo>
                    <a:pt x="29" y="83"/>
                    <a:pt x="31" y="26"/>
                    <a:pt x="62" y="30"/>
                  </a:cubicBezTo>
                  <a:cubicBezTo>
                    <a:pt x="62" y="30"/>
                    <a:pt x="42" y="20"/>
                    <a:pt x="29" y="58"/>
                  </a:cubicBezTo>
                  <a:cubicBezTo>
                    <a:pt x="29" y="58"/>
                    <a:pt x="43" y="1"/>
                    <a:pt x="44" y="0"/>
                  </a:cubicBezTo>
                  <a:cubicBezTo>
                    <a:pt x="44" y="0"/>
                    <a:pt x="33" y="23"/>
                    <a:pt x="22" y="64"/>
                  </a:cubicBezTo>
                  <a:cubicBezTo>
                    <a:pt x="22" y="64"/>
                    <a:pt x="15" y="29"/>
                    <a:pt x="0" y="27"/>
                  </a:cubicBezTo>
                  <a:cubicBezTo>
                    <a:pt x="0" y="27"/>
                    <a:pt x="20" y="31"/>
                    <a:pt x="19" y="83"/>
                  </a:cubicBezTo>
                  <a:lnTo>
                    <a:pt x="29" y="83"/>
                  </a:ln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80" name="Freeform 7139"/>
            <p:cNvSpPr>
              <a:spLocks/>
            </p:cNvSpPr>
            <p:nvPr/>
          </p:nvSpPr>
          <p:spPr bwMode="auto">
            <a:xfrm>
              <a:off x="5464" y="2824"/>
              <a:ext cx="54" cy="50"/>
            </a:xfrm>
            <a:custGeom>
              <a:avLst/>
              <a:gdLst>
                <a:gd name="T0" fmla="*/ 20 w 44"/>
                <a:gd name="T1" fmla="*/ 41 h 41"/>
                <a:gd name="T2" fmla="*/ 44 w 44"/>
                <a:gd name="T3" fmla="*/ 33 h 41"/>
                <a:gd name="T4" fmla="*/ 24 w 44"/>
                <a:gd name="T5" fmla="*/ 31 h 41"/>
                <a:gd name="T6" fmla="*/ 36 w 44"/>
                <a:gd name="T7" fmla="*/ 34 h 41"/>
                <a:gd name="T8" fmla="*/ 21 w 44"/>
                <a:gd name="T9" fmla="*/ 26 h 41"/>
                <a:gd name="T10" fmla="*/ 35 w 44"/>
                <a:gd name="T11" fmla="*/ 7 h 41"/>
                <a:gd name="T12" fmla="*/ 18 w 44"/>
                <a:gd name="T13" fmla="*/ 27 h 41"/>
                <a:gd name="T14" fmla="*/ 0 w 44"/>
                <a:gd name="T15" fmla="*/ 24 h 41"/>
                <a:gd name="T16" fmla="*/ 15 w 44"/>
                <a:gd name="T17" fmla="*/ 41 h 41"/>
                <a:gd name="T18" fmla="*/ 20 w 44"/>
                <a:gd name="T19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41">
                  <a:moveTo>
                    <a:pt x="20" y="41"/>
                  </a:moveTo>
                  <a:cubicBezTo>
                    <a:pt x="20" y="41"/>
                    <a:pt x="28" y="21"/>
                    <a:pt x="44" y="33"/>
                  </a:cubicBezTo>
                  <a:cubicBezTo>
                    <a:pt x="44" y="33"/>
                    <a:pt x="37" y="23"/>
                    <a:pt x="24" y="31"/>
                  </a:cubicBezTo>
                  <a:cubicBezTo>
                    <a:pt x="24" y="31"/>
                    <a:pt x="34" y="5"/>
                    <a:pt x="36" y="34"/>
                  </a:cubicBezTo>
                  <a:cubicBezTo>
                    <a:pt x="36" y="34"/>
                    <a:pt x="40" y="0"/>
                    <a:pt x="21" y="26"/>
                  </a:cubicBezTo>
                  <a:cubicBezTo>
                    <a:pt x="21" y="26"/>
                    <a:pt x="28" y="7"/>
                    <a:pt x="35" y="7"/>
                  </a:cubicBezTo>
                  <a:cubicBezTo>
                    <a:pt x="35" y="7"/>
                    <a:pt x="24" y="8"/>
                    <a:pt x="18" y="27"/>
                  </a:cubicBezTo>
                  <a:cubicBezTo>
                    <a:pt x="18" y="27"/>
                    <a:pt x="8" y="9"/>
                    <a:pt x="0" y="24"/>
                  </a:cubicBezTo>
                  <a:cubicBezTo>
                    <a:pt x="0" y="24"/>
                    <a:pt x="13" y="5"/>
                    <a:pt x="15" y="41"/>
                  </a:cubicBezTo>
                  <a:lnTo>
                    <a:pt x="20" y="41"/>
                  </a:lnTo>
                  <a:close/>
                </a:path>
              </a:pathLst>
            </a:custGeom>
            <a:solidFill>
              <a:srgbClr val="4DA0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81" name="Freeform 7140"/>
            <p:cNvSpPr>
              <a:spLocks/>
            </p:cNvSpPr>
            <p:nvPr/>
          </p:nvSpPr>
          <p:spPr bwMode="auto">
            <a:xfrm>
              <a:off x="5625" y="2819"/>
              <a:ext cx="4" cy="3"/>
            </a:xfrm>
            <a:custGeom>
              <a:avLst/>
              <a:gdLst>
                <a:gd name="T0" fmla="*/ 3 w 3"/>
                <a:gd name="T1" fmla="*/ 2 h 2"/>
                <a:gd name="T2" fmla="*/ 3 w 3"/>
                <a:gd name="T3" fmla="*/ 2 h 2"/>
                <a:gd name="T4" fmla="*/ 0 w 3"/>
                <a:gd name="T5" fmla="*/ 0 h 2"/>
                <a:gd name="T6" fmla="*/ 1 w 3"/>
                <a:gd name="T7" fmla="*/ 2 h 2"/>
                <a:gd name="T8" fmla="*/ 3 w 3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2">
                  <a:moveTo>
                    <a:pt x="3" y="2"/>
                  </a:moveTo>
                  <a:cubicBezTo>
                    <a:pt x="3" y="2"/>
                    <a:pt x="3" y="2"/>
                    <a:pt x="3" y="2"/>
                  </a:cubicBezTo>
                  <a:cubicBezTo>
                    <a:pt x="2" y="1"/>
                    <a:pt x="1" y="1"/>
                    <a:pt x="0" y="0"/>
                  </a:cubicBezTo>
                  <a:cubicBezTo>
                    <a:pt x="0" y="1"/>
                    <a:pt x="0" y="1"/>
                    <a:pt x="1" y="2"/>
                  </a:cubicBezTo>
                  <a:cubicBezTo>
                    <a:pt x="2" y="1"/>
                    <a:pt x="2" y="2"/>
                    <a:pt x="3" y="2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82" name="Freeform 7141"/>
            <p:cNvSpPr>
              <a:spLocks/>
            </p:cNvSpPr>
            <p:nvPr/>
          </p:nvSpPr>
          <p:spPr bwMode="auto">
            <a:xfrm>
              <a:off x="5625" y="2804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83" name="Freeform 7142"/>
            <p:cNvSpPr>
              <a:spLocks/>
            </p:cNvSpPr>
            <p:nvPr/>
          </p:nvSpPr>
          <p:spPr bwMode="auto">
            <a:xfrm>
              <a:off x="5609" y="2810"/>
              <a:ext cx="3" cy="5"/>
            </a:xfrm>
            <a:custGeom>
              <a:avLst/>
              <a:gdLst>
                <a:gd name="T0" fmla="*/ 0 w 2"/>
                <a:gd name="T1" fmla="*/ 0 h 4"/>
                <a:gd name="T2" fmla="*/ 0 w 2"/>
                <a:gd name="T3" fmla="*/ 1 h 4"/>
                <a:gd name="T4" fmla="*/ 0 w 2"/>
                <a:gd name="T5" fmla="*/ 4 h 4"/>
                <a:gd name="T6" fmla="*/ 2 w 2"/>
                <a:gd name="T7" fmla="*/ 1 h 4"/>
                <a:gd name="T8" fmla="*/ 0 w 2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3"/>
                    <a:pt x="0" y="4"/>
                  </a:cubicBezTo>
                  <a:cubicBezTo>
                    <a:pt x="1" y="3"/>
                    <a:pt x="1" y="2"/>
                    <a:pt x="2" y="1"/>
                  </a:cubicBezTo>
                  <a:cubicBezTo>
                    <a:pt x="1" y="1"/>
                    <a:pt x="1" y="1"/>
                    <a:pt x="0" y="0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84" name="Freeform 7143"/>
            <p:cNvSpPr>
              <a:spLocks/>
            </p:cNvSpPr>
            <p:nvPr/>
          </p:nvSpPr>
          <p:spPr bwMode="auto">
            <a:xfrm>
              <a:off x="5612" y="2802"/>
              <a:ext cx="13" cy="7"/>
            </a:xfrm>
            <a:custGeom>
              <a:avLst/>
              <a:gdLst>
                <a:gd name="T0" fmla="*/ 11 w 11"/>
                <a:gd name="T1" fmla="*/ 1 h 5"/>
                <a:gd name="T2" fmla="*/ 0 w 11"/>
                <a:gd name="T3" fmla="*/ 4 h 5"/>
                <a:gd name="T4" fmla="*/ 1 w 11"/>
                <a:gd name="T5" fmla="*/ 5 h 5"/>
                <a:gd name="T6" fmla="*/ 11 w 11"/>
                <a:gd name="T7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5">
                  <a:moveTo>
                    <a:pt x="11" y="1"/>
                  </a:moveTo>
                  <a:cubicBezTo>
                    <a:pt x="6" y="0"/>
                    <a:pt x="3" y="1"/>
                    <a:pt x="0" y="4"/>
                  </a:cubicBezTo>
                  <a:cubicBezTo>
                    <a:pt x="0" y="5"/>
                    <a:pt x="1" y="5"/>
                    <a:pt x="1" y="5"/>
                  </a:cubicBezTo>
                  <a:cubicBezTo>
                    <a:pt x="5" y="0"/>
                    <a:pt x="10" y="1"/>
                    <a:pt x="11" y="1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85" name="Freeform 7144"/>
            <p:cNvSpPr>
              <a:spLocks/>
            </p:cNvSpPr>
            <p:nvPr/>
          </p:nvSpPr>
          <p:spPr bwMode="auto">
            <a:xfrm>
              <a:off x="5605" y="2816"/>
              <a:ext cx="2" cy="2"/>
            </a:xfrm>
            <a:custGeom>
              <a:avLst/>
              <a:gdLst>
                <a:gd name="T0" fmla="*/ 1 w 1"/>
                <a:gd name="T1" fmla="*/ 0 h 2"/>
                <a:gd name="T2" fmla="*/ 0 w 1"/>
                <a:gd name="T3" fmla="*/ 2 h 2"/>
                <a:gd name="T4" fmla="*/ 1 w 1"/>
                <a:gd name="T5" fmla="*/ 2 h 2"/>
                <a:gd name="T6" fmla="*/ 1 w 1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cubicBezTo>
                    <a:pt x="1" y="1"/>
                    <a:pt x="0" y="1"/>
                    <a:pt x="0" y="2"/>
                  </a:cubicBezTo>
                  <a:cubicBezTo>
                    <a:pt x="0" y="2"/>
                    <a:pt x="1" y="2"/>
                    <a:pt x="1" y="2"/>
                  </a:cubicBezTo>
                  <a:cubicBezTo>
                    <a:pt x="1" y="2"/>
                    <a:pt x="1" y="1"/>
                    <a:pt x="1" y="0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86" name="Freeform 7145"/>
            <p:cNvSpPr>
              <a:spLocks/>
            </p:cNvSpPr>
            <p:nvPr/>
          </p:nvSpPr>
          <p:spPr bwMode="auto">
            <a:xfrm>
              <a:off x="5624" y="2852"/>
              <a:ext cx="1" cy="8"/>
            </a:xfrm>
            <a:custGeom>
              <a:avLst/>
              <a:gdLst>
                <a:gd name="T0" fmla="*/ 0 w 1"/>
                <a:gd name="T1" fmla="*/ 0 h 6"/>
                <a:gd name="T2" fmla="*/ 0 w 1"/>
                <a:gd name="T3" fmla="*/ 6 h 6"/>
                <a:gd name="T4" fmla="*/ 0 w 1"/>
                <a:gd name="T5" fmla="*/ 5 h 6"/>
                <a:gd name="T6" fmla="*/ 1 w 1"/>
                <a:gd name="T7" fmla="*/ 4 h 6"/>
                <a:gd name="T8" fmla="*/ 0 w 1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6">
                  <a:moveTo>
                    <a:pt x="0" y="0"/>
                  </a:moveTo>
                  <a:cubicBezTo>
                    <a:pt x="0" y="3"/>
                    <a:pt x="0" y="6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1" y="5"/>
                    <a:pt x="1" y="4"/>
                    <a:pt x="1" y="4"/>
                  </a:cubicBezTo>
                  <a:cubicBezTo>
                    <a:pt x="1" y="2"/>
                    <a:pt x="1" y="1"/>
                    <a:pt x="0" y="0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87" name="Freeform 7146"/>
            <p:cNvSpPr>
              <a:spLocks/>
            </p:cNvSpPr>
            <p:nvPr/>
          </p:nvSpPr>
          <p:spPr bwMode="auto">
            <a:xfrm>
              <a:off x="5605" y="2871"/>
              <a:ext cx="2" cy="3"/>
            </a:xfrm>
            <a:custGeom>
              <a:avLst/>
              <a:gdLst>
                <a:gd name="T0" fmla="*/ 0 w 1"/>
                <a:gd name="T1" fmla="*/ 3 h 3"/>
                <a:gd name="T2" fmla="*/ 0 w 1"/>
                <a:gd name="T3" fmla="*/ 3 h 3"/>
                <a:gd name="T4" fmla="*/ 1 w 1"/>
                <a:gd name="T5" fmla="*/ 0 h 3"/>
                <a:gd name="T6" fmla="*/ 0 w 1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3">
                  <a:moveTo>
                    <a:pt x="0" y="3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0"/>
                  </a:cubicBezTo>
                  <a:cubicBezTo>
                    <a:pt x="0" y="2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88" name="Freeform 7147"/>
            <p:cNvSpPr>
              <a:spLocks/>
            </p:cNvSpPr>
            <p:nvPr/>
          </p:nvSpPr>
          <p:spPr bwMode="auto">
            <a:xfrm>
              <a:off x="5546" y="2816"/>
              <a:ext cx="56" cy="58"/>
            </a:xfrm>
            <a:custGeom>
              <a:avLst/>
              <a:gdLst>
                <a:gd name="T0" fmla="*/ 45 w 46"/>
                <a:gd name="T1" fmla="*/ 32 h 48"/>
                <a:gd name="T2" fmla="*/ 43 w 46"/>
                <a:gd name="T3" fmla="*/ 31 h 48"/>
                <a:gd name="T4" fmla="*/ 43 w 46"/>
                <a:gd name="T5" fmla="*/ 35 h 48"/>
                <a:gd name="T6" fmla="*/ 41 w 46"/>
                <a:gd name="T7" fmla="*/ 31 h 48"/>
                <a:gd name="T8" fmla="*/ 35 w 46"/>
                <a:gd name="T9" fmla="*/ 32 h 48"/>
                <a:gd name="T10" fmla="*/ 40 w 46"/>
                <a:gd name="T11" fmla="*/ 29 h 48"/>
                <a:gd name="T12" fmla="*/ 0 w 46"/>
                <a:gd name="T13" fmla="*/ 20 h 48"/>
                <a:gd name="T14" fmla="*/ 41 w 46"/>
                <a:gd name="T15" fmla="*/ 48 h 48"/>
                <a:gd name="T16" fmla="*/ 46 w 46"/>
                <a:gd name="T17" fmla="*/ 48 h 48"/>
                <a:gd name="T18" fmla="*/ 45 w 46"/>
                <a:gd name="T19" fmla="*/ 3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6" h="48">
                  <a:moveTo>
                    <a:pt x="45" y="32"/>
                  </a:moveTo>
                  <a:cubicBezTo>
                    <a:pt x="45" y="31"/>
                    <a:pt x="44" y="31"/>
                    <a:pt x="43" y="31"/>
                  </a:cubicBezTo>
                  <a:cubicBezTo>
                    <a:pt x="43" y="34"/>
                    <a:pt x="43" y="35"/>
                    <a:pt x="43" y="35"/>
                  </a:cubicBezTo>
                  <a:cubicBezTo>
                    <a:pt x="42" y="34"/>
                    <a:pt x="41" y="32"/>
                    <a:pt x="41" y="31"/>
                  </a:cubicBezTo>
                  <a:cubicBezTo>
                    <a:pt x="38" y="31"/>
                    <a:pt x="35" y="32"/>
                    <a:pt x="35" y="32"/>
                  </a:cubicBezTo>
                  <a:cubicBezTo>
                    <a:pt x="37" y="31"/>
                    <a:pt x="38" y="30"/>
                    <a:pt x="40" y="29"/>
                  </a:cubicBezTo>
                  <a:cubicBezTo>
                    <a:pt x="24" y="1"/>
                    <a:pt x="0" y="20"/>
                    <a:pt x="0" y="20"/>
                  </a:cubicBezTo>
                  <a:cubicBezTo>
                    <a:pt x="29" y="0"/>
                    <a:pt x="41" y="48"/>
                    <a:pt x="41" y="48"/>
                  </a:cubicBezTo>
                  <a:cubicBezTo>
                    <a:pt x="46" y="48"/>
                    <a:pt x="46" y="48"/>
                    <a:pt x="46" y="48"/>
                  </a:cubicBezTo>
                  <a:cubicBezTo>
                    <a:pt x="46" y="41"/>
                    <a:pt x="46" y="36"/>
                    <a:pt x="45" y="32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89" name="Freeform 7148"/>
            <p:cNvSpPr>
              <a:spLocks/>
            </p:cNvSpPr>
            <p:nvPr/>
          </p:nvSpPr>
          <p:spPr bwMode="auto">
            <a:xfrm>
              <a:off x="5598" y="2844"/>
              <a:ext cx="3" cy="7"/>
            </a:xfrm>
            <a:custGeom>
              <a:avLst/>
              <a:gdLst>
                <a:gd name="T0" fmla="*/ 1 w 2"/>
                <a:gd name="T1" fmla="*/ 0 h 6"/>
                <a:gd name="T2" fmla="*/ 0 w 2"/>
                <a:gd name="T3" fmla="*/ 6 h 6"/>
                <a:gd name="T4" fmla="*/ 2 w 2"/>
                <a:gd name="T5" fmla="*/ 6 h 6"/>
                <a:gd name="T6" fmla="*/ 1 w 2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6">
                  <a:moveTo>
                    <a:pt x="1" y="0"/>
                  </a:moveTo>
                  <a:cubicBezTo>
                    <a:pt x="1" y="2"/>
                    <a:pt x="0" y="4"/>
                    <a:pt x="0" y="6"/>
                  </a:cubicBezTo>
                  <a:cubicBezTo>
                    <a:pt x="1" y="6"/>
                    <a:pt x="1" y="6"/>
                    <a:pt x="2" y="6"/>
                  </a:cubicBezTo>
                  <a:cubicBezTo>
                    <a:pt x="2" y="3"/>
                    <a:pt x="1" y="2"/>
                    <a:pt x="1" y="0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90" name="Freeform 7149"/>
            <p:cNvSpPr>
              <a:spLocks/>
            </p:cNvSpPr>
            <p:nvPr/>
          </p:nvSpPr>
          <p:spPr bwMode="auto">
            <a:xfrm>
              <a:off x="5599" y="2821"/>
              <a:ext cx="8" cy="30"/>
            </a:xfrm>
            <a:custGeom>
              <a:avLst/>
              <a:gdLst>
                <a:gd name="T0" fmla="*/ 4 w 6"/>
                <a:gd name="T1" fmla="*/ 21 h 25"/>
                <a:gd name="T2" fmla="*/ 6 w 6"/>
                <a:gd name="T3" fmla="*/ 4 h 25"/>
                <a:gd name="T4" fmla="*/ 6 w 6"/>
                <a:gd name="T5" fmla="*/ 3 h 25"/>
                <a:gd name="T6" fmla="*/ 4 w 6"/>
                <a:gd name="T7" fmla="*/ 0 h 25"/>
                <a:gd name="T8" fmla="*/ 0 w 6"/>
                <a:gd name="T9" fmla="*/ 15 h 25"/>
                <a:gd name="T10" fmla="*/ 4 w 6"/>
                <a:gd name="T11" fmla="*/ 25 h 25"/>
                <a:gd name="T12" fmla="*/ 4 w 6"/>
                <a:gd name="T13" fmla="*/ 21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25">
                  <a:moveTo>
                    <a:pt x="4" y="21"/>
                  </a:moveTo>
                  <a:cubicBezTo>
                    <a:pt x="5" y="14"/>
                    <a:pt x="5" y="9"/>
                    <a:pt x="6" y="4"/>
                  </a:cubicBezTo>
                  <a:cubicBezTo>
                    <a:pt x="6" y="4"/>
                    <a:pt x="6" y="4"/>
                    <a:pt x="6" y="3"/>
                  </a:cubicBezTo>
                  <a:cubicBezTo>
                    <a:pt x="5" y="2"/>
                    <a:pt x="5" y="1"/>
                    <a:pt x="4" y="0"/>
                  </a:cubicBezTo>
                  <a:cubicBezTo>
                    <a:pt x="2" y="5"/>
                    <a:pt x="1" y="10"/>
                    <a:pt x="0" y="15"/>
                  </a:cubicBezTo>
                  <a:cubicBezTo>
                    <a:pt x="3" y="20"/>
                    <a:pt x="4" y="25"/>
                    <a:pt x="4" y="25"/>
                  </a:cubicBezTo>
                  <a:cubicBezTo>
                    <a:pt x="4" y="24"/>
                    <a:pt x="4" y="23"/>
                    <a:pt x="4" y="21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91" name="Freeform 7150"/>
            <p:cNvSpPr>
              <a:spLocks/>
            </p:cNvSpPr>
            <p:nvPr/>
          </p:nvSpPr>
          <p:spPr bwMode="auto">
            <a:xfrm>
              <a:off x="5612" y="2821"/>
              <a:ext cx="11" cy="15"/>
            </a:xfrm>
            <a:custGeom>
              <a:avLst/>
              <a:gdLst>
                <a:gd name="T0" fmla="*/ 0 w 9"/>
                <a:gd name="T1" fmla="*/ 7 h 13"/>
                <a:gd name="T2" fmla="*/ 2 w 9"/>
                <a:gd name="T3" fmla="*/ 13 h 13"/>
                <a:gd name="T4" fmla="*/ 6 w 9"/>
                <a:gd name="T5" fmla="*/ 4 h 13"/>
                <a:gd name="T6" fmla="*/ 4 w 9"/>
                <a:gd name="T7" fmla="*/ 4 h 13"/>
                <a:gd name="T8" fmla="*/ 6 w 9"/>
                <a:gd name="T9" fmla="*/ 3 h 13"/>
                <a:gd name="T10" fmla="*/ 6 w 9"/>
                <a:gd name="T11" fmla="*/ 3 h 13"/>
                <a:gd name="T12" fmla="*/ 9 w 9"/>
                <a:gd name="T13" fmla="*/ 1 h 13"/>
                <a:gd name="T14" fmla="*/ 8 w 9"/>
                <a:gd name="T15" fmla="*/ 0 h 13"/>
                <a:gd name="T16" fmla="*/ 0 w 9"/>
                <a:gd name="T17" fmla="*/ 7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13">
                  <a:moveTo>
                    <a:pt x="0" y="7"/>
                  </a:moveTo>
                  <a:cubicBezTo>
                    <a:pt x="1" y="9"/>
                    <a:pt x="2" y="11"/>
                    <a:pt x="2" y="13"/>
                  </a:cubicBezTo>
                  <a:cubicBezTo>
                    <a:pt x="3" y="9"/>
                    <a:pt x="4" y="6"/>
                    <a:pt x="6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5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7" y="2"/>
                    <a:pt x="8" y="2"/>
                    <a:pt x="9" y="1"/>
                  </a:cubicBezTo>
                  <a:cubicBezTo>
                    <a:pt x="8" y="1"/>
                    <a:pt x="8" y="0"/>
                    <a:pt x="8" y="0"/>
                  </a:cubicBezTo>
                  <a:cubicBezTo>
                    <a:pt x="4" y="0"/>
                    <a:pt x="2" y="3"/>
                    <a:pt x="0" y="7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92" name="Freeform 7151"/>
            <p:cNvSpPr>
              <a:spLocks/>
            </p:cNvSpPr>
            <p:nvPr/>
          </p:nvSpPr>
          <p:spPr bwMode="auto">
            <a:xfrm>
              <a:off x="5630" y="2836"/>
              <a:ext cx="1" cy="5"/>
            </a:xfrm>
            <a:custGeom>
              <a:avLst/>
              <a:gdLst>
                <a:gd name="T0" fmla="*/ 1 w 1"/>
                <a:gd name="T1" fmla="*/ 0 h 4"/>
                <a:gd name="T2" fmla="*/ 0 w 1"/>
                <a:gd name="T3" fmla="*/ 1 h 4"/>
                <a:gd name="T4" fmla="*/ 0 w 1"/>
                <a:gd name="T5" fmla="*/ 4 h 4"/>
                <a:gd name="T6" fmla="*/ 1 w 1"/>
                <a:gd name="T7" fmla="*/ 3 h 4"/>
                <a:gd name="T8" fmla="*/ 1 w 1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4">
                  <a:moveTo>
                    <a:pt x="1" y="0"/>
                  </a:moveTo>
                  <a:cubicBezTo>
                    <a:pt x="0" y="0"/>
                    <a:pt x="0" y="1"/>
                    <a:pt x="0" y="1"/>
                  </a:cubicBezTo>
                  <a:cubicBezTo>
                    <a:pt x="0" y="2"/>
                    <a:pt x="0" y="3"/>
                    <a:pt x="0" y="4"/>
                  </a:cubicBezTo>
                  <a:cubicBezTo>
                    <a:pt x="0" y="4"/>
                    <a:pt x="1" y="3"/>
                    <a:pt x="1" y="3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93" name="Freeform 7152"/>
            <p:cNvSpPr>
              <a:spLocks/>
            </p:cNvSpPr>
            <p:nvPr/>
          </p:nvSpPr>
          <p:spPr bwMode="auto">
            <a:xfrm>
              <a:off x="5591" y="2804"/>
              <a:ext cx="14" cy="5"/>
            </a:xfrm>
            <a:custGeom>
              <a:avLst/>
              <a:gdLst>
                <a:gd name="T0" fmla="*/ 0 w 12"/>
                <a:gd name="T1" fmla="*/ 4 h 4"/>
                <a:gd name="T2" fmla="*/ 12 w 12"/>
                <a:gd name="T3" fmla="*/ 4 h 4"/>
                <a:gd name="T4" fmla="*/ 12 w 12"/>
                <a:gd name="T5" fmla="*/ 2 h 4"/>
                <a:gd name="T6" fmla="*/ 0 w 12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4">
                  <a:moveTo>
                    <a:pt x="0" y="4"/>
                  </a:moveTo>
                  <a:cubicBezTo>
                    <a:pt x="5" y="3"/>
                    <a:pt x="9" y="3"/>
                    <a:pt x="12" y="4"/>
                  </a:cubicBezTo>
                  <a:cubicBezTo>
                    <a:pt x="12" y="3"/>
                    <a:pt x="12" y="3"/>
                    <a:pt x="12" y="2"/>
                  </a:cubicBezTo>
                  <a:cubicBezTo>
                    <a:pt x="5" y="0"/>
                    <a:pt x="0" y="4"/>
                    <a:pt x="0" y="4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94" name="Freeform 7153"/>
            <p:cNvSpPr>
              <a:spLocks/>
            </p:cNvSpPr>
            <p:nvPr/>
          </p:nvSpPr>
          <p:spPr bwMode="auto">
            <a:xfrm>
              <a:off x="5625" y="2827"/>
              <a:ext cx="6" cy="8"/>
            </a:xfrm>
            <a:custGeom>
              <a:avLst/>
              <a:gdLst>
                <a:gd name="T0" fmla="*/ 3 w 5"/>
                <a:gd name="T1" fmla="*/ 7 h 7"/>
                <a:gd name="T2" fmla="*/ 5 w 5"/>
                <a:gd name="T3" fmla="*/ 6 h 7"/>
                <a:gd name="T4" fmla="*/ 5 w 5"/>
                <a:gd name="T5" fmla="*/ 4 h 7"/>
                <a:gd name="T6" fmla="*/ 1 w 5"/>
                <a:gd name="T7" fmla="*/ 0 h 7"/>
                <a:gd name="T8" fmla="*/ 0 w 5"/>
                <a:gd name="T9" fmla="*/ 1 h 7"/>
                <a:gd name="T10" fmla="*/ 3 w 5"/>
                <a:gd name="T11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7">
                  <a:moveTo>
                    <a:pt x="3" y="7"/>
                  </a:moveTo>
                  <a:cubicBezTo>
                    <a:pt x="3" y="7"/>
                    <a:pt x="4" y="6"/>
                    <a:pt x="5" y="6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4" y="2"/>
                    <a:pt x="3" y="1"/>
                    <a:pt x="1" y="0"/>
                  </a:cubicBezTo>
                  <a:cubicBezTo>
                    <a:pt x="1" y="0"/>
                    <a:pt x="1" y="1"/>
                    <a:pt x="0" y="1"/>
                  </a:cubicBezTo>
                  <a:cubicBezTo>
                    <a:pt x="1" y="3"/>
                    <a:pt x="2" y="5"/>
                    <a:pt x="3" y="7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95" name="Freeform 7154"/>
            <p:cNvSpPr>
              <a:spLocks/>
            </p:cNvSpPr>
            <p:nvPr/>
          </p:nvSpPr>
          <p:spPr bwMode="auto">
            <a:xfrm>
              <a:off x="5623" y="2822"/>
              <a:ext cx="3" cy="2"/>
            </a:xfrm>
            <a:custGeom>
              <a:avLst/>
              <a:gdLst>
                <a:gd name="T0" fmla="*/ 2 w 3"/>
                <a:gd name="T1" fmla="*/ 2 h 2"/>
                <a:gd name="T2" fmla="*/ 3 w 3"/>
                <a:gd name="T3" fmla="*/ 1 h 2"/>
                <a:gd name="T4" fmla="*/ 3 w 3"/>
                <a:gd name="T5" fmla="*/ 0 h 2"/>
                <a:gd name="T6" fmla="*/ 0 w 3"/>
                <a:gd name="T7" fmla="*/ 0 h 2"/>
                <a:gd name="T8" fmla="*/ 1 w 3"/>
                <a:gd name="T9" fmla="*/ 2 h 2"/>
                <a:gd name="T10" fmla="*/ 2 w 3"/>
                <a:gd name="T11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2">
                  <a:moveTo>
                    <a:pt x="2" y="2"/>
                  </a:moveTo>
                  <a:cubicBezTo>
                    <a:pt x="3" y="2"/>
                    <a:pt x="3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1" y="0"/>
                    <a:pt x="0" y="0"/>
                  </a:cubicBezTo>
                  <a:cubicBezTo>
                    <a:pt x="0" y="1"/>
                    <a:pt x="0" y="1"/>
                    <a:pt x="1" y="2"/>
                  </a:cubicBezTo>
                  <a:cubicBezTo>
                    <a:pt x="1" y="2"/>
                    <a:pt x="2" y="2"/>
                    <a:pt x="2" y="2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96" name="Freeform 7155"/>
            <p:cNvSpPr>
              <a:spLocks/>
            </p:cNvSpPr>
            <p:nvPr/>
          </p:nvSpPr>
          <p:spPr bwMode="auto">
            <a:xfrm>
              <a:off x="5612" y="2809"/>
              <a:ext cx="13" cy="12"/>
            </a:xfrm>
            <a:custGeom>
              <a:avLst/>
              <a:gdLst>
                <a:gd name="T0" fmla="*/ 8 w 11"/>
                <a:gd name="T1" fmla="*/ 10 h 10"/>
                <a:gd name="T2" fmla="*/ 11 w 11"/>
                <a:gd name="T3" fmla="*/ 9 h 10"/>
                <a:gd name="T4" fmla="*/ 1 w 11"/>
                <a:gd name="T5" fmla="*/ 0 h 10"/>
                <a:gd name="T6" fmla="*/ 0 w 11"/>
                <a:gd name="T7" fmla="*/ 2 h 10"/>
                <a:gd name="T8" fmla="*/ 8 w 11"/>
                <a:gd name="T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0">
                  <a:moveTo>
                    <a:pt x="8" y="10"/>
                  </a:moveTo>
                  <a:cubicBezTo>
                    <a:pt x="9" y="9"/>
                    <a:pt x="10" y="9"/>
                    <a:pt x="11" y="9"/>
                  </a:cubicBezTo>
                  <a:cubicBezTo>
                    <a:pt x="8" y="5"/>
                    <a:pt x="4" y="2"/>
                    <a:pt x="1" y="0"/>
                  </a:cubicBezTo>
                  <a:cubicBezTo>
                    <a:pt x="1" y="1"/>
                    <a:pt x="0" y="1"/>
                    <a:pt x="0" y="2"/>
                  </a:cubicBezTo>
                  <a:cubicBezTo>
                    <a:pt x="3" y="4"/>
                    <a:pt x="5" y="7"/>
                    <a:pt x="8" y="10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97" name="Freeform 7156"/>
            <p:cNvSpPr>
              <a:spLocks/>
            </p:cNvSpPr>
            <p:nvPr/>
          </p:nvSpPr>
          <p:spPr bwMode="auto">
            <a:xfrm>
              <a:off x="5608" y="2806"/>
              <a:ext cx="4" cy="4"/>
            </a:xfrm>
            <a:custGeom>
              <a:avLst/>
              <a:gdLst>
                <a:gd name="T0" fmla="*/ 1 w 3"/>
                <a:gd name="T1" fmla="*/ 3 h 3"/>
                <a:gd name="T2" fmla="*/ 3 w 3"/>
                <a:gd name="T3" fmla="*/ 1 h 3"/>
                <a:gd name="T4" fmla="*/ 0 w 3"/>
                <a:gd name="T5" fmla="*/ 0 h 3"/>
                <a:gd name="T6" fmla="*/ 1 w 3"/>
                <a:gd name="T7" fmla="*/ 3 h 3"/>
                <a:gd name="T8" fmla="*/ 1 w 3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1" y="3"/>
                  </a:moveTo>
                  <a:cubicBezTo>
                    <a:pt x="2" y="3"/>
                    <a:pt x="2" y="2"/>
                    <a:pt x="3" y="1"/>
                  </a:cubicBezTo>
                  <a:cubicBezTo>
                    <a:pt x="2" y="1"/>
                    <a:pt x="1" y="0"/>
                    <a:pt x="0" y="0"/>
                  </a:cubicBezTo>
                  <a:cubicBezTo>
                    <a:pt x="0" y="1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98" name="Freeform 7157"/>
            <p:cNvSpPr>
              <a:spLocks/>
            </p:cNvSpPr>
            <p:nvPr/>
          </p:nvSpPr>
          <p:spPr bwMode="auto">
            <a:xfrm>
              <a:off x="5609" y="2807"/>
              <a:ext cx="4" cy="4"/>
            </a:xfrm>
            <a:custGeom>
              <a:avLst/>
              <a:gdLst>
                <a:gd name="T0" fmla="*/ 2 w 3"/>
                <a:gd name="T1" fmla="*/ 3 h 3"/>
                <a:gd name="T2" fmla="*/ 3 w 3"/>
                <a:gd name="T3" fmla="*/ 1 h 3"/>
                <a:gd name="T4" fmla="*/ 2 w 3"/>
                <a:gd name="T5" fmla="*/ 0 h 3"/>
                <a:gd name="T6" fmla="*/ 0 w 3"/>
                <a:gd name="T7" fmla="*/ 2 h 3"/>
                <a:gd name="T8" fmla="*/ 2 w 3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2" y="3"/>
                  </a:moveTo>
                  <a:cubicBezTo>
                    <a:pt x="2" y="2"/>
                    <a:pt x="3" y="2"/>
                    <a:pt x="3" y="1"/>
                  </a:cubicBezTo>
                  <a:cubicBezTo>
                    <a:pt x="3" y="1"/>
                    <a:pt x="2" y="1"/>
                    <a:pt x="2" y="0"/>
                  </a:cubicBezTo>
                  <a:cubicBezTo>
                    <a:pt x="1" y="1"/>
                    <a:pt x="1" y="2"/>
                    <a:pt x="0" y="2"/>
                  </a:cubicBezTo>
                  <a:cubicBezTo>
                    <a:pt x="1" y="3"/>
                    <a:pt x="1" y="3"/>
                    <a:pt x="2" y="3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99" name="Freeform 7158"/>
            <p:cNvSpPr>
              <a:spLocks/>
            </p:cNvSpPr>
            <p:nvPr/>
          </p:nvSpPr>
          <p:spPr bwMode="auto">
            <a:xfrm>
              <a:off x="5621" y="2819"/>
              <a:ext cx="5" cy="3"/>
            </a:xfrm>
            <a:custGeom>
              <a:avLst/>
              <a:gdLst>
                <a:gd name="T0" fmla="*/ 0 w 4"/>
                <a:gd name="T1" fmla="*/ 1 h 2"/>
                <a:gd name="T2" fmla="*/ 1 w 4"/>
                <a:gd name="T3" fmla="*/ 2 h 2"/>
                <a:gd name="T4" fmla="*/ 4 w 4"/>
                <a:gd name="T5" fmla="*/ 2 h 2"/>
                <a:gd name="T6" fmla="*/ 3 w 4"/>
                <a:gd name="T7" fmla="*/ 0 h 2"/>
                <a:gd name="T8" fmla="*/ 0 w 4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0" y="1"/>
                  </a:moveTo>
                  <a:cubicBezTo>
                    <a:pt x="0" y="1"/>
                    <a:pt x="0" y="2"/>
                    <a:pt x="1" y="2"/>
                  </a:cubicBezTo>
                  <a:cubicBezTo>
                    <a:pt x="2" y="2"/>
                    <a:pt x="3" y="2"/>
                    <a:pt x="4" y="2"/>
                  </a:cubicBezTo>
                  <a:cubicBezTo>
                    <a:pt x="3" y="1"/>
                    <a:pt x="3" y="1"/>
                    <a:pt x="3" y="0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00" name="Freeform 7159"/>
            <p:cNvSpPr>
              <a:spLocks/>
            </p:cNvSpPr>
            <p:nvPr/>
          </p:nvSpPr>
          <p:spPr bwMode="auto">
            <a:xfrm>
              <a:off x="5614" y="2845"/>
              <a:ext cx="10" cy="13"/>
            </a:xfrm>
            <a:custGeom>
              <a:avLst/>
              <a:gdLst>
                <a:gd name="T0" fmla="*/ 6 w 8"/>
                <a:gd name="T1" fmla="*/ 0 h 11"/>
                <a:gd name="T2" fmla="*/ 2 w 8"/>
                <a:gd name="T3" fmla="*/ 9 h 11"/>
                <a:gd name="T4" fmla="*/ 1 w 8"/>
                <a:gd name="T5" fmla="*/ 0 h 11"/>
                <a:gd name="T6" fmla="*/ 0 w 8"/>
                <a:gd name="T7" fmla="*/ 5 h 11"/>
                <a:gd name="T8" fmla="*/ 0 w 8"/>
                <a:gd name="T9" fmla="*/ 11 h 11"/>
                <a:gd name="T10" fmla="*/ 8 w 8"/>
                <a:gd name="T11" fmla="*/ 5 h 11"/>
                <a:gd name="T12" fmla="*/ 6 w 8"/>
                <a:gd name="T13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11">
                  <a:moveTo>
                    <a:pt x="6" y="0"/>
                  </a:moveTo>
                  <a:cubicBezTo>
                    <a:pt x="5" y="3"/>
                    <a:pt x="3" y="5"/>
                    <a:pt x="2" y="9"/>
                  </a:cubicBezTo>
                  <a:cubicBezTo>
                    <a:pt x="2" y="9"/>
                    <a:pt x="2" y="5"/>
                    <a:pt x="1" y="0"/>
                  </a:cubicBezTo>
                  <a:cubicBezTo>
                    <a:pt x="1" y="2"/>
                    <a:pt x="0" y="3"/>
                    <a:pt x="0" y="5"/>
                  </a:cubicBezTo>
                  <a:cubicBezTo>
                    <a:pt x="0" y="7"/>
                    <a:pt x="0" y="9"/>
                    <a:pt x="0" y="11"/>
                  </a:cubicBezTo>
                  <a:cubicBezTo>
                    <a:pt x="0" y="11"/>
                    <a:pt x="4" y="8"/>
                    <a:pt x="8" y="5"/>
                  </a:cubicBezTo>
                  <a:cubicBezTo>
                    <a:pt x="8" y="3"/>
                    <a:pt x="7" y="1"/>
                    <a:pt x="6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01" name="Freeform 7160"/>
            <p:cNvSpPr>
              <a:spLocks/>
            </p:cNvSpPr>
            <p:nvPr/>
          </p:nvSpPr>
          <p:spPr bwMode="auto">
            <a:xfrm>
              <a:off x="5623" y="2835"/>
              <a:ext cx="7" cy="10"/>
            </a:xfrm>
            <a:custGeom>
              <a:avLst/>
              <a:gdLst>
                <a:gd name="T0" fmla="*/ 5 w 6"/>
                <a:gd name="T1" fmla="*/ 0 h 8"/>
                <a:gd name="T2" fmla="*/ 0 w 6"/>
                <a:gd name="T3" fmla="*/ 6 h 8"/>
                <a:gd name="T4" fmla="*/ 3 w 6"/>
                <a:gd name="T5" fmla="*/ 8 h 8"/>
                <a:gd name="T6" fmla="*/ 6 w 6"/>
                <a:gd name="T7" fmla="*/ 2 h 8"/>
                <a:gd name="T8" fmla="*/ 5 w 6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">
                  <a:moveTo>
                    <a:pt x="5" y="0"/>
                  </a:moveTo>
                  <a:cubicBezTo>
                    <a:pt x="3" y="2"/>
                    <a:pt x="2" y="3"/>
                    <a:pt x="0" y="6"/>
                  </a:cubicBezTo>
                  <a:cubicBezTo>
                    <a:pt x="1" y="6"/>
                    <a:pt x="2" y="7"/>
                    <a:pt x="3" y="8"/>
                  </a:cubicBezTo>
                  <a:cubicBezTo>
                    <a:pt x="4" y="6"/>
                    <a:pt x="4" y="4"/>
                    <a:pt x="6" y="2"/>
                  </a:cubicBezTo>
                  <a:cubicBezTo>
                    <a:pt x="5" y="2"/>
                    <a:pt x="5" y="1"/>
                    <a:pt x="5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02" name="Freeform 7161"/>
            <p:cNvSpPr>
              <a:spLocks/>
            </p:cNvSpPr>
            <p:nvPr/>
          </p:nvSpPr>
          <p:spPr bwMode="auto">
            <a:xfrm>
              <a:off x="5612" y="2827"/>
              <a:ext cx="0" cy="3"/>
            </a:xfrm>
            <a:custGeom>
              <a:avLst/>
              <a:gdLst>
                <a:gd name="T0" fmla="*/ 0 h 3"/>
                <a:gd name="T1" fmla="*/ 3 h 3"/>
                <a:gd name="T2" fmla="*/ 2 h 3"/>
                <a:gd name="T3" fmla="*/ 0 h 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3">
                  <a:moveTo>
                    <a:pt x="0" y="0"/>
                  </a:moveTo>
                  <a:cubicBezTo>
                    <a:pt x="0" y="1"/>
                    <a:pt x="0" y="2"/>
                    <a:pt x="0" y="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1"/>
                    <a:pt x="0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03" name="Freeform 7162"/>
            <p:cNvSpPr>
              <a:spLocks/>
            </p:cNvSpPr>
            <p:nvPr/>
          </p:nvSpPr>
          <p:spPr bwMode="auto">
            <a:xfrm>
              <a:off x="5614" y="2836"/>
              <a:ext cx="0" cy="2"/>
            </a:xfrm>
            <a:custGeom>
              <a:avLst/>
              <a:gdLst>
                <a:gd name="T0" fmla="*/ 1 h 1"/>
                <a:gd name="T1" fmla="*/ 0 h 1"/>
                <a:gd name="T2" fmla="*/ 1 h 1"/>
                <a:gd name="T3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04" name="Freeform 7163"/>
            <p:cNvSpPr>
              <a:spLocks/>
            </p:cNvSpPr>
            <p:nvPr/>
          </p:nvSpPr>
          <p:spPr bwMode="auto">
            <a:xfrm>
              <a:off x="5618" y="2857"/>
              <a:ext cx="8" cy="17"/>
            </a:xfrm>
            <a:custGeom>
              <a:avLst/>
              <a:gdLst>
                <a:gd name="T0" fmla="*/ 5 w 7"/>
                <a:gd name="T1" fmla="*/ 1 h 14"/>
                <a:gd name="T2" fmla="*/ 0 w 7"/>
                <a:gd name="T3" fmla="*/ 14 h 14"/>
                <a:gd name="T4" fmla="*/ 7 w 7"/>
                <a:gd name="T5" fmla="*/ 14 h 14"/>
                <a:gd name="T6" fmla="*/ 6 w 7"/>
                <a:gd name="T7" fmla="*/ 0 h 14"/>
                <a:gd name="T8" fmla="*/ 5 w 7"/>
                <a:gd name="T9" fmla="*/ 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4">
                  <a:moveTo>
                    <a:pt x="5" y="1"/>
                  </a:moveTo>
                  <a:cubicBezTo>
                    <a:pt x="4" y="4"/>
                    <a:pt x="2" y="8"/>
                    <a:pt x="0" y="14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8"/>
                    <a:pt x="7" y="4"/>
                    <a:pt x="6" y="0"/>
                  </a:cubicBezTo>
                  <a:cubicBezTo>
                    <a:pt x="6" y="1"/>
                    <a:pt x="6" y="1"/>
                    <a:pt x="5" y="1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05" name="Freeform 7164"/>
            <p:cNvSpPr>
              <a:spLocks/>
            </p:cNvSpPr>
            <p:nvPr/>
          </p:nvSpPr>
          <p:spPr bwMode="auto">
            <a:xfrm>
              <a:off x="5599" y="2813"/>
              <a:ext cx="6" cy="8"/>
            </a:xfrm>
            <a:custGeom>
              <a:avLst/>
              <a:gdLst>
                <a:gd name="T0" fmla="*/ 0 w 5"/>
                <a:gd name="T1" fmla="*/ 0 h 6"/>
                <a:gd name="T2" fmla="*/ 4 w 5"/>
                <a:gd name="T3" fmla="*/ 6 h 6"/>
                <a:gd name="T4" fmla="*/ 5 w 5"/>
                <a:gd name="T5" fmla="*/ 4 h 6"/>
                <a:gd name="T6" fmla="*/ 0 w 5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6">
                  <a:moveTo>
                    <a:pt x="0" y="0"/>
                  </a:moveTo>
                  <a:cubicBezTo>
                    <a:pt x="0" y="0"/>
                    <a:pt x="2" y="2"/>
                    <a:pt x="4" y="6"/>
                  </a:cubicBezTo>
                  <a:cubicBezTo>
                    <a:pt x="5" y="5"/>
                    <a:pt x="5" y="4"/>
                    <a:pt x="5" y="4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06" name="Freeform 7165"/>
            <p:cNvSpPr>
              <a:spLocks/>
            </p:cNvSpPr>
            <p:nvPr/>
          </p:nvSpPr>
          <p:spPr bwMode="auto">
            <a:xfrm>
              <a:off x="5595" y="2851"/>
              <a:ext cx="3" cy="3"/>
            </a:xfrm>
            <a:custGeom>
              <a:avLst/>
              <a:gdLst>
                <a:gd name="T0" fmla="*/ 3 w 3"/>
                <a:gd name="T1" fmla="*/ 2 h 2"/>
                <a:gd name="T2" fmla="*/ 3 w 3"/>
                <a:gd name="T3" fmla="*/ 0 h 2"/>
                <a:gd name="T4" fmla="*/ 0 w 3"/>
                <a:gd name="T5" fmla="*/ 0 h 2"/>
                <a:gd name="T6" fmla="*/ 1 w 3"/>
                <a:gd name="T7" fmla="*/ 2 h 2"/>
                <a:gd name="T8" fmla="*/ 3 w 3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2">
                  <a:moveTo>
                    <a:pt x="3" y="2"/>
                  </a:moveTo>
                  <a:cubicBezTo>
                    <a:pt x="3" y="1"/>
                    <a:pt x="3" y="0"/>
                    <a:pt x="3" y="0"/>
                  </a:cubicBezTo>
                  <a:cubicBezTo>
                    <a:pt x="2" y="0"/>
                    <a:pt x="1" y="0"/>
                    <a:pt x="0" y="0"/>
                  </a:cubicBezTo>
                  <a:cubicBezTo>
                    <a:pt x="0" y="1"/>
                    <a:pt x="0" y="1"/>
                    <a:pt x="1" y="2"/>
                  </a:cubicBezTo>
                  <a:cubicBezTo>
                    <a:pt x="1" y="2"/>
                    <a:pt x="2" y="2"/>
                    <a:pt x="3" y="2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07" name="Freeform 7166"/>
            <p:cNvSpPr>
              <a:spLocks/>
            </p:cNvSpPr>
            <p:nvPr/>
          </p:nvSpPr>
          <p:spPr bwMode="auto">
            <a:xfrm>
              <a:off x="5605" y="2851"/>
              <a:ext cx="19" cy="23"/>
            </a:xfrm>
            <a:custGeom>
              <a:avLst/>
              <a:gdLst>
                <a:gd name="T0" fmla="*/ 15 w 15"/>
                <a:gd name="T1" fmla="*/ 7 h 19"/>
                <a:gd name="T2" fmla="*/ 15 w 15"/>
                <a:gd name="T3" fmla="*/ 1 h 19"/>
                <a:gd name="T4" fmla="*/ 15 w 15"/>
                <a:gd name="T5" fmla="*/ 0 h 19"/>
                <a:gd name="T6" fmla="*/ 7 w 15"/>
                <a:gd name="T7" fmla="*/ 6 h 19"/>
                <a:gd name="T8" fmla="*/ 7 w 15"/>
                <a:gd name="T9" fmla="*/ 0 h 19"/>
                <a:gd name="T10" fmla="*/ 1 w 15"/>
                <a:gd name="T11" fmla="*/ 16 h 19"/>
                <a:gd name="T12" fmla="*/ 0 w 15"/>
                <a:gd name="T13" fmla="*/ 19 h 19"/>
                <a:gd name="T14" fmla="*/ 10 w 15"/>
                <a:gd name="T15" fmla="*/ 19 h 19"/>
                <a:gd name="T16" fmla="*/ 15 w 15"/>
                <a:gd name="T17" fmla="*/ 6 h 19"/>
                <a:gd name="T18" fmla="*/ 15 w 15"/>
                <a:gd name="T19" fmla="*/ 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" h="19">
                  <a:moveTo>
                    <a:pt x="15" y="7"/>
                  </a:moveTo>
                  <a:cubicBezTo>
                    <a:pt x="15" y="7"/>
                    <a:pt x="15" y="4"/>
                    <a:pt x="15" y="1"/>
                  </a:cubicBezTo>
                  <a:cubicBezTo>
                    <a:pt x="15" y="1"/>
                    <a:pt x="15" y="0"/>
                    <a:pt x="15" y="0"/>
                  </a:cubicBezTo>
                  <a:cubicBezTo>
                    <a:pt x="11" y="3"/>
                    <a:pt x="7" y="6"/>
                    <a:pt x="7" y="6"/>
                  </a:cubicBezTo>
                  <a:cubicBezTo>
                    <a:pt x="7" y="4"/>
                    <a:pt x="7" y="2"/>
                    <a:pt x="7" y="0"/>
                  </a:cubicBezTo>
                  <a:cubicBezTo>
                    <a:pt x="4" y="6"/>
                    <a:pt x="2" y="12"/>
                    <a:pt x="1" y="16"/>
                  </a:cubicBezTo>
                  <a:cubicBezTo>
                    <a:pt x="1" y="17"/>
                    <a:pt x="0" y="18"/>
                    <a:pt x="0" y="19"/>
                  </a:cubicBezTo>
                  <a:cubicBezTo>
                    <a:pt x="10" y="19"/>
                    <a:pt x="10" y="19"/>
                    <a:pt x="10" y="19"/>
                  </a:cubicBezTo>
                  <a:cubicBezTo>
                    <a:pt x="12" y="13"/>
                    <a:pt x="14" y="9"/>
                    <a:pt x="15" y="6"/>
                  </a:cubicBezTo>
                  <a:cubicBezTo>
                    <a:pt x="15" y="6"/>
                    <a:pt x="15" y="7"/>
                    <a:pt x="15" y="7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08" name="Freeform 7167"/>
            <p:cNvSpPr>
              <a:spLocks/>
            </p:cNvSpPr>
            <p:nvPr/>
          </p:nvSpPr>
          <p:spPr bwMode="auto">
            <a:xfrm>
              <a:off x="5612" y="2829"/>
              <a:ext cx="2" cy="10"/>
            </a:xfrm>
            <a:custGeom>
              <a:avLst/>
              <a:gdLst>
                <a:gd name="T0" fmla="*/ 2 w 2"/>
                <a:gd name="T1" fmla="*/ 7 h 8"/>
                <a:gd name="T2" fmla="*/ 2 w 2"/>
                <a:gd name="T3" fmla="*/ 6 h 8"/>
                <a:gd name="T4" fmla="*/ 0 w 2"/>
                <a:gd name="T5" fmla="*/ 0 h 8"/>
                <a:gd name="T6" fmla="*/ 0 w 2"/>
                <a:gd name="T7" fmla="*/ 1 h 8"/>
                <a:gd name="T8" fmla="*/ 1 w 2"/>
                <a:gd name="T9" fmla="*/ 8 h 8"/>
                <a:gd name="T10" fmla="*/ 2 w 2"/>
                <a:gd name="T11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8">
                  <a:moveTo>
                    <a:pt x="2" y="7"/>
                  </a:moveTo>
                  <a:cubicBezTo>
                    <a:pt x="2" y="7"/>
                    <a:pt x="2" y="6"/>
                    <a:pt x="2" y="6"/>
                  </a:cubicBezTo>
                  <a:cubicBezTo>
                    <a:pt x="2" y="4"/>
                    <a:pt x="1" y="2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1" y="5"/>
                    <a:pt x="1" y="8"/>
                    <a:pt x="1" y="8"/>
                  </a:cubicBezTo>
                  <a:cubicBezTo>
                    <a:pt x="1" y="8"/>
                    <a:pt x="2" y="7"/>
                    <a:pt x="2" y="7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09" name="Freeform 7168"/>
            <p:cNvSpPr>
              <a:spLocks/>
            </p:cNvSpPr>
            <p:nvPr/>
          </p:nvSpPr>
          <p:spPr bwMode="auto">
            <a:xfrm>
              <a:off x="5588" y="2851"/>
              <a:ext cx="8" cy="4"/>
            </a:xfrm>
            <a:custGeom>
              <a:avLst/>
              <a:gdLst>
                <a:gd name="T0" fmla="*/ 0 w 6"/>
                <a:gd name="T1" fmla="*/ 3 h 3"/>
                <a:gd name="T2" fmla="*/ 6 w 6"/>
                <a:gd name="T3" fmla="*/ 2 h 3"/>
                <a:gd name="T4" fmla="*/ 5 w 6"/>
                <a:gd name="T5" fmla="*/ 0 h 3"/>
                <a:gd name="T6" fmla="*/ 0 w 6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3">
                  <a:moveTo>
                    <a:pt x="0" y="3"/>
                  </a:moveTo>
                  <a:cubicBezTo>
                    <a:pt x="0" y="3"/>
                    <a:pt x="3" y="2"/>
                    <a:pt x="6" y="2"/>
                  </a:cubicBezTo>
                  <a:cubicBezTo>
                    <a:pt x="5" y="1"/>
                    <a:pt x="5" y="1"/>
                    <a:pt x="5" y="0"/>
                  </a:cubicBezTo>
                  <a:cubicBezTo>
                    <a:pt x="3" y="1"/>
                    <a:pt x="2" y="2"/>
                    <a:pt x="0" y="3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10" name="Freeform 7169"/>
            <p:cNvSpPr>
              <a:spLocks/>
            </p:cNvSpPr>
            <p:nvPr/>
          </p:nvSpPr>
          <p:spPr bwMode="auto">
            <a:xfrm>
              <a:off x="5604" y="2818"/>
              <a:ext cx="3" cy="6"/>
            </a:xfrm>
            <a:custGeom>
              <a:avLst/>
              <a:gdLst>
                <a:gd name="T0" fmla="*/ 2 w 2"/>
                <a:gd name="T1" fmla="*/ 0 h 5"/>
                <a:gd name="T2" fmla="*/ 1 w 2"/>
                <a:gd name="T3" fmla="*/ 0 h 5"/>
                <a:gd name="T4" fmla="*/ 0 w 2"/>
                <a:gd name="T5" fmla="*/ 2 h 5"/>
                <a:gd name="T6" fmla="*/ 2 w 2"/>
                <a:gd name="T7" fmla="*/ 5 h 5"/>
                <a:gd name="T8" fmla="*/ 2 w 2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5">
                  <a:moveTo>
                    <a:pt x="2" y="0"/>
                  </a:moveTo>
                  <a:cubicBezTo>
                    <a:pt x="2" y="0"/>
                    <a:pt x="1" y="0"/>
                    <a:pt x="1" y="0"/>
                  </a:cubicBezTo>
                  <a:cubicBezTo>
                    <a:pt x="1" y="0"/>
                    <a:pt x="1" y="1"/>
                    <a:pt x="0" y="2"/>
                  </a:cubicBezTo>
                  <a:cubicBezTo>
                    <a:pt x="1" y="3"/>
                    <a:pt x="1" y="4"/>
                    <a:pt x="2" y="5"/>
                  </a:cubicBezTo>
                  <a:cubicBezTo>
                    <a:pt x="2" y="4"/>
                    <a:pt x="2" y="2"/>
                    <a:pt x="2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11" name="Freeform 7170"/>
            <p:cNvSpPr>
              <a:spLocks/>
            </p:cNvSpPr>
            <p:nvPr/>
          </p:nvSpPr>
          <p:spPr bwMode="auto">
            <a:xfrm>
              <a:off x="5598" y="2851"/>
              <a:ext cx="3" cy="4"/>
            </a:xfrm>
            <a:custGeom>
              <a:avLst/>
              <a:gdLst>
                <a:gd name="T0" fmla="*/ 2 w 2"/>
                <a:gd name="T1" fmla="*/ 3 h 3"/>
                <a:gd name="T2" fmla="*/ 2 w 2"/>
                <a:gd name="T3" fmla="*/ 0 h 3"/>
                <a:gd name="T4" fmla="*/ 0 w 2"/>
                <a:gd name="T5" fmla="*/ 0 h 3"/>
                <a:gd name="T6" fmla="*/ 0 w 2"/>
                <a:gd name="T7" fmla="*/ 2 h 3"/>
                <a:gd name="T8" fmla="*/ 2 w 2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3">
                  <a:moveTo>
                    <a:pt x="2" y="3"/>
                  </a:moveTo>
                  <a:cubicBezTo>
                    <a:pt x="2" y="2"/>
                    <a:pt x="2" y="1"/>
                    <a:pt x="2" y="0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0" y="0"/>
                    <a:pt x="0" y="1"/>
                    <a:pt x="0" y="2"/>
                  </a:cubicBezTo>
                  <a:cubicBezTo>
                    <a:pt x="1" y="2"/>
                    <a:pt x="2" y="2"/>
                    <a:pt x="2" y="3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12" name="Freeform 7171"/>
            <p:cNvSpPr>
              <a:spLocks/>
            </p:cNvSpPr>
            <p:nvPr/>
          </p:nvSpPr>
          <p:spPr bwMode="auto">
            <a:xfrm>
              <a:off x="5629" y="2834"/>
              <a:ext cx="2" cy="4"/>
            </a:xfrm>
            <a:custGeom>
              <a:avLst/>
              <a:gdLst>
                <a:gd name="T0" fmla="*/ 2 w 2"/>
                <a:gd name="T1" fmla="*/ 0 h 3"/>
                <a:gd name="T2" fmla="*/ 0 w 2"/>
                <a:gd name="T3" fmla="*/ 1 h 3"/>
                <a:gd name="T4" fmla="*/ 1 w 2"/>
                <a:gd name="T5" fmla="*/ 3 h 3"/>
                <a:gd name="T6" fmla="*/ 2 w 2"/>
                <a:gd name="T7" fmla="*/ 2 h 3"/>
                <a:gd name="T8" fmla="*/ 2 w 2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cubicBezTo>
                    <a:pt x="1" y="0"/>
                    <a:pt x="0" y="1"/>
                    <a:pt x="0" y="1"/>
                  </a:cubicBezTo>
                  <a:cubicBezTo>
                    <a:pt x="0" y="2"/>
                    <a:pt x="0" y="3"/>
                    <a:pt x="1" y="3"/>
                  </a:cubicBezTo>
                  <a:cubicBezTo>
                    <a:pt x="1" y="3"/>
                    <a:pt x="1" y="2"/>
                    <a:pt x="2" y="2"/>
                  </a:cubicBezTo>
                  <a:lnTo>
                    <a:pt x="2" y="0"/>
                  </a:ln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13" name="Freeform 7172"/>
            <p:cNvSpPr>
              <a:spLocks/>
            </p:cNvSpPr>
            <p:nvPr/>
          </p:nvSpPr>
          <p:spPr bwMode="auto">
            <a:xfrm>
              <a:off x="5605" y="2809"/>
              <a:ext cx="4" cy="7"/>
            </a:xfrm>
            <a:custGeom>
              <a:avLst/>
              <a:gdLst>
                <a:gd name="T0" fmla="*/ 3 w 3"/>
                <a:gd name="T1" fmla="*/ 1 h 6"/>
                <a:gd name="T2" fmla="*/ 0 w 3"/>
                <a:gd name="T3" fmla="*/ 0 h 6"/>
                <a:gd name="T4" fmla="*/ 1 w 3"/>
                <a:gd name="T5" fmla="*/ 6 h 6"/>
                <a:gd name="T6" fmla="*/ 3 w 3"/>
                <a:gd name="T7" fmla="*/ 2 h 6"/>
                <a:gd name="T8" fmla="*/ 3 w 3"/>
                <a:gd name="T9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6">
                  <a:moveTo>
                    <a:pt x="3" y="1"/>
                  </a:moveTo>
                  <a:cubicBezTo>
                    <a:pt x="2" y="1"/>
                    <a:pt x="1" y="0"/>
                    <a:pt x="0" y="0"/>
                  </a:cubicBezTo>
                  <a:cubicBezTo>
                    <a:pt x="1" y="2"/>
                    <a:pt x="1" y="4"/>
                    <a:pt x="1" y="6"/>
                  </a:cubicBezTo>
                  <a:cubicBezTo>
                    <a:pt x="1" y="5"/>
                    <a:pt x="2" y="3"/>
                    <a:pt x="3" y="2"/>
                  </a:cubicBezTo>
                  <a:cubicBezTo>
                    <a:pt x="3" y="2"/>
                    <a:pt x="3" y="1"/>
                    <a:pt x="3" y="1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14" name="Freeform 7173"/>
            <p:cNvSpPr>
              <a:spLocks/>
            </p:cNvSpPr>
            <p:nvPr/>
          </p:nvSpPr>
          <p:spPr bwMode="auto">
            <a:xfrm>
              <a:off x="5601" y="2768"/>
              <a:ext cx="7" cy="38"/>
            </a:xfrm>
            <a:custGeom>
              <a:avLst/>
              <a:gdLst>
                <a:gd name="T0" fmla="*/ 0 w 6"/>
                <a:gd name="T1" fmla="*/ 0 h 31"/>
                <a:gd name="T2" fmla="*/ 4 w 6"/>
                <a:gd name="T3" fmla="*/ 31 h 31"/>
                <a:gd name="T4" fmla="*/ 6 w 6"/>
                <a:gd name="T5" fmla="*/ 31 h 31"/>
                <a:gd name="T6" fmla="*/ 0 w 6"/>
                <a:gd name="T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31">
                  <a:moveTo>
                    <a:pt x="0" y="0"/>
                  </a:moveTo>
                  <a:cubicBezTo>
                    <a:pt x="0" y="0"/>
                    <a:pt x="3" y="14"/>
                    <a:pt x="4" y="31"/>
                  </a:cubicBezTo>
                  <a:cubicBezTo>
                    <a:pt x="5" y="31"/>
                    <a:pt x="6" y="31"/>
                    <a:pt x="6" y="31"/>
                  </a:cubicBezTo>
                  <a:cubicBezTo>
                    <a:pt x="4" y="17"/>
                    <a:pt x="2" y="2"/>
                    <a:pt x="0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15" name="Freeform 7174"/>
            <p:cNvSpPr>
              <a:spLocks/>
            </p:cNvSpPr>
            <p:nvPr/>
          </p:nvSpPr>
          <p:spPr bwMode="auto">
            <a:xfrm>
              <a:off x="5615" y="2845"/>
              <a:ext cx="1" cy="0"/>
            </a:xfrm>
            <a:custGeom>
              <a:avLst/>
              <a:gdLst>
                <a:gd name="T0" fmla="*/ 0 w 1"/>
                <a:gd name="T1" fmla="*/ 0 w 1"/>
                <a:gd name="T2" fmla="*/ 1 w 1"/>
                <a:gd name="T3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16" name="Freeform 7175"/>
            <p:cNvSpPr>
              <a:spLocks/>
            </p:cNvSpPr>
            <p:nvPr/>
          </p:nvSpPr>
          <p:spPr bwMode="auto">
            <a:xfrm>
              <a:off x="5626" y="2819"/>
              <a:ext cx="5" cy="5"/>
            </a:xfrm>
            <a:custGeom>
              <a:avLst/>
              <a:gdLst>
                <a:gd name="T0" fmla="*/ 2 w 4"/>
                <a:gd name="T1" fmla="*/ 2 h 4"/>
                <a:gd name="T2" fmla="*/ 0 w 4"/>
                <a:gd name="T3" fmla="*/ 3 h 4"/>
                <a:gd name="T4" fmla="*/ 1 w 4"/>
                <a:gd name="T5" fmla="*/ 4 h 4"/>
                <a:gd name="T6" fmla="*/ 2 w 4"/>
                <a:gd name="T7" fmla="*/ 4 h 4"/>
                <a:gd name="T8" fmla="*/ 4 w 4"/>
                <a:gd name="T9" fmla="*/ 3 h 4"/>
                <a:gd name="T10" fmla="*/ 4 w 4"/>
                <a:gd name="T11" fmla="*/ 0 h 4"/>
                <a:gd name="T12" fmla="*/ 2 w 4"/>
                <a:gd name="T13" fmla="*/ 2 h 4"/>
                <a:gd name="T14" fmla="*/ 3 w 4"/>
                <a:gd name="T15" fmla="*/ 2 h 4"/>
                <a:gd name="T16" fmla="*/ 2 w 4"/>
                <a:gd name="T17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" h="4">
                  <a:moveTo>
                    <a:pt x="2" y="2"/>
                  </a:moveTo>
                  <a:cubicBezTo>
                    <a:pt x="1" y="2"/>
                    <a:pt x="1" y="3"/>
                    <a:pt x="0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2" y="4"/>
                    <a:pt x="2" y="4"/>
                  </a:cubicBezTo>
                  <a:cubicBezTo>
                    <a:pt x="2" y="4"/>
                    <a:pt x="3" y="3"/>
                    <a:pt x="4" y="3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1"/>
                    <a:pt x="3" y="1"/>
                    <a:pt x="2" y="2"/>
                  </a:cubicBezTo>
                  <a:cubicBezTo>
                    <a:pt x="2" y="2"/>
                    <a:pt x="2" y="2"/>
                    <a:pt x="3" y="2"/>
                  </a:cubicBezTo>
                  <a:cubicBezTo>
                    <a:pt x="3" y="2"/>
                    <a:pt x="2" y="2"/>
                    <a:pt x="2" y="2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17" name="Freeform 7176"/>
            <p:cNvSpPr>
              <a:spLocks/>
            </p:cNvSpPr>
            <p:nvPr/>
          </p:nvSpPr>
          <p:spPr bwMode="auto">
            <a:xfrm>
              <a:off x="5582" y="2827"/>
              <a:ext cx="17" cy="17"/>
            </a:xfrm>
            <a:custGeom>
              <a:avLst/>
              <a:gdLst>
                <a:gd name="T0" fmla="*/ 0 w 14"/>
                <a:gd name="T1" fmla="*/ 9 h 14"/>
                <a:gd name="T2" fmla="*/ 14 w 14"/>
                <a:gd name="T3" fmla="*/ 14 h 14"/>
                <a:gd name="T4" fmla="*/ 14 w 14"/>
                <a:gd name="T5" fmla="*/ 10 h 14"/>
                <a:gd name="T6" fmla="*/ 0 w 14"/>
                <a:gd name="T7" fmla="*/ 9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14">
                  <a:moveTo>
                    <a:pt x="0" y="9"/>
                  </a:moveTo>
                  <a:cubicBezTo>
                    <a:pt x="0" y="9"/>
                    <a:pt x="9" y="0"/>
                    <a:pt x="14" y="14"/>
                  </a:cubicBezTo>
                  <a:cubicBezTo>
                    <a:pt x="14" y="13"/>
                    <a:pt x="14" y="12"/>
                    <a:pt x="14" y="10"/>
                  </a:cubicBezTo>
                  <a:cubicBezTo>
                    <a:pt x="11" y="5"/>
                    <a:pt x="7" y="1"/>
                    <a:pt x="0" y="9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18" name="Freeform 7177"/>
            <p:cNvSpPr>
              <a:spLocks/>
            </p:cNvSpPr>
            <p:nvPr/>
          </p:nvSpPr>
          <p:spPr bwMode="auto">
            <a:xfrm>
              <a:off x="5605" y="2857"/>
              <a:ext cx="0" cy="3"/>
            </a:xfrm>
            <a:custGeom>
              <a:avLst/>
              <a:gdLst>
                <a:gd name="T0" fmla="*/ 2 h 2"/>
                <a:gd name="T1" fmla="*/ 1 h 2"/>
                <a:gd name="T2" fmla="*/ 0 h 2"/>
                <a:gd name="T3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cubicBezTo>
                    <a:pt x="0" y="2"/>
                    <a:pt x="0" y="2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19" name="Freeform 7178"/>
            <p:cNvSpPr>
              <a:spLocks/>
            </p:cNvSpPr>
            <p:nvPr/>
          </p:nvSpPr>
          <p:spPr bwMode="auto">
            <a:xfrm>
              <a:off x="5604" y="2824"/>
              <a:ext cx="5" cy="28"/>
            </a:xfrm>
            <a:custGeom>
              <a:avLst/>
              <a:gdLst>
                <a:gd name="T0" fmla="*/ 4 w 4"/>
                <a:gd name="T1" fmla="*/ 9 h 23"/>
                <a:gd name="T2" fmla="*/ 2 w 4"/>
                <a:gd name="T3" fmla="*/ 0 h 23"/>
                <a:gd name="T4" fmla="*/ 2 w 4"/>
                <a:gd name="T5" fmla="*/ 1 h 23"/>
                <a:gd name="T6" fmla="*/ 0 w 4"/>
                <a:gd name="T7" fmla="*/ 18 h 23"/>
                <a:gd name="T8" fmla="*/ 1 w 4"/>
                <a:gd name="T9" fmla="*/ 23 h 23"/>
                <a:gd name="T10" fmla="*/ 1 w 4"/>
                <a:gd name="T11" fmla="*/ 23 h 23"/>
                <a:gd name="T12" fmla="*/ 4 w 4"/>
                <a:gd name="T13" fmla="*/ 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23">
                  <a:moveTo>
                    <a:pt x="4" y="9"/>
                  </a:moveTo>
                  <a:cubicBezTo>
                    <a:pt x="4" y="6"/>
                    <a:pt x="3" y="3"/>
                    <a:pt x="2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7"/>
                    <a:pt x="1" y="13"/>
                    <a:pt x="0" y="18"/>
                  </a:cubicBezTo>
                  <a:cubicBezTo>
                    <a:pt x="0" y="20"/>
                    <a:pt x="1" y="21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2" y="19"/>
                    <a:pt x="3" y="14"/>
                    <a:pt x="4" y="9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20" name="Freeform 7179"/>
            <p:cNvSpPr>
              <a:spLocks/>
            </p:cNvSpPr>
            <p:nvPr/>
          </p:nvSpPr>
          <p:spPr bwMode="auto">
            <a:xfrm>
              <a:off x="5608" y="2815"/>
              <a:ext cx="4" cy="12"/>
            </a:xfrm>
            <a:custGeom>
              <a:avLst/>
              <a:gdLst>
                <a:gd name="T0" fmla="*/ 1 w 3"/>
                <a:gd name="T1" fmla="*/ 0 h 10"/>
                <a:gd name="T2" fmla="*/ 0 w 3"/>
                <a:gd name="T3" fmla="*/ 5 h 10"/>
                <a:gd name="T4" fmla="*/ 3 w 3"/>
                <a:gd name="T5" fmla="*/ 10 h 10"/>
                <a:gd name="T6" fmla="*/ 1 w 3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0">
                  <a:moveTo>
                    <a:pt x="1" y="0"/>
                  </a:moveTo>
                  <a:cubicBezTo>
                    <a:pt x="1" y="2"/>
                    <a:pt x="0" y="3"/>
                    <a:pt x="0" y="5"/>
                  </a:cubicBezTo>
                  <a:cubicBezTo>
                    <a:pt x="1" y="6"/>
                    <a:pt x="2" y="8"/>
                    <a:pt x="3" y="10"/>
                  </a:cubicBezTo>
                  <a:cubicBezTo>
                    <a:pt x="2" y="7"/>
                    <a:pt x="2" y="4"/>
                    <a:pt x="1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21" name="Freeform 7180"/>
            <p:cNvSpPr>
              <a:spLocks/>
            </p:cNvSpPr>
            <p:nvPr/>
          </p:nvSpPr>
          <p:spPr bwMode="auto">
            <a:xfrm>
              <a:off x="5614" y="2826"/>
              <a:ext cx="11" cy="17"/>
            </a:xfrm>
            <a:custGeom>
              <a:avLst/>
              <a:gdLst>
                <a:gd name="T0" fmla="*/ 0 w 9"/>
                <a:gd name="T1" fmla="*/ 10 h 14"/>
                <a:gd name="T2" fmla="*/ 1 w 9"/>
                <a:gd name="T3" fmla="*/ 14 h 14"/>
                <a:gd name="T4" fmla="*/ 3 w 9"/>
                <a:gd name="T5" fmla="*/ 13 h 14"/>
                <a:gd name="T6" fmla="*/ 9 w 9"/>
                <a:gd name="T7" fmla="*/ 2 h 14"/>
                <a:gd name="T8" fmla="*/ 8 w 9"/>
                <a:gd name="T9" fmla="*/ 0 h 14"/>
                <a:gd name="T10" fmla="*/ 8 w 9"/>
                <a:gd name="T11" fmla="*/ 0 h 14"/>
                <a:gd name="T12" fmla="*/ 0 w 9"/>
                <a:gd name="T13" fmla="*/ 1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4">
                  <a:moveTo>
                    <a:pt x="0" y="10"/>
                  </a:moveTo>
                  <a:cubicBezTo>
                    <a:pt x="1" y="11"/>
                    <a:pt x="1" y="13"/>
                    <a:pt x="1" y="14"/>
                  </a:cubicBezTo>
                  <a:cubicBezTo>
                    <a:pt x="2" y="14"/>
                    <a:pt x="2" y="13"/>
                    <a:pt x="3" y="13"/>
                  </a:cubicBezTo>
                  <a:cubicBezTo>
                    <a:pt x="5" y="9"/>
                    <a:pt x="7" y="6"/>
                    <a:pt x="9" y="2"/>
                  </a:cubicBezTo>
                  <a:cubicBezTo>
                    <a:pt x="9" y="2"/>
                    <a:pt x="9" y="1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" y="3"/>
                    <a:pt x="3" y="6"/>
                    <a:pt x="0" y="1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22" name="Freeform 7181"/>
            <p:cNvSpPr>
              <a:spLocks/>
            </p:cNvSpPr>
            <p:nvPr/>
          </p:nvSpPr>
          <p:spPr bwMode="auto">
            <a:xfrm>
              <a:off x="5607" y="2824"/>
              <a:ext cx="0" cy="2"/>
            </a:xfrm>
            <a:custGeom>
              <a:avLst/>
              <a:gdLst>
                <a:gd name="T0" fmla="*/ 0 h 1"/>
                <a:gd name="T1" fmla="*/ 1 h 1"/>
                <a:gd name="T2" fmla="*/ 0 h 1"/>
                <a:gd name="T3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23" name="Freeform 7182"/>
            <p:cNvSpPr>
              <a:spLocks/>
            </p:cNvSpPr>
            <p:nvPr/>
          </p:nvSpPr>
          <p:spPr bwMode="auto">
            <a:xfrm>
              <a:off x="5608" y="2852"/>
              <a:ext cx="1" cy="3"/>
            </a:xfrm>
            <a:custGeom>
              <a:avLst/>
              <a:gdLst>
                <a:gd name="T0" fmla="*/ 1 w 1"/>
                <a:gd name="T1" fmla="*/ 2 h 2"/>
                <a:gd name="T2" fmla="*/ 1 w 1"/>
                <a:gd name="T3" fmla="*/ 0 h 2"/>
                <a:gd name="T4" fmla="*/ 0 w 1"/>
                <a:gd name="T5" fmla="*/ 1 h 2"/>
                <a:gd name="T6" fmla="*/ 1 w 1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2">
                  <a:moveTo>
                    <a:pt x="1" y="2"/>
                  </a:moveTo>
                  <a:cubicBezTo>
                    <a:pt x="1" y="1"/>
                    <a:pt x="1" y="0"/>
                    <a:pt x="1" y="0"/>
                  </a:cubicBezTo>
                  <a:cubicBezTo>
                    <a:pt x="1" y="0"/>
                    <a:pt x="1" y="1"/>
                    <a:pt x="0" y="1"/>
                  </a:cubicBezTo>
                  <a:cubicBezTo>
                    <a:pt x="1" y="2"/>
                    <a:pt x="1" y="2"/>
                    <a:pt x="1" y="2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24" name="Freeform 7183"/>
            <p:cNvSpPr>
              <a:spLocks/>
            </p:cNvSpPr>
            <p:nvPr/>
          </p:nvSpPr>
          <p:spPr bwMode="auto">
            <a:xfrm>
              <a:off x="5601" y="2855"/>
              <a:ext cx="7" cy="19"/>
            </a:xfrm>
            <a:custGeom>
              <a:avLst/>
              <a:gdLst>
                <a:gd name="T0" fmla="*/ 4 w 6"/>
                <a:gd name="T1" fmla="*/ 3 h 16"/>
                <a:gd name="T2" fmla="*/ 4 w 6"/>
                <a:gd name="T3" fmla="*/ 4 h 16"/>
                <a:gd name="T4" fmla="*/ 4 w 6"/>
                <a:gd name="T5" fmla="*/ 2 h 16"/>
                <a:gd name="T6" fmla="*/ 0 w 6"/>
                <a:gd name="T7" fmla="*/ 0 h 16"/>
                <a:gd name="T8" fmla="*/ 1 w 6"/>
                <a:gd name="T9" fmla="*/ 16 h 16"/>
                <a:gd name="T10" fmla="*/ 4 w 6"/>
                <a:gd name="T11" fmla="*/ 16 h 16"/>
                <a:gd name="T12" fmla="*/ 5 w 6"/>
                <a:gd name="T13" fmla="*/ 13 h 16"/>
                <a:gd name="T14" fmla="*/ 4 w 6"/>
                <a:gd name="T15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16">
                  <a:moveTo>
                    <a:pt x="4" y="3"/>
                  </a:move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3"/>
                    <a:pt x="4" y="2"/>
                  </a:cubicBezTo>
                  <a:cubicBezTo>
                    <a:pt x="3" y="1"/>
                    <a:pt x="2" y="0"/>
                    <a:pt x="0" y="0"/>
                  </a:cubicBezTo>
                  <a:cubicBezTo>
                    <a:pt x="1" y="4"/>
                    <a:pt x="1" y="9"/>
                    <a:pt x="1" y="16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16"/>
                    <a:pt x="4" y="15"/>
                    <a:pt x="5" y="13"/>
                  </a:cubicBezTo>
                  <a:cubicBezTo>
                    <a:pt x="6" y="8"/>
                    <a:pt x="5" y="5"/>
                    <a:pt x="4" y="3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25" name="Freeform 7184"/>
            <p:cNvSpPr>
              <a:spLocks/>
            </p:cNvSpPr>
            <p:nvPr/>
          </p:nvSpPr>
          <p:spPr bwMode="auto">
            <a:xfrm>
              <a:off x="5605" y="2835"/>
              <a:ext cx="5" cy="19"/>
            </a:xfrm>
            <a:custGeom>
              <a:avLst/>
              <a:gdLst>
                <a:gd name="T0" fmla="*/ 3 w 4"/>
                <a:gd name="T1" fmla="*/ 0 h 15"/>
                <a:gd name="T2" fmla="*/ 0 w 4"/>
                <a:gd name="T3" fmla="*/ 14 h 15"/>
                <a:gd name="T4" fmla="*/ 2 w 4"/>
                <a:gd name="T5" fmla="*/ 15 h 15"/>
                <a:gd name="T6" fmla="*/ 4 w 4"/>
                <a:gd name="T7" fmla="*/ 11 h 15"/>
                <a:gd name="T8" fmla="*/ 3 w 4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5">
                  <a:moveTo>
                    <a:pt x="3" y="0"/>
                  </a:moveTo>
                  <a:cubicBezTo>
                    <a:pt x="2" y="5"/>
                    <a:pt x="1" y="10"/>
                    <a:pt x="0" y="14"/>
                  </a:cubicBezTo>
                  <a:cubicBezTo>
                    <a:pt x="1" y="15"/>
                    <a:pt x="2" y="15"/>
                    <a:pt x="2" y="15"/>
                  </a:cubicBezTo>
                  <a:cubicBezTo>
                    <a:pt x="2" y="14"/>
                    <a:pt x="3" y="12"/>
                    <a:pt x="4" y="11"/>
                  </a:cubicBezTo>
                  <a:cubicBezTo>
                    <a:pt x="4" y="7"/>
                    <a:pt x="4" y="4"/>
                    <a:pt x="3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26" name="Freeform 7185"/>
            <p:cNvSpPr>
              <a:spLocks/>
            </p:cNvSpPr>
            <p:nvPr/>
          </p:nvSpPr>
          <p:spPr bwMode="auto">
            <a:xfrm>
              <a:off x="5629" y="2822"/>
              <a:ext cx="1" cy="0"/>
            </a:xfrm>
            <a:custGeom>
              <a:avLst/>
              <a:gdLst>
                <a:gd name="T0" fmla="*/ 1 w 1"/>
                <a:gd name="T1" fmla="*/ 0 w 1"/>
                <a:gd name="T2" fmla="*/ 0 w 1"/>
                <a:gd name="T3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27" name="Freeform 7186"/>
            <p:cNvSpPr>
              <a:spLocks/>
            </p:cNvSpPr>
            <p:nvPr/>
          </p:nvSpPr>
          <p:spPr bwMode="auto">
            <a:xfrm>
              <a:off x="5607" y="2811"/>
              <a:ext cx="2" cy="10"/>
            </a:xfrm>
            <a:custGeom>
              <a:avLst/>
              <a:gdLst>
                <a:gd name="T0" fmla="*/ 1 w 2"/>
                <a:gd name="T1" fmla="*/ 8 h 8"/>
                <a:gd name="T2" fmla="*/ 2 w 2"/>
                <a:gd name="T3" fmla="*/ 3 h 8"/>
                <a:gd name="T4" fmla="*/ 2 w 2"/>
                <a:gd name="T5" fmla="*/ 0 h 8"/>
                <a:gd name="T6" fmla="*/ 0 w 2"/>
                <a:gd name="T7" fmla="*/ 4 h 8"/>
                <a:gd name="T8" fmla="*/ 0 w 2"/>
                <a:gd name="T9" fmla="*/ 6 h 8"/>
                <a:gd name="T10" fmla="*/ 1 w 2"/>
                <a:gd name="T11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8">
                  <a:moveTo>
                    <a:pt x="1" y="8"/>
                  </a:moveTo>
                  <a:cubicBezTo>
                    <a:pt x="1" y="6"/>
                    <a:pt x="2" y="5"/>
                    <a:pt x="2" y="3"/>
                  </a:cubicBezTo>
                  <a:cubicBezTo>
                    <a:pt x="2" y="2"/>
                    <a:pt x="2" y="1"/>
                    <a:pt x="2" y="0"/>
                  </a:cubicBezTo>
                  <a:cubicBezTo>
                    <a:pt x="1" y="1"/>
                    <a:pt x="0" y="3"/>
                    <a:pt x="0" y="4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0" y="7"/>
                    <a:pt x="1" y="7"/>
                    <a:pt x="1" y="8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28" name="Freeform 7187"/>
            <p:cNvSpPr>
              <a:spLocks/>
            </p:cNvSpPr>
            <p:nvPr/>
          </p:nvSpPr>
          <p:spPr bwMode="auto">
            <a:xfrm>
              <a:off x="5599" y="2839"/>
              <a:ext cx="6" cy="13"/>
            </a:xfrm>
            <a:custGeom>
              <a:avLst/>
              <a:gdLst>
                <a:gd name="T0" fmla="*/ 5 w 5"/>
                <a:gd name="T1" fmla="*/ 11 h 11"/>
                <a:gd name="T2" fmla="*/ 4 w 5"/>
                <a:gd name="T3" fmla="*/ 6 h 11"/>
                <a:gd name="T4" fmla="*/ 4 w 5"/>
                <a:gd name="T5" fmla="*/ 10 h 11"/>
                <a:gd name="T6" fmla="*/ 0 w 5"/>
                <a:gd name="T7" fmla="*/ 0 h 11"/>
                <a:gd name="T8" fmla="*/ 0 w 5"/>
                <a:gd name="T9" fmla="*/ 4 h 11"/>
                <a:gd name="T10" fmla="*/ 1 w 5"/>
                <a:gd name="T11" fmla="*/ 10 h 11"/>
                <a:gd name="T12" fmla="*/ 5 w 5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11">
                  <a:moveTo>
                    <a:pt x="5" y="11"/>
                  </a:moveTo>
                  <a:cubicBezTo>
                    <a:pt x="5" y="9"/>
                    <a:pt x="4" y="8"/>
                    <a:pt x="4" y="6"/>
                  </a:cubicBezTo>
                  <a:cubicBezTo>
                    <a:pt x="4" y="8"/>
                    <a:pt x="4" y="9"/>
                    <a:pt x="4" y="10"/>
                  </a:cubicBezTo>
                  <a:cubicBezTo>
                    <a:pt x="4" y="10"/>
                    <a:pt x="3" y="5"/>
                    <a:pt x="0" y="0"/>
                  </a:cubicBezTo>
                  <a:cubicBezTo>
                    <a:pt x="0" y="2"/>
                    <a:pt x="0" y="3"/>
                    <a:pt x="0" y="4"/>
                  </a:cubicBezTo>
                  <a:cubicBezTo>
                    <a:pt x="0" y="6"/>
                    <a:pt x="1" y="7"/>
                    <a:pt x="1" y="10"/>
                  </a:cubicBezTo>
                  <a:cubicBezTo>
                    <a:pt x="2" y="10"/>
                    <a:pt x="4" y="10"/>
                    <a:pt x="5" y="11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29" name="Freeform 7188"/>
            <p:cNvSpPr>
              <a:spLocks/>
            </p:cNvSpPr>
            <p:nvPr/>
          </p:nvSpPr>
          <p:spPr bwMode="auto">
            <a:xfrm>
              <a:off x="5625" y="2823"/>
              <a:ext cx="2" cy="1"/>
            </a:xfrm>
            <a:custGeom>
              <a:avLst/>
              <a:gdLst>
                <a:gd name="T0" fmla="*/ 2 w 2"/>
                <a:gd name="T1" fmla="*/ 1 h 1"/>
                <a:gd name="T2" fmla="*/ 1 w 2"/>
                <a:gd name="T3" fmla="*/ 0 h 1"/>
                <a:gd name="T4" fmla="*/ 0 w 2"/>
                <a:gd name="T5" fmla="*/ 1 h 1"/>
                <a:gd name="T6" fmla="*/ 2 w 2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2" y="1"/>
                  </a:moveTo>
                  <a:cubicBezTo>
                    <a:pt x="2" y="1"/>
                    <a:pt x="2" y="0"/>
                    <a:pt x="1" y="0"/>
                  </a:cubicBezTo>
                  <a:cubicBezTo>
                    <a:pt x="1" y="0"/>
                    <a:pt x="1" y="1"/>
                    <a:pt x="0" y="1"/>
                  </a:cubicBezTo>
                  <a:cubicBezTo>
                    <a:pt x="1" y="1"/>
                    <a:pt x="2" y="1"/>
                    <a:pt x="2" y="1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30" name="Freeform 7189"/>
            <p:cNvSpPr>
              <a:spLocks/>
            </p:cNvSpPr>
            <p:nvPr/>
          </p:nvSpPr>
          <p:spPr bwMode="auto">
            <a:xfrm>
              <a:off x="5624" y="2826"/>
              <a:ext cx="2" cy="2"/>
            </a:xfrm>
            <a:custGeom>
              <a:avLst/>
              <a:gdLst>
                <a:gd name="T0" fmla="*/ 2 w 2"/>
                <a:gd name="T1" fmla="*/ 1 h 2"/>
                <a:gd name="T2" fmla="*/ 0 w 2"/>
                <a:gd name="T3" fmla="*/ 0 h 2"/>
                <a:gd name="T4" fmla="*/ 1 w 2"/>
                <a:gd name="T5" fmla="*/ 2 h 2"/>
                <a:gd name="T6" fmla="*/ 2 w 2"/>
                <a:gd name="T7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2" y="1"/>
                  </a:moveTo>
                  <a:cubicBezTo>
                    <a:pt x="2" y="1"/>
                    <a:pt x="1" y="0"/>
                    <a:pt x="0" y="0"/>
                  </a:cubicBezTo>
                  <a:cubicBezTo>
                    <a:pt x="1" y="1"/>
                    <a:pt x="1" y="2"/>
                    <a:pt x="1" y="2"/>
                  </a:cubicBezTo>
                  <a:cubicBezTo>
                    <a:pt x="2" y="2"/>
                    <a:pt x="2" y="1"/>
                    <a:pt x="2" y="1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31" name="Freeform 7190"/>
            <p:cNvSpPr>
              <a:spLocks/>
            </p:cNvSpPr>
            <p:nvPr/>
          </p:nvSpPr>
          <p:spPr bwMode="auto">
            <a:xfrm>
              <a:off x="5605" y="2806"/>
              <a:ext cx="4" cy="4"/>
            </a:xfrm>
            <a:custGeom>
              <a:avLst/>
              <a:gdLst>
                <a:gd name="T0" fmla="*/ 2 w 3"/>
                <a:gd name="T1" fmla="*/ 0 h 3"/>
                <a:gd name="T2" fmla="*/ 0 w 3"/>
                <a:gd name="T3" fmla="*/ 0 h 3"/>
                <a:gd name="T4" fmla="*/ 0 w 3"/>
                <a:gd name="T5" fmla="*/ 2 h 3"/>
                <a:gd name="T6" fmla="*/ 3 w 3"/>
                <a:gd name="T7" fmla="*/ 3 h 3"/>
                <a:gd name="T8" fmla="*/ 2 w 3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2" y="0"/>
                  </a:moveTo>
                  <a:cubicBezTo>
                    <a:pt x="2" y="0"/>
                    <a:pt x="1" y="0"/>
                    <a:pt x="0" y="0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1" y="2"/>
                    <a:pt x="2" y="3"/>
                    <a:pt x="3" y="3"/>
                  </a:cubicBezTo>
                  <a:cubicBezTo>
                    <a:pt x="3" y="2"/>
                    <a:pt x="2" y="1"/>
                    <a:pt x="2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32" name="Freeform 7191"/>
            <p:cNvSpPr>
              <a:spLocks/>
            </p:cNvSpPr>
            <p:nvPr/>
          </p:nvSpPr>
          <p:spPr bwMode="auto">
            <a:xfrm>
              <a:off x="5607" y="2821"/>
              <a:ext cx="5" cy="14"/>
            </a:xfrm>
            <a:custGeom>
              <a:avLst/>
              <a:gdLst>
                <a:gd name="T0" fmla="*/ 2 w 4"/>
                <a:gd name="T1" fmla="*/ 12 h 12"/>
                <a:gd name="T2" fmla="*/ 4 w 4"/>
                <a:gd name="T3" fmla="*/ 8 h 12"/>
                <a:gd name="T4" fmla="*/ 4 w 4"/>
                <a:gd name="T5" fmla="*/ 5 h 12"/>
                <a:gd name="T6" fmla="*/ 1 w 4"/>
                <a:gd name="T7" fmla="*/ 0 h 12"/>
                <a:gd name="T8" fmla="*/ 0 w 4"/>
                <a:gd name="T9" fmla="*/ 3 h 12"/>
                <a:gd name="T10" fmla="*/ 2 w 4"/>
                <a:gd name="T11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12">
                  <a:moveTo>
                    <a:pt x="2" y="12"/>
                  </a:moveTo>
                  <a:cubicBezTo>
                    <a:pt x="3" y="11"/>
                    <a:pt x="3" y="9"/>
                    <a:pt x="4" y="8"/>
                  </a:cubicBezTo>
                  <a:cubicBezTo>
                    <a:pt x="4" y="7"/>
                    <a:pt x="4" y="6"/>
                    <a:pt x="4" y="5"/>
                  </a:cubicBezTo>
                  <a:cubicBezTo>
                    <a:pt x="3" y="3"/>
                    <a:pt x="2" y="1"/>
                    <a:pt x="1" y="0"/>
                  </a:cubicBezTo>
                  <a:cubicBezTo>
                    <a:pt x="1" y="1"/>
                    <a:pt x="0" y="2"/>
                    <a:pt x="0" y="3"/>
                  </a:cubicBezTo>
                  <a:cubicBezTo>
                    <a:pt x="1" y="6"/>
                    <a:pt x="2" y="9"/>
                    <a:pt x="2" y="12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33" name="Freeform 7192"/>
            <p:cNvSpPr>
              <a:spLocks/>
            </p:cNvSpPr>
            <p:nvPr/>
          </p:nvSpPr>
          <p:spPr bwMode="auto">
            <a:xfrm>
              <a:off x="5613" y="2845"/>
              <a:ext cx="2" cy="6"/>
            </a:xfrm>
            <a:custGeom>
              <a:avLst/>
              <a:gdLst>
                <a:gd name="T0" fmla="*/ 2 w 2"/>
                <a:gd name="T1" fmla="*/ 0 h 5"/>
                <a:gd name="T2" fmla="*/ 1 w 2"/>
                <a:gd name="T3" fmla="*/ 2 h 5"/>
                <a:gd name="T4" fmla="*/ 1 w 2"/>
                <a:gd name="T5" fmla="*/ 5 h 5"/>
                <a:gd name="T6" fmla="*/ 2 w 2"/>
                <a:gd name="T7" fmla="*/ 0 h 5"/>
                <a:gd name="T8" fmla="*/ 2 w 2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5">
                  <a:moveTo>
                    <a:pt x="2" y="0"/>
                  </a:moveTo>
                  <a:cubicBezTo>
                    <a:pt x="2" y="0"/>
                    <a:pt x="1" y="1"/>
                    <a:pt x="1" y="2"/>
                  </a:cubicBezTo>
                  <a:cubicBezTo>
                    <a:pt x="0" y="3"/>
                    <a:pt x="0" y="3"/>
                    <a:pt x="1" y="5"/>
                  </a:cubicBezTo>
                  <a:cubicBezTo>
                    <a:pt x="1" y="3"/>
                    <a:pt x="2" y="2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34" name="Freeform 7193"/>
            <p:cNvSpPr>
              <a:spLocks/>
            </p:cNvSpPr>
            <p:nvPr/>
          </p:nvSpPr>
          <p:spPr bwMode="auto">
            <a:xfrm>
              <a:off x="5605" y="2852"/>
              <a:ext cx="0" cy="6"/>
            </a:xfrm>
            <a:custGeom>
              <a:avLst/>
              <a:gdLst>
                <a:gd name="T0" fmla="*/ 0 h 5"/>
                <a:gd name="T1" fmla="*/ 4 h 5"/>
                <a:gd name="T2" fmla="*/ 5 h 5"/>
                <a:gd name="T3" fmla="*/ 0 h 5"/>
                <a:gd name="T4" fmla="*/ 0 h 5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5">
                  <a:moveTo>
                    <a:pt x="0" y="0"/>
                  </a:moveTo>
                  <a:cubicBezTo>
                    <a:pt x="0" y="1"/>
                    <a:pt x="0" y="3"/>
                    <a:pt x="0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0" y="3"/>
                    <a:pt x="0" y="2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35" name="Freeform 7194"/>
            <p:cNvSpPr>
              <a:spLocks/>
            </p:cNvSpPr>
            <p:nvPr/>
          </p:nvSpPr>
          <p:spPr bwMode="auto">
            <a:xfrm>
              <a:off x="5614" y="2838"/>
              <a:ext cx="1" cy="6"/>
            </a:xfrm>
            <a:custGeom>
              <a:avLst/>
              <a:gdLst>
                <a:gd name="T0" fmla="*/ 0 w 1"/>
                <a:gd name="T1" fmla="*/ 0 h 5"/>
                <a:gd name="T2" fmla="*/ 0 w 1"/>
                <a:gd name="T3" fmla="*/ 5 h 5"/>
                <a:gd name="T4" fmla="*/ 1 w 1"/>
                <a:gd name="T5" fmla="*/ 4 h 5"/>
                <a:gd name="T6" fmla="*/ 0 w 1"/>
                <a:gd name="T7" fmla="*/ 0 h 5"/>
                <a:gd name="T8" fmla="*/ 0 w 1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5">
                  <a:moveTo>
                    <a:pt x="0" y="0"/>
                  </a:moveTo>
                  <a:cubicBezTo>
                    <a:pt x="0" y="1"/>
                    <a:pt x="0" y="3"/>
                    <a:pt x="0" y="5"/>
                  </a:cubicBezTo>
                  <a:cubicBezTo>
                    <a:pt x="0" y="5"/>
                    <a:pt x="1" y="4"/>
                    <a:pt x="1" y="4"/>
                  </a:cubicBezTo>
                  <a:cubicBezTo>
                    <a:pt x="1" y="3"/>
                    <a:pt x="1" y="1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36" name="Freeform 7195"/>
            <p:cNvSpPr>
              <a:spLocks/>
            </p:cNvSpPr>
            <p:nvPr/>
          </p:nvSpPr>
          <p:spPr bwMode="auto">
            <a:xfrm>
              <a:off x="5601" y="2851"/>
              <a:ext cx="4" cy="6"/>
            </a:xfrm>
            <a:custGeom>
              <a:avLst/>
              <a:gdLst>
                <a:gd name="T0" fmla="*/ 0 w 4"/>
                <a:gd name="T1" fmla="*/ 0 h 5"/>
                <a:gd name="T2" fmla="*/ 0 w 4"/>
                <a:gd name="T3" fmla="*/ 3 h 5"/>
                <a:gd name="T4" fmla="*/ 4 w 4"/>
                <a:gd name="T5" fmla="*/ 5 h 5"/>
                <a:gd name="T6" fmla="*/ 4 w 4"/>
                <a:gd name="T7" fmla="*/ 1 h 5"/>
                <a:gd name="T8" fmla="*/ 0 w 4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5">
                  <a:moveTo>
                    <a:pt x="0" y="0"/>
                  </a:moveTo>
                  <a:cubicBezTo>
                    <a:pt x="0" y="1"/>
                    <a:pt x="0" y="2"/>
                    <a:pt x="0" y="3"/>
                  </a:cubicBezTo>
                  <a:cubicBezTo>
                    <a:pt x="2" y="3"/>
                    <a:pt x="3" y="4"/>
                    <a:pt x="4" y="5"/>
                  </a:cubicBezTo>
                  <a:cubicBezTo>
                    <a:pt x="4" y="4"/>
                    <a:pt x="4" y="2"/>
                    <a:pt x="4" y="1"/>
                  </a:cubicBezTo>
                  <a:cubicBezTo>
                    <a:pt x="3" y="0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37" name="Freeform 7196"/>
            <p:cNvSpPr>
              <a:spLocks/>
            </p:cNvSpPr>
            <p:nvPr/>
          </p:nvSpPr>
          <p:spPr bwMode="auto">
            <a:xfrm>
              <a:off x="5605" y="2847"/>
              <a:ext cx="9" cy="24"/>
            </a:xfrm>
            <a:custGeom>
              <a:avLst/>
              <a:gdLst>
                <a:gd name="T0" fmla="*/ 7 w 7"/>
                <a:gd name="T1" fmla="*/ 0 h 19"/>
                <a:gd name="T2" fmla="*/ 3 w 7"/>
                <a:gd name="T3" fmla="*/ 4 h 19"/>
                <a:gd name="T4" fmla="*/ 3 w 7"/>
                <a:gd name="T5" fmla="*/ 6 h 19"/>
                <a:gd name="T6" fmla="*/ 2 w 7"/>
                <a:gd name="T7" fmla="*/ 5 h 19"/>
                <a:gd name="T8" fmla="*/ 1 w 7"/>
                <a:gd name="T9" fmla="*/ 7 h 19"/>
                <a:gd name="T10" fmla="*/ 2 w 7"/>
                <a:gd name="T11" fmla="*/ 5 h 19"/>
                <a:gd name="T12" fmla="*/ 0 w 7"/>
                <a:gd name="T13" fmla="*/ 4 h 19"/>
                <a:gd name="T14" fmla="*/ 0 w 7"/>
                <a:gd name="T15" fmla="*/ 9 h 19"/>
                <a:gd name="T16" fmla="*/ 1 w 7"/>
                <a:gd name="T17" fmla="*/ 19 h 19"/>
                <a:gd name="T18" fmla="*/ 7 w 7"/>
                <a:gd name="T19" fmla="*/ 3 h 19"/>
                <a:gd name="T20" fmla="*/ 7 w 7"/>
                <a:gd name="T21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" h="19">
                  <a:moveTo>
                    <a:pt x="7" y="0"/>
                  </a:moveTo>
                  <a:cubicBezTo>
                    <a:pt x="5" y="1"/>
                    <a:pt x="4" y="2"/>
                    <a:pt x="3" y="4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3" y="6"/>
                    <a:pt x="3" y="6"/>
                    <a:pt x="2" y="5"/>
                  </a:cubicBezTo>
                  <a:cubicBezTo>
                    <a:pt x="2" y="6"/>
                    <a:pt x="1" y="7"/>
                    <a:pt x="1" y="7"/>
                  </a:cubicBezTo>
                  <a:cubicBezTo>
                    <a:pt x="2" y="6"/>
                    <a:pt x="2" y="6"/>
                    <a:pt x="2" y="5"/>
                  </a:cubicBezTo>
                  <a:cubicBezTo>
                    <a:pt x="2" y="5"/>
                    <a:pt x="1" y="5"/>
                    <a:pt x="0" y="4"/>
                  </a:cubicBezTo>
                  <a:cubicBezTo>
                    <a:pt x="0" y="6"/>
                    <a:pt x="0" y="7"/>
                    <a:pt x="0" y="9"/>
                  </a:cubicBezTo>
                  <a:cubicBezTo>
                    <a:pt x="1" y="11"/>
                    <a:pt x="2" y="14"/>
                    <a:pt x="1" y="19"/>
                  </a:cubicBezTo>
                  <a:cubicBezTo>
                    <a:pt x="2" y="15"/>
                    <a:pt x="4" y="9"/>
                    <a:pt x="7" y="3"/>
                  </a:cubicBezTo>
                  <a:cubicBezTo>
                    <a:pt x="6" y="1"/>
                    <a:pt x="6" y="1"/>
                    <a:pt x="7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38" name="Freeform 7197"/>
            <p:cNvSpPr>
              <a:spLocks/>
            </p:cNvSpPr>
            <p:nvPr/>
          </p:nvSpPr>
          <p:spPr bwMode="auto">
            <a:xfrm>
              <a:off x="5607" y="2818"/>
              <a:ext cx="1" cy="6"/>
            </a:xfrm>
            <a:custGeom>
              <a:avLst/>
              <a:gdLst>
                <a:gd name="T0" fmla="*/ 1 w 1"/>
                <a:gd name="T1" fmla="*/ 2 h 5"/>
                <a:gd name="T2" fmla="*/ 0 w 1"/>
                <a:gd name="T3" fmla="*/ 0 h 5"/>
                <a:gd name="T4" fmla="*/ 0 w 1"/>
                <a:gd name="T5" fmla="*/ 5 h 5"/>
                <a:gd name="T6" fmla="*/ 0 w 1"/>
                <a:gd name="T7" fmla="*/ 5 h 5"/>
                <a:gd name="T8" fmla="*/ 1 w 1"/>
                <a:gd name="T9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5">
                  <a:moveTo>
                    <a:pt x="1" y="2"/>
                  </a:moveTo>
                  <a:cubicBezTo>
                    <a:pt x="1" y="1"/>
                    <a:pt x="0" y="1"/>
                    <a:pt x="0" y="0"/>
                  </a:cubicBezTo>
                  <a:cubicBezTo>
                    <a:pt x="0" y="2"/>
                    <a:pt x="0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4"/>
                    <a:pt x="1" y="3"/>
                    <a:pt x="1" y="2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39" name="Freeform 7198"/>
            <p:cNvSpPr>
              <a:spLocks/>
            </p:cNvSpPr>
            <p:nvPr/>
          </p:nvSpPr>
          <p:spPr bwMode="auto">
            <a:xfrm>
              <a:off x="5609" y="2830"/>
              <a:ext cx="5" cy="19"/>
            </a:xfrm>
            <a:custGeom>
              <a:avLst/>
              <a:gdLst>
                <a:gd name="T0" fmla="*/ 1 w 4"/>
                <a:gd name="T1" fmla="*/ 15 h 15"/>
                <a:gd name="T2" fmla="*/ 4 w 4"/>
                <a:gd name="T3" fmla="*/ 11 h 15"/>
                <a:gd name="T4" fmla="*/ 4 w 4"/>
                <a:gd name="T5" fmla="*/ 6 h 15"/>
                <a:gd name="T6" fmla="*/ 3 w 4"/>
                <a:gd name="T7" fmla="*/ 7 h 15"/>
                <a:gd name="T8" fmla="*/ 2 w 4"/>
                <a:gd name="T9" fmla="*/ 0 h 15"/>
                <a:gd name="T10" fmla="*/ 0 w 4"/>
                <a:gd name="T11" fmla="*/ 4 h 15"/>
                <a:gd name="T12" fmla="*/ 1 w 4"/>
                <a:gd name="T13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15">
                  <a:moveTo>
                    <a:pt x="1" y="15"/>
                  </a:moveTo>
                  <a:cubicBezTo>
                    <a:pt x="2" y="13"/>
                    <a:pt x="3" y="12"/>
                    <a:pt x="4" y="11"/>
                  </a:cubicBezTo>
                  <a:cubicBezTo>
                    <a:pt x="4" y="9"/>
                    <a:pt x="4" y="7"/>
                    <a:pt x="4" y="6"/>
                  </a:cubicBezTo>
                  <a:cubicBezTo>
                    <a:pt x="4" y="6"/>
                    <a:pt x="3" y="7"/>
                    <a:pt x="3" y="7"/>
                  </a:cubicBezTo>
                  <a:cubicBezTo>
                    <a:pt x="3" y="7"/>
                    <a:pt x="3" y="4"/>
                    <a:pt x="2" y="0"/>
                  </a:cubicBezTo>
                  <a:cubicBezTo>
                    <a:pt x="1" y="1"/>
                    <a:pt x="1" y="3"/>
                    <a:pt x="0" y="4"/>
                  </a:cubicBezTo>
                  <a:cubicBezTo>
                    <a:pt x="1" y="8"/>
                    <a:pt x="1" y="11"/>
                    <a:pt x="1" y="15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40" name="Freeform 7199"/>
            <p:cNvSpPr>
              <a:spLocks/>
            </p:cNvSpPr>
            <p:nvPr/>
          </p:nvSpPr>
          <p:spPr bwMode="auto">
            <a:xfrm>
              <a:off x="5616" y="2768"/>
              <a:ext cx="15" cy="37"/>
            </a:xfrm>
            <a:custGeom>
              <a:avLst/>
              <a:gdLst>
                <a:gd name="T0" fmla="*/ 0 w 12"/>
                <a:gd name="T1" fmla="*/ 0 h 30"/>
                <a:gd name="T2" fmla="*/ 12 w 12"/>
                <a:gd name="T3" fmla="*/ 30 h 30"/>
                <a:gd name="T4" fmla="*/ 12 w 12"/>
                <a:gd name="T5" fmla="*/ 22 h 30"/>
                <a:gd name="T6" fmla="*/ 0 w 12"/>
                <a:gd name="T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30">
                  <a:moveTo>
                    <a:pt x="0" y="0"/>
                  </a:moveTo>
                  <a:cubicBezTo>
                    <a:pt x="0" y="0"/>
                    <a:pt x="6" y="13"/>
                    <a:pt x="12" y="30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7" y="11"/>
                    <a:pt x="3" y="2"/>
                    <a:pt x="0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41" name="Freeform 7200"/>
            <p:cNvSpPr>
              <a:spLocks/>
            </p:cNvSpPr>
            <p:nvPr/>
          </p:nvSpPr>
          <p:spPr bwMode="auto">
            <a:xfrm>
              <a:off x="5616" y="2841"/>
              <a:ext cx="7" cy="4"/>
            </a:xfrm>
            <a:custGeom>
              <a:avLst/>
              <a:gdLst>
                <a:gd name="T0" fmla="*/ 1 w 5"/>
                <a:gd name="T1" fmla="*/ 0 h 3"/>
                <a:gd name="T2" fmla="*/ 0 w 5"/>
                <a:gd name="T3" fmla="*/ 3 h 3"/>
                <a:gd name="T4" fmla="*/ 4 w 5"/>
                <a:gd name="T5" fmla="*/ 3 h 3"/>
                <a:gd name="T6" fmla="*/ 5 w 5"/>
                <a:gd name="T7" fmla="*/ 1 h 3"/>
                <a:gd name="T8" fmla="*/ 1 w 5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3">
                  <a:moveTo>
                    <a:pt x="1" y="0"/>
                  </a:moveTo>
                  <a:cubicBezTo>
                    <a:pt x="0" y="1"/>
                    <a:pt x="0" y="2"/>
                    <a:pt x="0" y="3"/>
                  </a:cubicBezTo>
                  <a:cubicBezTo>
                    <a:pt x="1" y="2"/>
                    <a:pt x="3" y="2"/>
                    <a:pt x="4" y="3"/>
                  </a:cubicBezTo>
                  <a:cubicBezTo>
                    <a:pt x="4" y="2"/>
                    <a:pt x="5" y="2"/>
                    <a:pt x="5" y="1"/>
                  </a:cubicBezTo>
                  <a:cubicBezTo>
                    <a:pt x="4" y="0"/>
                    <a:pt x="2" y="0"/>
                    <a:pt x="1" y="0"/>
                  </a:cubicBezTo>
                  <a:close/>
                </a:path>
              </a:pathLst>
            </a:custGeom>
            <a:solidFill>
              <a:srgbClr val="4DA0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42" name="Freeform 7201"/>
            <p:cNvSpPr>
              <a:spLocks/>
            </p:cNvSpPr>
            <p:nvPr/>
          </p:nvSpPr>
          <p:spPr bwMode="auto">
            <a:xfrm>
              <a:off x="5624" y="2841"/>
              <a:ext cx="7" cy="10"/>
            </a:xfrm>
            <a:custGeom>
              <a:avLst/>
              <a:gdLst>
                <a:gd name="T0" fmla="*/ 6 w 6"/>
                <a:gd name="T1" fmla="*/ 1 h 8"/>
                <a:gd name="T2" fmla="*/ 5 w 6"/>
                <a:gd name="T3" fmla="*/ 0 h 8"/>
                <a:gd name="T4" fmla="*/ 4 w 6"/>
                <a:gd name="T5" fmla="*/ 4 h 8"/>
                <a:gd name="T6" fmla="*/ 2 w 6"/>
                <a:gd name="T7" fmla="*/ 3 h 8"/>
                <a:gd name="T8" fmla="*/ 0 w 6"/>
                <a:gd name="T9" fmla="*/ 8 h 8"/>
                <a:gd name="T10" fmla="*/ 6 w 6"/>
                <a:gd name="T11" fmla="*/ 7 h 8"/>
                <a:gd name="T12" fmla="*/ 6 w 6"/>
                <a:gd name="T13" fmla="*/ 3 h 8"/>
                <a:gd name="T14" fmla="*/ 6 w 6"/>
                <a:gd name="T15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8">
                  <a:moveTo>
                    <a:pt x="6" y="1"/>
                  </a:moveTo>
                  <a:cubicBezTo>
                    <a:pt x="5" y="1"/>
                    <a:pt x="5" y="0"/>
                    <a:pt x="5" y="0"/>
                  </a:cubicBezTo>
                  <a:cubicBezTo>
                    <a:pt x="5" y="1"/>
                    <a:pt x="4" y="3"/>
                    <a:pt x="4" y="4"/>
                  </a:cubicBezTo>
                  <a:cubicBezTo>
                    <a:pt x="4" y="4"/>
                    <a:pt x="3" y="3"/>
                    <a:pt x="2" y="3"/>
                  </a:cubicBezTo>
                  <a:cubicBezTo>
                    <a:pt x="1" y="5"/>
                    <a:pt x="1" y="6"/>
                    <a:pt x="0" y="8"/>
                  </a:cubicBezTo>
                  <a:cubicBezTo>
                    <a:pt x="2" y="7"/>
                    <a:pt x="4" y="7"/>
                    <a:pt x="6" y="7"/>
                  </a:cubicBezTo>
                  <a:cubicBezTo>
                    <a:pt x="6" y="3"/>
                    <a:pt x="6" y="3"/>
                    <a:pt x="6" y="3"/>
                  </a:cubicBezTo>
                  <a:lnTo>
                    <a:pt x="6" y="1"/>
                  </a:lnTo>
                  <a:close/>
                </a:path>
              </a:pathLst>
            </a:custGeom>
            <a:solidFill>
              <a:srgbClr val="4DA0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43" name="Freeform 7202"/>
            <p:cNvSpPr>
              <a:spLocks/>
            </p:cNvSpPr>
            <p:nvPr/>
          </p:nvSpPr>
          <p:spPr bwMode="auto">
            <a:xfrm>
              <a:off x="5625" y="2852"/>
              <a:ext cx="6" cy="5"/>
            </a:xfrm>
            <a:custGeom>
              <a:avLst/>
              <a:gdLst>
                <a:gd name="T0" fmla="*/ 0 w 5"/>
                <a:gd name="T1" fmla="*/ 4 h 4"/>
                <a:gd name="T2" fmla="*/ 0 w 5"/>
                <a:gd name="T3" fmla="*/ 4 h 4"/>
                <a:gd name="T4" fmla="*/ 5 w 5"/>
                <a:gd name="T5" fmla="*/ 2 h 4"/>
                <a:gd name="T6" fmla="*/ 5 w 5"/>
                <a:gd name="T7" fmla="*/ 0 h 4"/>
                <a:gd name="T8" fmla="*/ 0 w 5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4">
                  <a:moveTo>
                    <a:pt x="0" y="4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2" y="3"/>
                    <a:pt x="3" y="3"/>
                    <a:pt x="5" y="2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2"/>
                    <a:pt x="0" y="4"/>
                  </a:cubicBezTo>
                  <a:close/>
                </a:path>
              </a:pathLst>
            </a:custGeom>
            <a:solidFill>
              <a:srgbClr val="4DA0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44" name="Freeform 7203"/>
            <p:cNvSpPr>
              <a:spLocks/>
            </p:cNvSpPr>
            <p:nvPr/>
          </p:nvSpPr>
          <p:spPr bwMode="auto">
            <a:xfrm>
              <a:off x="5627" y="2824"/>
              <a:ext cx="4" cy="6"/>
            </a:xfrm>
            <a:custGeom>
              <a:avLst/>
              <a:gdLst>
                <a:gd name="T0" fmla="*/ 3 w 3"/>
                <a:gd name="T1" fmla="*/ 5 h 5"/>
                <a:gd name="T2" fmla="*/ 3 w 3"/>
                <a:gd name="T3" fmla="*/ 1 h 5"/>
                <a:gd name="T4" fmla="*/ 1 w 3"/>
                <a:gd name="T5" fmla="*/ 0 h 5"/>
                <a:gd name="T6" fmla="*/ 0 w 3"/>
                <a:gd name="T7" fmla="*/ 1 h 5"/>
                <a:gd name="T8" fmla="*/ 3 w 3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5">
                  <a:moveTo>
                    <a:pt x="3" y="5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1" y="1"/>
                    <a:pt x="1" y="0"/>
                  </a:cubicBezTo>
                  <a:cubicBezTo>
                    <a:pt x="1" y="1"/>
                    <a:pt x="1" y="1"/>
                    <a:pt x="0" y="1"/>
                  </a:cubicBezTo>
                  <a:cubicBezTo>
                    <a:pt x="1" y="2"/>
                    <a:pt x="2" y="3"/>
                    <a:pt x="3" y="5"/>
                  </a:cubicBezTo>
                  <a:close/>
                </a:path>
              </a:pathLst>
            </a:custGeom>
            <a:solidFill>
              <a:srgbClr val="4DA0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45" name="Freeform 7204"/>
            <p:cNvSpPr>
              <a:spLocks/>
            </p:cNvSpPr>
            <p:nvPr/>
          </p:nvSpPr>
          <p:spPr bwMode="auto">
            <a:xfrm>
              <a:off x="5619" y="2824"/>
              <a:ext cx="5" cy="2"/>
            </a:xfrm>
            <a:custGeom>
              <a:avLst/>
              <a:gdLst>
                <a:gd name="T0" fmla="*/ 4 w 4"/>
                <a:gd name="T1" fmla="*/ 1 h 1"/>
                <a:gd name="T2" fmla="*/ 4 w 4"/>
                <a:gd name="T3" fmla="*/ 1 h 1"/>
                <a:gd name="T4" fmla="*/ 4 w 4"/>
                <a:gd name="T5" fmla="*/ 0 h 1"/>
                <a:gd name="T6" fmla="*/ 0 w 4"/>
                <a:gd name="T7" fmla="*/ 0 h 1"/>
                <a:gd name="T8" fmla="*/ 0 w 4"/>
                <a:gd name="T9" fmla="*/ 1 h 1"/>
                <a:gd name="T10" fmla="*/ 0 w 4"/>
                <a:gd name="T11" fmla="*/ 1 h 1"/>
                <a:gd name="T12" fmla="*/ 4 w 4"/>
                <a:gd name="T13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1">
                  <a:moveTo>
                    <a:pt x="4" y="1"/>
                  </a:move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3" y="0"/>
                    <a:pt x="2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2" y="1"/>
                    <a:pt x="4" y="1"/>
                  </a:cubicBezTo>
                  <a:close/>
                </a:path>
              </a:pathLst>
            </a:custGeom>
            <a:solidFill>
              <a:srgbClr val="4DA0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46" name="Freeform 7205"/>
            <p:cNvSpPr>
              <a:spLocks/>
            </p:cNvSpPr>
            <p:nvPr/>
          </p:nvSpPr>
          <p:spPr bwMode="auto">
            <a:xfrm>
              <a:off x="5626" y="2860"/>
              <a:ext cx="5" cy="14"/>
            </a:xfrm>
            <a:custGeom>
              <a:avLst/>
              <a:gdLst>
                <a:gd name="T0" fmla="*/ 0 w 4"/>
                <a:gd name="T1" fmla="*/ 12 h 12"/>
                <a:gd name="T2" fmla="*/ 4 w 4"/>
                <a:gd name="T3" fmla="*/ 12 h 12"/>
                <a:gd name="T4" fmla="*/ 4 w 4"/>
                <a:gd name="T5" fmla="*/ 0 h 12"/>
                <a:gd name="T6" fmla="*/ 0 w 4"/>
                <a:gd name="T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12">
                  <a:moveTo>
                    <a:pt x="0" y="12"/>
                  </a:moveTo>
                  <a:cubicBezTo>
                    <a:pt x="4" y="12"/>
                    <a:pt x="4" y="12"/>
                    <a:pt x="4" y="12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0" y="4"/>
                    <a:pt x="0" y="12"/>
                    <a:pt x="0" y="12"/>
                  </a:cubicBezTo>
                  <a:close/>
                </a:path>
              </a:pathLst>
            </a:custGeom>
            <a:solidFill>
              <a:srgbClr val="4DA0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47" name="Freeform 7206"/>
            <p:cNvSpPr>
              <a:spLocks/>
            </p:cNvSpPr>
            <p:nvPr/>
          </p:nvSpPr>
          <p:spPr bwMode="auto">
            <a:xfrm>
              <a:off x="5624" y="2850"/>
              <a:ext cx="7" cy="7"/>
            </a:xfrm>
            <a:custGeom>
              <a:avLst/>
              <a:gdLst>
                <a:gd name="T0" fmla="*/ 6 w 6"/>
                <a:gd name="T1" fmla="*/ 2 h 6"/>
                <a:gd name="T2" fmla="*/ 6 w 6"/>
                <a:gd name="T3" fmla="*/ 0 h 6"/>
                <a:gd name="T4" fmla="*/ 6 w 6"/>
                <a:gd name="T5" fmla="*/ 0 h 6"/>
                <a:gd name="T6" fmla="*/ 0 w 6"/>
                <a:gd name="T7" fmla="*/ 1 h 6"/>
                <a:gd name="T8" fmla="*/ 0 w 6"/>
                <a:gd name="T9" fmla="*/ 2 h 6"/>
                <a:gd name="T10" fmla="*/ 1 w 6"/>
                <a:gd name="T11" fmla="*/ 6 h 6"/>
                <a:gd name="T12" fmla="*/ 6 w 6"/>
                <a:gd name="T13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6">
                  <a:moveTo>
                    <a:pt x="6" y="2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0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1" y="3"/>
                    <a:pt x="1" y="4"/>
                    <a:pt x="1" y="6"/>
                  </a:cubicBezTo>
                  <a:cubicBezTo>
                    <a:pt x="3" y="4"/>
                    <a:pt x="4" y="2"/>
                    <a:pt x="6" y="2"/>
                  </a:cubicBezTo>
                  <a:close/>
                </a:path>
              </a:pathLst>
            </a:custGeom>
            <a:solidFill>
              <a:srgbClr val="4DA0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48" name="Freeform 7207"/>
            <p:cNvSpPr>
              <a:spLocks/>
            </p:cNvSpPr>
            <p:nvPr/>
          </p:nvSpPr>
          <p:spPr bwMode="auto">
            <a:xfrm>
              <a:off x="5616" y="2824"/>
              <a:ext cx="3" cy="2"/>
            </a:xfrm>
            <a:custGeom>
              <a:avLst/>
              <a:gdLst>
                <a:gd name="T0" fmla="*/ 2 w 2"/>
                <a:gd name="T1" fmla="*/ 0 h 1"/>
                <a:gd name="T2" fmla="*/ 0 w 2"/>
                <a:gd name="T3" fmla="*/ 1 h 1"/>
                <a:gd name="T4" fmla="*/ 2 w 2"/>
                <a:gd name="T5" fmla="*/ 1 h 1"/>
                <a:gd name="T6" fmla="*/ 2 w 2"/>
                <a:gd name="T7" fmla="*/ 0 h 1"/>
                <a:gd name="T8" fmla="*/ 2 w 2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1" y="0"/>
                    <a:pt x="0" y="1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lose/>
                </a:path>
              </a:pathLst>
            </a:custGeom>
            <a:solidFill>
              <a:srgbClr val="4DA0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49" name="Freeform 7208"/>
            <p:cNvSpPr>
              <a:spLocks/>
            </p:cNvSpPr>
            <p:nvPr/>
          </p:nvSpPr>
          <p:spPr bwMode="auto">
            <a:xfrm>
              <a:off x="5624" y="2824"/>
              <a:ext cx="1" cy="2"/>
            </a:xfrm>
            <a:custGeom>
              <a:avLst/>
              <a:gdLst>
                <a:gd name="T0" fmla="*/ 1 w 1"/>
                <a:gd name="T1" fmla="*/ 0 h 1"/>
                <a:gd name="T2" fmla="*/ 0 w 1"/>
                <a:gd name="T3" fmla="*/ 0 h 1"/>
                <a:gd name="T4" fmla="*/ 0 w 1"/>
                <a:gd name="T5" fmla="*/ 1 h 1"/>
                <a:gd name="T6" fmla="*/ 1 w 1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1" y="1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4DA0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50" name="Freeform 7209"/>
            <p:cNvSpPr>
              <a:spLocks/>
            </p:cNvSpPr>
            <p:nvPr/>
          </p:nvSpPr>
          <p:spPr bwMode="auto">
            <a:xfrm>
              <a:off x="5630" y="2840"/>
              <a:ext cx="1" cy="3"/>
            </a:xfrm>
            <a:custGeom>
              <a:avLst/>
              <a:gdLst>
                <a:gd name="T0" fmla="*/ 0 w 1"/>
                <a:gd name="T1" fmla="*/ 1 h 2"/>
                <a:gd name="T2" fmla="*/ 1 w 1"/>
                <a:gd name="T3" fmla="*/ 2 h 2"/>
                <a:gd name="T4" fmla="*/ 1 w 1"/>
                <a:gd name="T5" fmla="*/ 0 h 2"/>
                <a:gd name="T6" fmla="*/ 0 w 1"/>
                <a:gd name="T7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2">
                  <a:moveTo>
                    <a:pt x="0" y="1"/>
                  </a:moveTo>
                  <a:cubicBezTo>
                    <a:pt x="0" y="1"/>
                    <a:pt x="0" y="2"/>
                    <a:pt x="1" y="2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4DA0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51" name="Freeform 7210"/>
            <p:cNvSpPr>
              <a:spLocks/>
            </p:cNvSpPr>
            <p:nvPr/>
          </p:nvSpPr>
          <p:spPr bwMode="auto">
            <a:xfrm>
              <a:off x="5626" y="2826"/>
              <a:ext cx="5" cy="6"/>
            </a:xfrm>
            <a:custGeom>
              <a:avLst/>
              <a:gdLst>
                <a:gd name="T0" fmla="*/ 4 w 4"/>
                <a:gd name="T1" fmla="*/ 5 h 5"/>
                <a:gd name="T2" fmla="*/ 4 w 4"/>
                <a:gd name="T3" fmla="*/ 4 h 5"/>
                <a:gd name="T4" fmla="*/ 1 w 4"/>
                <a:gd name="T5" fmla="*/ 0 h 5"/>
                <a:gd name="T6" fmla="*/ 0 w 4"/>
                <a:gd name="T7" fmla="*/ 1 h 5"/>
                <a:gd name="T8" fmla="*/ 4 w 4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5">
                  <a:moveTo>
                    <a:pt x="4" y="5"/>
                  </a:moveTo>
                  <a:cubicBezTo>
                    <a:pt x="4" y="4"/>
                    <a:pt x="4" y="4"/>
                    <a:pt x="4" y="4"/>
                  </a:cubicBezTo>
                  <a:cubicBezTo>
                    <a:pt x="3" y="2"/>
                    <a:pt x="2" y="1"/>
                    <a:pt x="1" y="0"/>
                  </a:cubicBezTo>
                  <a:cubicBezTo>
                    <a:pt x="1" y="0"/>
                    <a:pt x="1" y="1"/>
                    <a:pt x="0" y="1"/>
                  </a:cubicBezTo>
                  <a:cubicBezTo>
                    <a:pt x="2" y="2"/>
                    <a:pt x="3" y="3"/>
                    <a:pt x="4" y="5"/>
                  </a:cubicBezTo>
                  <a:close/>
                </a:path>
              </a:pathLst>
            </a:custGeom>
            <a:solidFill>
              <a:srgbClr val="4DA0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52" name="Freeform 7211"/>
            <p:cNvSpPr>
              <a:spLocks/>
            </p:cNvSpPr>
            <p:nvPr/>
          </p:nvSpPr>
          <p:spPr bwMode="auto">
            <a:xfrm>
              <a:off x="5621" y="2843"/>
              <a:ext cx="5" cy="8"/>
            </a:xfrm>
            <a:custGeom>
              <a:avLst/>
              <a:gdLst>
                <a:gd name="T0" fmla="*/ 4 w 4"/>
                <a:gd name="T1" fmla="*/ 2 h 7"/>
                <a:gd name="T2" fmla="*/ 1 w 4"/>
                <a:gd name="T3" fmla="*/ 0 h 7"/>
                <a:gd name="T4" fmla="*/ 0 w 4"/>
                <a:gd name="T5" fmla="*/ 2 h 7"/>
                <a:gd name="T6" fmla="*/ 2 w 4"/>
                <a:gd name="T7" fmla="*/ 7 h 7"/>
                <a:gd name="T8" fmla="*/ 2 w 4"/>
                <a:gd name="T9" fmla="*/ 7 h 7"/>
                <a:gd name="T10" fmla="*/ 4 w 4"/>
                <a:gd name="T11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7">
                  <a:moveTo>
                    <a:pt x="4" y="2"/>
                  </a:moveTo>
                  <a:cubicBezTo>
                    <a:pt x="3" y="1"/>
                    <a:pt x="2" y="0"/>
                    <a:pt x="1" y="0"/>
                  </a:cubicBezTo>
                  <a:cubicBezTo>
                    <a:pt x="1" y="1"/>
                    <a:pt x="0" y="1"/>
                    <a:pt x="0" y="2"/>
                  </a:cubicBezTo>
                  <a:cubicBezTo>
                    <a:pt x="1" y="3"/>
                    <a:pt x="2" y="5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3" y="5"/>
                    <a:pt x="3" y="4"/>
                    <a:pt x="4" y="2"/>
                  </a:cubicBezTo>
                  <a:close/>
                </a:path>
              </a:pathLst>
            </a:custGeom>
            <a:solidFill>
              <a:srgbClr val="4DA0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53" name="Freeform 7212"/>
            <p:cNvSpPr>
              <a:spLocks/>
            </p:cNvSpPr>
            <p:nvPr/>
          </p:nvSpPr>
          <p:spPr bwMode="auto">
            <a:xfrm>
              <a:off x="5625" y="2855"/>
              <a:ext cx="6" cy="19"/>
            </a:xfrm>
            <a:custGeom>
              <a:avLst/>
              <a:gdLst>
                <a:gd name="T0" fmla="*/ 5 w 5"/>
                <a:gd name="T1" fmla="*/ 0 h 16"/>
                <a:gd name="T2" fmla="*/ 0 w 5"/>
                <a:gd name="T3" fmla="*/ 2 h 16"/>
                <a:gd name="T4" fmla="*/ 1 w 5"/>
                <a:gd name="T5" fmla="*/ 16 h 16"/>
                <a:gd name="T6" fmla="*/ 1 w 5"/>
                <a:gd name="T7" fmla="*/ 16 h 16"/>
                <a:gd name="T8" fmla="*/ 5 w 5"/>
                <a:gd name="T9" fmla="*/ 4 h 16"/>
                <a:gd name="T10" fmla="*/ 5 w 5"/>
                <a:gd name="T1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16">
                  <a:moveTo>
                    <a:pt x="5" y="0"/>
                  </a:moveTo>
                  <a:cubicBezTo>
                    <a:pt x="3" y="1"/>
                    <a:pt x="2" y="1"/>
                    <a:pt x="0" y="2"/>
                  </a:cubicBezTo>
                  <a:cubicBezTo>
                    <a:pt x="1" y="6"/>
                    <a:pt x="1" y="10"/>
                    <a:pt x="1" y="16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1" y="16"/>
                    <a:pt x="1" y="8"/>
                    <a:pt x="5" y="4"/>
                  </a:cubicBezTo>
                  <a:lnTo>
                    <a:pt x="5" y="0"/>
                  </a:lnTo>
                  <a:close/>
                </a:path>
              </a:pathLst>
            </a:custGeom>
            <a:solidFill>
              <a:srgbClr val="4DA0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54" name="Freeform 7213"/>
            <p:cNvSpPr>
              <a:spLocks/>
            </p:cNvSpPr>
            <p:nvPr/>
          </p:nvSpPr>
          <p:spPr bwMode="auto">
            <a:xfrm>
              <a:off x="5624" y="2851"/>
              <a:ext cx="0" cy="1"/>
            </a:xfrm>
            <a:custGeom>
              <a:avLst/>
              <a:gdLst>
                <a:gd name="T0" fmla="*/ 0 h 1"/>
                <a:gd name="T1" fmla="*/ 1 h 1"/>
                <a:gd name="T2" fmla="*/ 0 h 1"/>
                <a:gd name="T3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4DA0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55" name="Freeform 7214"/>
            <p:cNvSpPr>
              <a:spLocks/>
            </p:cNvSpPr>
            <p:nvPr/>
          </p:nvSpPr>
          <p:spPr bwMode="auto">
            <a:xfrm>
              <a:off x="5615" y="2841"/>
              <a:ext cx="3" cy="4"/>
            </a:xfrm>
            <a:custGeom>
              <a:avLst/>
              <a:gdLst>
                <a:gd name="T0" fmla="*/ 2 w 2"/>
                <a:gd name="T1" fmla="*/ 0 h 3"/>
                <a:gd name="T2" fmla="*/ 0 w 2"/>
                <a:gd name="T3" fmla="*/ 1 h 3"/>
                <a:gd name="T4" fmla="*/ 0 w 2"/>
                <a:gd name="T5" fmla="*/ 3 h 3"/>
                <a:gd name="T6" fmla="*/ 1 w 2"/>
                <a:gd name="T7" fmla="*/ 3 h 3"/>
                <a:gd name="T8" fmla="*/ 2 w 2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cubicBezTo>
                    <a:pt x="1" y="0"/>
                    <a:pt x="1" y="1"/>
                    <a:pt x="0" y="1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1" y="3"/>
                    <a:pt x="1" y="3"/>
                  </a:cubicBezTo>
                  <a:cubicBezTo>
                    <a:pt x="1" y="2"/>
                    <a:pt x="1" y="1"/>
                    <a:pt x="2" y="0"/>
                  </a:cubicBezTo>
                  <a:close/>
                </a:path>
              </a:pathLst>
            </a:custGeom>
            <a:solidFill>
              <a:srgbClr val="4DA0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56" name="Freeform 7215"/>
            <p:cNvSpPr>
              <a:spLocks/>
            </p:cNvSpPr>
            <p:nvPr/>
          </p:nvSpPr>
          <p:spPr bwMode="auto">
            <a:xfrm>
              <a:off x="5624" y="2826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4DA0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57" name="Freeform 7216"/>
            <p:cNvSpPr>
              <a:spLocks/>
            </p:cNvSpPr>
            <p:nvPr/>
          </p:nvSpPr>
          <p:spPr bwMode="auto">
            <a:xfrm>
              <a:off x="5627" y="2824"/>
              <a:ext cx="2" cy="2"/>
            </a:xfrm>
            <a:custGeom>
              <a:avLst/>
              <a:gdLst>
                <a:gd name="T0" fmla="*/ 1 w 1"/>
                <a:gd name="T1" fmla="*/ 0 h 1"/>
                <a:gd name="T2" fmla="*/ 0 w 1"/>
                <a:gd name="T3" fmla="*/ 0 h 1"/>
                <a:gd name="T4" fmla="*/ 0 w 1"/>
                <a:gd name="T5" fmla="*/ 1 h 1"/>
                <a:gd name="T6" fmla="*/ 1 w 1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1" y="1"/>
                    <a:pt x="1" y="1"/>
                    <a:pt x="1" y="0"/>
                  </a:cubicBezTo>
                  <a:close/>
                </a:path>
              </a:pathLst>
            </a:custGeom>
            <a:solidFill>
              <a:srgbClr val="4DA0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58" name="Freeform 7217"/>
            <p:cNvSpPr>
              <a:spLocks/>
            </p:cNvSpPr>
            <p:nvPr/>
          </p:nvSpPr>
          <p:spPr bwMode="auto">
            <a:xfrm>
              <a:off x="5608" y="2849"/>
              <a:ext cx="2" cy="5"/>
            </a:xfrm>
            <a:custGeom>
              <a:avLst/>
              <a:gdLst>
                <a:gd name="T0" fmla="*/ 0 w 2"/>
                <a:gd name="T1" fmla="*/ 4 h 4"/>
                <a:gd name="T2" fmla="*/ 0 w 2"/>
                <a:gd name="T3" fmla="*/ 4 h 4"/>
                <a:gd name="T4" fmla="*/ 1 w 2"/>
                <a:gd name="T5" fmla="*/ 3 h 4"/>
                <a:gd name="T6" fmla="*/ 2 w 2"/>
                <a:gd name="T7" fmla="*/ 0 h 4"/>
                <a:gd name="T8" fmla="*/ 0 w 2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3"/>
                    <a:pt x="1" y="3"/>
                  </a:cubicBezTo>
                  <a:cubicBezTo>
                    <a:pt x="1" y="2"/>
                    <a:pt x="2" y="1"/>
                    <a:pt x="2" y="0"/>
                  </a:cubicBezTo>
                  <a:cubicBezTo>
                    <a:pt x="1" y="1"/>
                    <a:pt x="0" y="3"/>
                    <a:pt x="0" y="4"/>
                  </a:cubicBezTo>
                  <a:close/>
                </a:path>
              </a:pathLst>
            </a:custGeom>
            <a:solidFill>
              <a:srgbClr val="4DA0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59" name="Freeform 7218"/>
            <p:cNvSpPr>
              <a:spLocks/>
            </p:cNvSpPr>
            <p:nvPr/>
          </p:nvSpPr>
          <p:spPr bwMode="auto">
            <a:xfrm>
              <a:off x="5624" y="2824"/>
              <a:ext cx="3" cy="3"/>
            </a:xfrm>
            <a:custGeom>
              <a:avLst/>
              <a:gdLst>
                <a:gd name="T0" fmla="*/ 0 w 3"/>
                <a:gd name="T1" fmla="*/ 1 h 2"/>
                <a:gd name="T2" fmla="*/ 0 w 3"/>
                <a:gd name="T3" fmla="*/ 1 h 2"/>
                <a:gd name="T4" fmla="*/ 2 w 3"/>
                <a:gd name="T5" fmla="*/ 2 h 2"/>
                <a:gd name="T6" fmla="*/ 3 w 3"/>
                <a:gd name="T7" fmla="*/ 1 h 2"/>
                <a:gd name="T8" fmla="*/ 3 w 3"/>
                <a:gd name="T9" fmla="*/ 0 h 2"/>
                <a:gd name="T10" fmla="*/ 1 w 3"/>
                <a:gd name="T11" fmla="*/ 0 h 2"/>
                <a:gd name="T12" fmla="*/ 0 w 3"/>
                <a:gd name="T13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2"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2" y="2"/>
                    <a:pt x="2" y="2"/>
                  </a:cubicBezTo>
                  <a:cubicBezTo>
                    <a:pt x="3" y="2"/>
                    <a:pt x="3" y="1"/>
                    <a:pt x="3" y="1"/>
                  </a:cubicBezTo>
                  <a:cubicBezTo>
                    <a:pt x="3" y="1"/>
                    <a:pt x="3" y="0"/>
                    <a:pt x="3" y="0"/>
                  </a:cubicBezTo>
                  <a:cubicBezTo>
                    <a:pt x="3" y="0"/>
                    <a:pt x="2" y="0"/>
                    <a:pt x="1" y="0"/>
                  </a:cubicBezTo>
                  <a:cubicBezTo>
                    <a:pt x="1" y="0"/>
                    <a:pt x="1" y="1"/>
                    <a:pt x="0" y="1"/>
                  </a:cubicBezTo>
                  <a:close/>
                </a:path>
              </a:pathLst>
            </a:custGeom>
            <a:solidFill>
              <a:srgbClr val="4DA0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60" name="Freeform 7219"/>
            <p:cNvSpPr>
              <a:spLocks/>
            </p:cNvSpPr>
            <p:nvPr/>
          </p:nvSpPr>
          <p:spPr bwMode="auto">
            <a:xfrm>
              <a:off x="5614" y="2843"/>
              <a:ext cx="1" cy="4"/>
            </a:xfrm>
            <a:custGeom>
              <a:avLst/>
              <a:gdLst>
                <a:gd name="T0" fmla="*/ 0 w 1"/>
                <a:gd name="T1" fmla="*/ 1 h 4"/>
                <a:gd name="T2" fmla="*/ 0 w 1"/>
                <a:gd name="T3" fmla="*/ 4 h 4"/>
                <a:gd name="T4" fmla="*/ 1 w 1"/>
                <a:gd name="T5" fmla="*/ 2 h 4"/>
                <a:gd name="T6" fmla="*/ 1 w 1"/>
                <a:gd name="T7" fmla="*/ 0 h 4"/>
                <a:gd name="T8" fmla="*/ 0 w 1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4">
                  <a:moveTo>
                    <a:pt x="0" y="1"/>
                  </a:moveTo>
                  <a:cubicBezTo>
                    <a:pt x="0" y="2"/>
                    <a:pt x="0" y="3"/>
                    <a:pt x="0" y="4"/>
                  </a:cubicBezTo>
                  <a:cubicBezTo>
                    <a:pt x="0" y="3"/>
                    <a:pt x="1" y="2"/>
                    <a:pt x="1" y="2"/>
                  </a:cubicBezTo>
                  <a:cubicBezTo>
                    <a:pt x="1" y="1"/>
                    <a:pt x="1" y="1"/>
                    <a:pt x="1" y="0"/>
                  </a:cubicBezTo>
                  <a:cubicBezTo>
                    <a:pt x="1" y="0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4DA0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61" name="Freeform 7220"/>
            <p:cNvSpPr>
              <a:spLocks/>
            </p:cNvSpPr>
            <p:nvPr/>
          </p:nvSpPr>
          <p:spPr bwMode="auto">
            <a:xfrm>
              <a:off x="5609" y="2844"/>
              <a:ext cx="5" cy="8"/>
            </a:xfrm>
            <a:custGeom>
              <a:avLst/>
              <a:gdLst>
                <a:gd name="T0" fmla="*/ 1 w 4"/>
                <a:gd name="T1" fmla="*/ 4 h 7"/>
                <a:gd name="T2" fmla="*/ 0 w 4"/>
                <a:gd name="T3" fmla="*/ 7 h 7"/>
                <a:gd name="T4" fmla="*/ 4 w 4"/>
                <a:gd name="T5" fmla="*/ 3 h 7"/>
                <a:gd name="T6" fmla="*/ 4 w 4"/>
                <a:gd name="T7" fmla="*/ 0 h 7"/>
                <a:gd name="T8" fmla="*/ 1 w 4"/>
                <a:gd name="T9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7">
                  <a:moveTo>
                    <a:pt x="1" y="4"/>
                  </a:moveTo>
                  <a:cubicBezTo>
                    <a:pt x="1" y="5"/>
                    <a:pt x="0" y="6"/>
                    <a:pt x="0" y="7"/>
                  </a:cubicBezTo>
                  <a:cubicBezTo>
                    <a:pt x="1" y="5"/>
                    <a:pt x="2" y="4"/>
                    <a:pt x="4" y="3"/>
                  </a:cubicBezTo>
                  <a:cubicBezTo>
                    <a:pt x="4" y="2"/>
                    <a:pt x="4" y="1"/>
                    <a:pt x="4" y="0"/>
                  </a:cubicBezTo>
                  <a:cubicBezTo>
                    <a:pt x="3" y="1"/>
                    <a:pt x="2" y="2"/>
                    <a:pt x="1" y="4"/>
                  </a:cubicBezTo>
                  <a:close/>
                </a:path>
              </a:pathLst>
            </a:custGeom>
            <a:solidFill>
              <a:srgbClr val="4DA0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62" name="Freeform 7221"/>
            <p:cNvSpPr>
              <a:spLocks/>
            </p:cNvSpPr>
            <p:nvPr/>
          </p:nvSpPr>
          <p:spPr bwMode="auto">
            <a:xfrm>
              <a:off x="5607" y="2854"/>
              <a:ext cx="1" cy="2"/>
            </a:xfrm>
            <a:custGeom>
              <a:avLst/>
              <a:gdLst>
                <a:gd name="T0" fmla="*/ 0 w 1"/>
                <a:gd name="T1" fmla="*/ 2 h 2"/>
                <a:gd name="T2" fmla="*/ 1 w 1"/>
                <a:gd name="T3" fmla="*/ 0 h 2"/>
                <a:gd name="T4" fmla="*/ 1 w 1"/>
                <a:gd name="T5" fmla="*/ 0 h 2"/>
                <a:gd name="T6" fmla="*/ 0 w 1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2">
                  <a:moveTo>
                    <a:pt x="0" y="2"/>
                  </a:moveTo>
                  <a:cubicBezTo>
                    <a:pt x="0" y="2"/>
                    <a:pt x="1" y="1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0" y="2"/>
                  </a:cubicBezTo>
                  <a:close/>
                </a:path>
              </a:pathLst>
            </a:custGeom>
            <a:solidFill>
              <a:srgbClr val="4DA0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63" name="Freeform 7222"/>
            <p:cNvSpPr>
              <a:spLocks/>
            </p:cNvSpPr>
            <p:nvPr/>
          </p:nvSpPr>
          <p:spPr bwMode="auto">
            <a:xfrm>
              <a:off x="5464" y="2824"/>
              <a:ext cx="22" cy="27"/>
            </a:xfrm>
            <a:custGeom>
              <a:avLst/>
              <a:gdLst>
                <a:gd name="T0" fmla="*/ 4 w 18"/>
                <a:gd name="T1" fmla="*/ 22 h 22"/>
                <a:gd name="T2" fmla="*/ 18 w 18"/>
                <a:gd name="T3" fmla="*/ 16 h 22"/>
                <a:gd name="T4" fmla="*/ 0 w 18"/>
                <a:gd name="T5" fmla="*/ 22 h 22"/>
                <a:gd name="T6" fmla="*/ 4 w 18"/>
                <a:gd name="T7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22">
                  <a:moveTo>
                    <a:pt x="4" y="22"/>
                  </a:moveTo>
                  <a:cubicBezTo>
                    <a:pt x="8" y="2"/>
                    <a:pt x="18" y="16"/>
                    <a:pt x="18" y="16"/>
                  </a:cubicBezTo>
                  <a:cubicBezTo>
                    <a:pt x="9" y="0"/>
                    <a:pt x="2" y="15"/>
                    <a:pt x="0" y="22"/>
                  </a:cubicBezTo>
                  <a:cubicBezTo>
                    <a:pt x="1" y="22"/>
                    <a:pt x="2" y="22"/>
                    <a:pt x="4" y="22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64" name="Freeform 7223"/>
            <p:cNvSpPr>
              <a:spLocks/>
            </p:cNvSpPr>
            <p:nvPr/>
          </p:nvSpPr>
          <p:spPr bwMode="auto">
            <a:xfrm>
              <a:off x="5464" y="2806"/>
              <a:ext cx="3" cy="0"/>
            </a:xfrm>
            <a:custGeom>
              <a:avLst/>
              <a:gdLst>
                <a:gd name="T0" fmla="*/ 2 w 2"/>
                <a:gd name="T1" fmla="*/ 0 w 2"/>
                <a:gd name="T2" fmla="*/ 0 w 2"/>
                <a:gd name="T3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cubicBezTo>
                    <a:pt x="1" y="0"/>
                    <a:pt x="1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2" y="0"/>
                    <a:pt x="2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65" name="Freeform 7224"/>
            <p:cNvSpPr>
              <a:spLocks/>
            </p:cNvSpPr>
            <p:nvPr/>
          </p:nvSpPr>
          <p:spPr bwMode="auto">
            <a:xfrm>
              <a:off x="5479" y="2861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66" name="Freeform 7225"/>
            <p:cNvSpPr>
              <a:spLocks/>
            </p:cNvSpPr>
            <p:nvPr/>
          </p:nvSpPr>
          <p:spPr bwMode="auto">
            <a:xfrm>
              <a:off x="5469" y="2851"/>
              <a:ext cx="10" cy="10"/>
            </a:xfrm>
            <a:custGeom>
              <a:avLst/>
              <a:gdLst>
                <a:gd name="T0" fmla="*/ 8 w 8"/>
                <a:gd name="T1" fmla="*/ 8 h 8"/>
                <a:gd name="T2" fmla="*/ 0 w 8"/>
                <a:gd name="T3" fmla="*/ 0 h 8"/>
                <a:gd name="T4" fmla="*/ 0 w 8"/>
                <a:gd name="T5" fmla="*/ 1 h 8"/>
                <a:gd name="T6" fmla="*/ 8 w 8"/>
                <a:gd name="T7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8">
                  <a:moveTo>
                    <a:pt x="8" y="8"/>
                  </a:moveTo>
                  <a:cubicBezTo>
                    <a:pt x="5" y="3"/>
                    <a:pt x="3" y="1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4" y="1"/>
                    <a:pt x="8" y="7"/>
                    <a:pt x="8" y="8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67" name="Rectangle 7226"/>
            <p:cNvSpPr>
              <a:spLocks noChangeArrowheads="1"/>
            </p:cNvSpPr>
            <p:nvPr/>
          </p:nvSpPr>
          <p:spPr bwMode="auto">
            <a:xfrm>
              <a:off x="5350" y="2845"/>
              <a:ext cx="1" cy="1"/>
            </a:xfrm>
            <a:prstGeom prst="rect">
              <a:avLst/>
            </a:prstGeom>
            <a:solidFill>
              <a:srgbClr val="4DA0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68" name="Freeform 7227"/>
            <p:cNvSpPr>
              <a:spLocks/>
            </p:cNvSpPr>
            <p:nvPr/>
          </p:nvSpPr>
          <p:spPr bwMode="auto">
            <a:xfrm>
              <a:off x="5393" y="2810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69" name="Freeform 7228"/>
            <p:cNvSpPr>
              <a:spLocks/>
            </p:cNvSpPr>
            <p:nvPr/>
          </p:nvSpPr>
          <p:spPr bwMode="auto">
            <a:xfrm>
              <a:off x="5433" y="2856"/>
              <a:ext cx="2" cy="4"/>
            </a:xfrm>
            <a:custGeom>
              <a:avLst/>
              <a:gdLst>
                <a:gd name="T0" fmla="*/ 0 w 2"/>
                <a:gd name="T1" fmla="*/ 3 h 3"/>
                <a:gd name="T2" fmla="*/ 2 w 2"/>
                <a:gd name="T3" fmla="*/ 0 h 3"/>
                <a:gd name="T4" fmla="*/ 0 w 2"/>
                <a:gd name="T5" fmla="*/ 1 h 3"/>
                <a:gd name="T6" fmla="*/ 0 w 2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cubicBezTo>
                    <a:pt x="1" y="2"/>
                    <a:pt x="1" y="1"/>
                    <a:pt x="2" y="0"/>
                  </a:cubicBezTo>
                  <a:cubicBezTo>
                    <a:pt x="2" y="1"/>
                    <a:pt x="1" y="1"/>
                    <a:pt x="0" y="1"/>
                  </a:cubicBezTo>
                  <a:cubicBezTo>
                    <a:pt x="0" y="2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70" name="Freeform 7229"/>
            <p:cNvSpPr>
              <a:spLocks/>
            </p:cNvSpPr>
            <p:nvPr/>
          </p:nvSpPr>
          <p:spPr bwMode="auto">
            <a:xfrm>
              <a:off x="5419" y="2791"/>
              <a:ext cx="17" cy="42"/>
            </a:xfrm>
            <a:custGeom>
              <a:avLst/>
              <a:gdLst>
                <a:gd name="T0" fmla="*/ 0 w 14"/>
                <a:gd name="T1" fmla="*/ 0 h 34"/>
                <a:gd name="T2" fmla="*/ 10 w 14"/>
                <a:gd name="T3" fmla="*/ 34 h 34"/>
                <a:gd name="T4" fmla="*/ 14 w 14"/>
                <a:gd name="T5" fmla="*/ 34 h 34"/>
                <a:gd name="T6" fmla="*/ 0 w 14"/>
                <a:gd name="T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34">
                  <a:moveTo>
                    <a:pt x="0" y="0"/>
                  </a:moveTo>
                  <a:cubicBezTo>
                    <a:pt x="3" y="5"/>
                    <a:pt x="8" y="23"/>
                    <a:pt x="10" y="34"/>
                  </a:cubicBezTo>
                  <a:cubicBezTo>
                    <a:pt x="11" y="34"/>
                    <a:pt x="13" y="34"/>
                    <a:pt x="14" y="34"/>
                  </a:cubicBezTo>
                  <a:cubicBezTo>
                    <a:pt x="6" y="6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71" name="Freeform 7230"/>
            <p:cNvSpPr>
              <a:spLocks/>
            </p:cNvSpPr>
            <p:nvPr/>
          </p:nvSpPr>
          <p:spPr bwMode="auto">
            <a:xfrm>
              <a:off x="5431" y="2846"/>
              <a:ext cx="2" cy="0"/>
            </a:xfrm>
            <a:custGeom>
              <a:avLst/>
              <a:gdLst>
                <a:gd name="T0" fmla="*/ 1 w 1"/>
                <a:gd name="T1" fmla="*/ 0 w 1"/>
                <a:gd name="T2" fmla="*/ 1 w 1"/>
                <a:gd name="T3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72" name="Freeform 7231"/>
            <p:cNvSpPr>
              <a:spLocks/>
            </p:cNvSpPr>
            <p:nvPr/>
          </p:nvSpPr>
          <p:spPr bwMode="auto">
            <a:xfrm>
              <a:off x="5434" y="2846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73" name="Freeform 7232"/>
            <p:cNvSpPr>
              <a:spLocks/>
            </p:cNvSpPr>
            <p:nvPr/>
          </p:nvSpPr>
          <p:spPr bwMode="auto">
            <a:xfrm>
              <a:off x="5435" y="2841"/>
              <a:ext cx="5" cy="5"/>
            </a:xfrm>
            <a:custGeom>
              <a:avLst/>
              <a:gdLst>
                <a:gd name="T0" fmla="*/ 2 w 4"/>
                <a:gd name="T1" fmla="*/ 4 h 4"/>
                <a:gd name="T2" fmla="*/ 4 w 4"/>
                <a:gd name="T3" fmla="*/ 4 h 4"/>
                <a:gd name="T4" fmla="*/ 4 w 4"/>
                <a:gd name="T5" fmla="*/ 2 h 4"/>
                <a:gd name="T6" fmla="*/ 0 w 4"/>
                <a:gd name="T7" fmla="*/ 2 h 4"/>
                <a:gd name="T8" fmla="*/ 2 w 4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2" y="4"/>
                  </a:moveTo>
                  <a:cubicBezTo>
                    <a:pt x="3" y="4"/>
                    <a:pt x="3" y="4"/>
                    <a:pt x="4" y="4"/>
                  </a:cubicBezTo>
                  <a:cubicBezTo>
                    <a:pt x="4" y="3"/>
                    <a:pt x="4" y="3"/>
                    <a:pt x="4" y="2"/>
                  </a:cubicBezTo>
                  <a:cubicBezTo>
                    <a:pt x="3" y="1"/>
                    <a:pt x="1" y="0"/>
                    <a:pt x="0" y="2"/>
                  </a:cubicBezTo>
                  <a:cubicBezTo>
                    <a:pt x="1" y="3"/>
                    <a:pt x="1" y="4"/>
                    <a:pt x="2" y="4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9312" name="Group 7434"/>
          <p:cNvGrpSpPr>
            <a:grpSpLocks/>
          </p:cNvGrpSpPr>
          <p:nvPr/>
        </p:nvGrpSpPr>
        <p:grpSpPr bwMode="auto">
          <a:xfrm>
            <a:off x="8496301" y="4411663"/>
            <a:ext cx="200025" cy="150813"/>
            <a:chOff x="5352" y="2779"/>
            <a:chExt cx="126" cy="95"/>
          </a:xfrm>
        </p:grpSpPr>
        <p:sp>
          <p:nvSpPr>
            <p:cNvPr id="10474" name="Freeform 7234"/>
            <p:cNvSpPr>
              <a:spLocks/>
            </p:cNvSpPr>
            <p:nvPr/>
          </p:nvSpPr>
          <p:spPr bwMode="auto">
            <a:xfrm>
              <a:off x="5442" y="2856"/>
              <a:ext cx="2" cy="5"/>
            </a:xfrm>
            <a:custGeom>
              <a:avLst/>
              <a:gdLst>
                <a:gd name="T0" fmla="*/ 1 w 1"/>
                <a:gd name="T1" fmla="*/ 4 h 4"/>
                <a:gd name="T2" fmla="*/ 1 w 1"/>
                <a:gd name="T3" fmla="*/ 0 h 4"/>
                <a:gd name="T4" fmla="*/ 0 w 1"/>
                <a:gd name="T5" fmla="*/ 0 h 4"/>
                <a:gd name="T6" fmla="*/ 1 w 1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4">
                  <a:moveTo>
                    <a:pt x="1" y="4"/>
                  </a:moveTo>
                  <a:cubicBezTo>
                    <a:pt x="1" y="3"/>
                    <a:pt x="1" y="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1" y="3"/>
                    <a:pt x="1" y="4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75" name="Freeform 7235"/>
            <p:cNvSpPr>
              <a:spLocks/>
            </p:cNvSpPr>
            <p:nvPr/>
          </p:nvSpPr>
          <p:spPr bwMode="auto">
            <a:xfrm>
              <a:off x="5433" y="2856"/>
              <a:ext cx="12" cy="18"/>
            </a:xfrm>
            <a:custGeom>
              <a:avLst/>
              <a:gdLst>
                <a:gd name="T0" fmla="*/ 7 w 10"/>
                <a:gd name="T1" fmla="*/ 0 h 15"/>
                <a:gd name="T2" fmla="*/ 0 w 10"/>
                <a:gd name="T3" fmla="*/ 15 h 15"/>
                <a:gd name="T4" fmla="*/ 0 w 10"/>
                <a:gd name="T5" fmla="*/ 15 h 15"/>
                <a:gd name="T6" fmla="*/ 10 w 10"/>
                <a:gd name="T7" fmla="*/ 15 h 15"/>
                <a:gd name="T8" fmla="*/ 10 w 10"/>
                <a:gd name="T9" fmla="*/ 15 h 15"/>
                <a:gd name="T10" fmla="*/ 9 w 10"/>
                <a:gd name="T11" fmla="*/ 5 h 15"/>
                <a:gd name="T12" fmla="*/ 7 w 10"/>
                <a:gd name="T13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15">
                  <a:moveTo>
                    <a:pt x="7" y="0"/>
                  </a:moveTo>
                  <a:cubicBezTo>
                    <a:pt x="5" y="2"/>
                    <a:pt x="2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0" y="15"/>
                    <a:pt x="10" y="15"/>
                    <a:pt x="10" y="15"/>
                  </a:cubicBezTo>
                  <a:cubicBezTo>
                    <a:pt x="10" y="15"/>
                    <a:pt x="10" y="15"/>
                    <a:pt x="10" y="15"/>
                  </a:cubicBezTo>
                  <a:cubicBezTo>
                    <a:pt x="10" y="13"/>
                    <a:pt x="10" y="9"/>
                    <a:pt x="9" y="5"/>
                  </a:cubicBezTo>
                  <a:cubicBezTo>
                    <a:pt x="9" y="3"/>
                    <a:pt x="8" y="1"/>
                    <a:pt x="7" y="0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76" name="Freeform 7236"/>
            <p:cNvSpPr>
              <a:spLocks/>
            </p:cNvSpPr>
            <p:nvPr/>
          </p:nvSpPr>
          <p:spPr bwMode="auto">
            <a:xfrm>
              <a:off x="5410" y="2811"/>
              <a:ext cx="14" cy="21"/>
            </a:xfrm>
            <a:custGeom>
              <a:avLst/>
              <a:gdLst>
                <a:gd name="T0" fmla="*/ 12 w 12"/>
                <a:gd name="T1" fmla="*/ 17 h 17"/>
                <a:gd name="T2" fmla="*/ 11 w 12"/>
                <a:gd name="T3" fmla="*/ 9 h 17"/>
                <a:gd name="T4" fmla="*/ 1 w 12"/>
                <a:gd name="T5" fmla="*/ 0 h 17"/>
                <a:gd name="T6" fmla="*/ 0 w 12"/>
                <a:gd name="T7" fmla="*/ 2 h 17"/>
                <a:gd name="T8" fmla="*/ 12 w 12"/>
                <a:gd name="T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7">
                  <a:moveTo>
                    <a:pt x="12" y="17"/>
                  </a:moveTo>
                  <a:cubicBezTo>
                    <a:pt x="12" y="15"/>
                    <a:pt x="11" y="12"/>
                    <a:pt x="11" y="9"/>
                  </a:cubicBezTo>
                  <a:cubicBezTo>
                    <a:pt x="7" y="5"/>
                    <a:pt x="4" y="2"/>
                    <a:pt x="1" y="0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5" y="6"/>
                    <a:pt x="9" y="11"/>
                    <a:pt x="12" y="17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77" name="Freeform 7237"/>
            <p:cNvSpPr>
              <a:spLocks/>
            </p:cNvSpPr>
            <p:nvPr/>
          </p:nvSpPr>
          <p:spPr bwMode="auto">
            <a:xfrm>
              <a:off x="5429" y="2834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78" name="Freeform 7238"/>
            <p:cNvSpPr>
              <a:spLocks/>
            </p:cNvSpPr>
            <p:nvPr/>
          </p:nvSpPr>
          <p:spPr bwMode="auto">
            <a:xfrm>
              <a:off x="5430" y="2838"/>
              <a:ext cx="3" cy="5"/>
            </a:xfrm>
            <a:custGeom>
              <a:avLst/>
              <a:gdLst>
                <a:gd name="T0" fmla="*/ 2 w 2"/>
                <a:gd name="T1" fmla="*/ 4 h 4"/>
                <a:gd name="T2" fmla="*/ 0 w 2"/>
                <a:gd name="T3" fmla="*/ 0 h 4"/>
                <a:gd name="T4" fmla="*/ 0 w 2"/>
                <a:gd name="T5" fmla="*/ 0 h 4"/>
                <a:gd name="T6" fmla="*/ 0 w 2"/>
                <a:gd name="T7" fmla="*/ 3 h 4"/>
                <a:gd name="T8" fmla="*/ 2 w 2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2" y="4"/>
                  </a:moveTo>
                  <a:cubicBezTo>
                    <a:pt x="1" y="2"/>
                    <a:pt x="1" y="1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1" y="3"/>
                    <a:pt x="1" y="4"/>
                    <a:pt x="2" y="4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79" name="Freeform 7239"/>
            <p:cNvSpPr>
              <a:spLocks/>
            </p:cNvSpPr>
            <p:nvPr/>
          </p:nvSpPr>
          <p:spPr bwMode="auto">
            <a:xfrm>
              <a:off x="5446" y="2850"/>
              <a:ext cx="0" cy="1"/>
            </a:xfrm>
            <a:custGeom>
              <a:avLst/>
              <a:gdLst>
                <a:gd name="T0" fmla="*/ 0 h 1"/>
                <a:gd name="T1" fmla="*/ 0 h 1"/>
                <a:gd name="T2" fmla="*/ 1 h 1"/>
                <a:gd name="T3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0" y="1"/>
                    <a:pt x="0" y="0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80" name="Freeform 7240"/>
            <p:cNvSpPr>
              <a:spLocks/>
            </p:cNvSpPr>
            <p:nvPr/>
          </p:nvSpPr>
          <p:spPr bwMode="auto">
            <a:xfrm>
              <a:off x="5446" y="2827"/>
              <a:ext cx="4" cy="8"/>
            </a:xfrm>
            <a:custGeom>
              <a:avLst/>
              <a:gdLst>
                <a:gd name="T0" fmla="*/ 3 w 3"/>
                <a:gd name="T1" fmla="*/ 3 h 7"/>
                <a:gd name="T2" fmla="*/ 3 w 3"/>
                <a:gd name="T3" fmla="*/ 0 h 7"/>
                <a:gd name="T4" fmla="*/ 0 w 3"/>
                <a:gd name="T5" fmla="*/ 6 h 7"/>
                <a:gd name="T6" fmla="*/ 2 w 3"/>
                <a:gd name="T7" fmla="*/ 7 h 7"/>
                <a:gd name="T8" fmla="*/ 3 w 3"/>
                <a:gd name="T9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7">
                  <a:moveTo>
                    <a:pt x="3" y="3"/>
                  </a:moveTo>
                  <a:cubicBezTo>
                    <a:pt x="3" y="2"/>
                    <a:pt x="3" y="1"/>
                    <a:pt x="3" y="0"/>
                  </a:cubicBezTo>
                  <a:cubicBezTo>
                    <a:pt x="2" y="2"/>
                    <a:pt x="1" y="4"/>
                    <a:pt x="0" y="6"/>
                  </a:cubicBezTo>
                  <a:cubicBezTo>
                    <a:pt x="1" y="6"/>
                    <a:pt x="2" y="6"/>
                    <a:pt x="2" y="7"/>
                  </a:cubicBezTo>
                  <a:cubicBezTo>
                    <a:pt x="3" y="5"/>
                    <a:pt x="3" y="4"/>
                    <a:pt x="3" y="3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81" name="Freeform 7241"/>
            <p:cNvSpPr>
              <a:spLocks/>
            </p:cNvSpPr>
            <p:nvPr/>
          </p:nvSpPr>
          <p:spPr bwMode="auto">
            <a:xfrm>
              <a:off x="5435" y="2849"/>
              <a:ext cx="5" cy="5"/>
            </a:xfrm>
            <a:custGeom>
              <a:avLst/>
              <a:gdLst>
                <a:gd name="T0" fmla="*/ 2 w 4"/>
                <a:gd name="T1" fmla="*/ 0 h 4"/>
                <a:gd name="T2" fmla="*/ 0 w 4"/>
                <a:gd name="T3" fmla="*/ 4 h 4"/>
                <a:gd name="T4" fmla="*/ 4 w 4"/>
                <a:gd name="T5" fmla="*/ 3 h 4"/>
                <a:gd name="T6" fmla="*/ 4 w 4"/>
                <a:gd name="T7" fmla="*/ 3 h 4"/>
                <a:gd name="T8" fmla="*/ 2 w 4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2" y="0"/>
                  </a:moveTo>
                  <a:cubicBezTo>
                    <a:pt x="1" y="1"/>
                    <a:pt x="0" y="2"/>
                    <a:pt x="0" y="4"/>
                  </a:cubicBezTo>
                  <a:cubicBezTo>
                    <a:pt x="1" y="3"/>
                    <a:pt x="2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3" y="2"/>
                    <a:pt x="2" y="1"/>
                    <a:pt x="2" y="0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82" name="Freeform 7242"/>
            <p:cNvSpPr>
              <a:spLocks/>
            </p:cNvSpPr>
            <p:nvPr/>
          </p:nvSpPr>
          <p:spPr bwMode="auto">
            <a:xfrm>
              <a:off x="5450" y="2823"/>
              <a:ext cx="1" cy="4"/>
            </a:xfrm>
            <a:custGeom>
              <a:avLst/>
              <a:gdLst>
                <a:gd name="T0" fmla="*/ 1 w 1"/>
                <a:gd name="T1" fmla="*/ 3 h 3"/>
                <a:gd name="T2" fmla="*/ 1 w 1"/>
                <a:gd name="T3" fmla="*/ 0 h 3"/>
                <a:gd name="T4" fmla="*/ 0 w 1"/>
                <a:gd name="T5" fmla="*/ 1 h 3"/>
                <a:gd name="T6" fmla="*/ 1 w 1"/>
                <a:gd name="T7" fmla="*/ 3 h 3"/>
                <a:gd name="T8" fmla="*/ 1 w 1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3">
                  <a:moveTo>
                    <a:pt x="1" y="3"/>
                  </a:moveTo>
                  <a:cubicBezTo>
                    <a:pt x="1" y="2"/>
                    <a:pt x="1" y="1"/>
                    <a:pt x="1" y="0"/>
                  </a:cubicBezTo>
                  <a:cubicBezTo>
                    <a:pt x="1" y="1"/>
                    <a:pt x="0" y="1"/>
                    <a:pt x="0" y="1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83" name="Freeform 7243"/>
            <p:cNvSpPr>
              <a:spLocks/>
            </p:cNvSpPr>
            <p:nvPr/>
          </p:nvSpPr>
          <p:spPr bwMode="auto">
            <a:xfrm>
              <a:off x="5452" y="2806"/>
              <a:ext cx="15" cy="17"/>
            </a:xfrm>
            <a:custGeom>
              <a:avLst/>
              <a:gdLst>
                <a:gd name="T0" fmla="*/ 12 w 12"/>
                <a:gd name="T1" fmla="*/ 0 h 14"/>
                <a:gd name="T2" fmla="*/ 12 w 12"/>
                <a:gd name="T3" fmla="*/ 0 h 14"/>
                <a:gd name="T4" fmla="*/ 0 w 12"/>
                <a:gd name="T5" fmla="*/ 12 h 14"/>
                <a:gd name="T6" fmla="*/ 1 w 12"/>
                <a:gd name="T7" fmla="*/ 14 h 14"/>
                <a:gd name="T8" fmla="*/ 12 w 12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4"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7" y="1"/>
                    <a:pt x="3" y="6"/>
                    <a:pt x="0" y="12"/>
                  </a:cubicBezTo>
                  <a:cubicBezTo>
                    <a:pt x="0" y="12"/>
                    <a:pt x="0" y="13"/>
                    <a:pt x="1" y="14"/>
                  </a:cubicBezTo>
                  <a:cubicBezTo>
                    <a:pt x="5" y="5"/>
                    <a:pt x="10" y="1"/>
                    <a:pt x="12" y="0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84" name="Freeform 7244"/>
            <p:cNvSpPr>
              <a:spLocks/>
            </p:cNvSpPr>
            <p:nvPr/>
          </p:nvSpPr>
          <p:spPr bwMode="auto">
            <a:xfrm>
              <a:off x="5395" y="2807"/>
              <a:ext cx="15" cy="6"/>
            </a:xfrm>
            <a:custGeom>
              <a:avLst/>
              <a:gdLst>
                <a:gd name="T0" fmla="*/ 4 w 12"/>
                <a:gd name="T1" fmla="*/ 2 h 5"/>
                <a:gd name="T2" fmla="*/ 9 w 12"/>
                <a:gd name="T3" fmla="*/ 2 h 5"/>
                <a:gd name="T4" fmla="*/ 6 w 12"/>
                <a:gd name="T5" fmla="*/ 3 h 5"/>
                <a:gd name="T6" fmla="*/ 11 w 12"/>
                <a:gd name="T7" fmla="*/ 5 h 5"/>
                <a:gd name="T8" fmla="*/ 12 w 12"/>
                <a:gd name="T9" fmla="*/ 3 h 5"/>
                <a:gd name="T10" fmla="*/ 0 w 12"/>
                <a:gd name="T11" fmla="*/ 2 h 5"/>
                <a:gd name="T12" fmla="*/ 0 w 12"/>
                <a:gd name="T13" fmla="*/ 2 h 5"/>
                <a:gd name="T14" fmla="*/ 4 w 12"/>
                <a:gd name="T15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5">
                  <a:moveTo>
                    <a:pt x="4" y="2"/>
                  </a:moveTo>
                  <a:cubicBezTo>
                    <a:pt x="6" y="1"/>
                    <a:pt x="7" y="1"/>
                    <a:pt x="9" y="2"/>
                  </a:cubicBezTo>
                  <a:cubicBezTo>
                    <a:pt x="9" y="2"/>
                    <a:pt x="8" y="1"/>
                    <a:pt x="6" y="3"/>
                  </a:cubicBezTo>
                  <a:cubicBezTo>
                    <a:pt x="8" y="3"/>
                    <a:pt x="9" y="4"/>
                    <a:pt x="11" y="5"/>
                  </a:cubicBezTo>
                  <a:cubicBezTo>
                    <a:pt x="11" y="4"/>
                    <a:pt x="11" y="3"/>
                    <a:pt x="12" y="3"/>
                  </a:cubicBezTo>
                  <a:cubicBezTo>
                    <a:pt x="6" y="0"/>
                    <a:pt x="2" y="1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" y="2"/>
                    <a:pt x="3" y="2"/>
                    <a:pt x="4" y="2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85" name="Freeform 7245"/>
            <p:cNvSpPr>
              <a:spLocks/>
            </p:cNvSpPr>
            <p:nvPr/>
          </p:nvSpPr>
          <p:spPr bwMode="auto">
            <a:xfrm>
              <a:off x="5431" y="2834"/>
              <a:ext cx="8" cy="10"/>
            </a:xfrm>
            <a:custGeom>
              <a:avLst/>
              <a:gdLst>
                <a:gd name="T0" fmla="*/ 2 w 6"/>
                <a:gd name="T1" fmla="*/ 8 h 8"/>
                <a:gd name="T2" fmla="*/ 6 w 6"/>
                <a:gd name="T3" fmla="*/ 5 h 8"/>
                <a:gd name="T4" fmla="*/ 4 w 6"/>
                <a:gd name="T5" fmla="*/ 0 h 8"/>
                <a:gd name="T6" fmla="*/ 0 w 6"/>
                <a:gd name="T7" fmla="*/ 2 h 8"/>
                <a:gd name="T8" fmla="*/ 1 w 6"/>
                <a:gd name="T9" fmla="*/ 7 h 8"/>
                <a:gd name="T10" fmla="*/ 2 w 6"/>
                <a:gd name="T11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8">
                  <a:moveTo>
                    <a:pt x="2" y="8"/>
                  </a:moveTo>
                  <a:cubicBezTo>
                    <a:pt x="3" y="6"/>
                    <a:pt x="4" y="5"/>
                    <a:pt x="6" y="5"/>
                  </a:cubicBezTo>
                  <a:cubicBezTo>
                    <a:pt x="5" y="3"/>
                    <a:pt x="5" y="2"/>
                    <a:pt x="4" y="0"/>
                  </a:cubicBezTo>
                  <a:cubicBezTo>
                    <a:pt x="3" y="1"/>
                    <a:pt x="2" y="1"/>
                    <a:pt x="0" y="2"/>
                  </a:cubicBezTo>
                  <a:cubicBezTo>
                    <a:pt x="1" y="4"/>
                    <a:pt x="1" y="6"/>
                    <a:pt x="1" y="7"/>
                  </a:cubicBezTo>
                  <a:cubicBezTo>
                    <a:pt x="2" y="7"/>
                    <a:pt x="2" y="7"/>
                    <a:pt x="2" y="8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86" name="Freeform 7246"/>
            <p:cNvSpPr>
              <a:spLocks/>
            </p:cNvSpPr>
            <p:nvPr/>
          </p:nvSpPr>
          <p:spPr bwMode="auto">
            <a:xfrm>
              <a:off x="5430" y="2847"/>
              <a:ext cx="5" cy="5"/>
            </a:xfrm>
            <a:custGeom>
              <a:avLst/>
              <a:gdLst>
                <a:gd name="T0" fmla="*/ 1 w 4"/>
                <a:gd name="T1" fmla="*/ 4 h 4"/>
                <a:gd name="T2" fmla="*/ 4 w 4"/>
                <a:gd name="T3" fmla="*/ 1 h 4"/>
                <a:gd name="T4" fmla="*/ 0 w 4"/>
                <a:gd name="T5" fmla="*/ 0 h 4"/>
                <a:gd name="T6" fmla="*/ 1 w 4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1" y="4"/>
                  </a:moveTo>
                  <a:cubicBezTo>
                    <a:pt x="2" y="3"/>
                    <a:pt x="3" y="2"/>
                    <a:pt x="4" y="1"/>
                  </a:cubicBezTo>
                  <a:cubicBezTo>
                    <a:pt x="3" y="0"/>
                    <a:pt x="2" y="0"/>
                    <a:pt x="0" y="0"/>
                  </a:cubicBezTo>
                  <a:cubicBezTo>
                    <a:pt x="1" y="1"/>
                    <a:pt x="1" y="2"/>
                    <a:pt x="1" y="4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87" name="Freeform 7247"/>
            <p:cNvSpPr>
              <a:spLocks/>
            </p:cNvSpPr>
            <p:nvPr/>
          </p:nvSpPr>
          <p:spPr bwMode="auto">
            <a:xfrm>
              <a:off x="5444" y="2834"/>
              <a:ext cx="5" cy="16"/>
            </a:xfrm>
            <a:custGeom>
              <a:avLst/>
              <a:gdLst>
                <a:gd name="T0" fmla="*/ 1 w 4"/>
                <a:gd name="T1" fmla="*/ 12 h 13"/>
                <a:gd name="T2" fmla="*/ 2 w 4"/>
                <a:gd name="T3" fmla="*/ 13 h 13"/>
                <a:gd name="T4" fmla="*/ 4 w 4"/>
                <a:gd name="T5" fmla="*/ 1 h 13"/>
                <a:gd name="T6" fmla="*/ 2 w 4"/>
                <a:gd name="T7" fmla="*/ 0 h 13"/>
                <a:gd name="T8" fmla="*/ 0 w 4"/>
                <a:gd name="T9" fmla="*/ 8 h 13"/>
                <a:gd name="T10" fmla="*/ 1 w 4"/>
                <a:gd name="T11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13">
                  <a:moveTo>
                    <a:pt x="1" y="12"/>
                  </a:moveTo>
                  <a:cubicBezTo>
                    <a:pt x="2" y="12"/>
                    <a:pt x="2" y="12"/>
                    <a:pt x="2" y="13"/>
                  </a:cubicBezTo>
                  <a:cubicBezTo>
                    <a:pt x="3" y="8"/>
                    <a:pt x="3" y="4"/>
                    <a:pt x="4" y="1"/>
                  </a:cubicBezTo>
                  <a:cubicBezTo>
                    <a:pt x="4" y="1"/>
                    <a:pt x="3" y="0"/>
                    <a:pt x="2" y="0"/>
                  </a:cubicBezTo>
                  <a:cubicBezTo>
                    <a:pt x="1" y="3"/>
                    <a:pt x="0" y="6"/>
                    <a:pt x="0" y="8"/>
                  </a:cubicBezTo>
                  <a:cubicBezTo>
                    <a:pt x="0" y="9"/>
                    <a:pt x="1" y="10"/>
                    <a:pt x="1" y="12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88" name="Freeform 7248"/>
            <p:cNvSpPr>
              <a:spLocks/>
            </p:cNvSpPr>
            <p:nvPr/>
          </p:nvSpPr>
          <p:spPr bwMode="auto">
            <a:xfrm>
              <a:off x="5440" y="2850"/>
              <a:ext cx="2" cy="2"/>
            </a:xfrm>
            <a:custGeom>
              <a:avLst/>
              <a:gdLst>
                <a:gd name="T0" fmla="*/ 1 w 2"/>
                <a:gd name="T1" fmla="*/ 1 h 2"/>
                <a:gd name="T2" fmla="*/ 1 w 2"/>
                <a:gd name="T3" fmla="*/ 1 h 2"/>
                <a:gd name="T4" fmla="*/ 0 w 2"/>
                <a:gd name="T5" fmla="*/ 0 h 2"/>
                <a:gd name="T6" fmla="*/ 1 w 2"/>
                <a:gd name="T7" fmla="*/ 2 h 2"/>
                <a:gd name="T8" fmla="*/ 2 w 2"/>
                <a:gd name="T9" fmla="*/ 1 h 2"/>
                <a:gd name="T10" fmla="*/ 1 w 2"/>
                <a:gd name="T11" fmla="*/ 1 h 2"/>
                <a:gd name="T12" fmla="*/ 1 w 2"/>
                <a:gd name="T13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2"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0" y="0"/>
                    <a:pt x="0" y="0"/>
                  </a:cubicBezTo>
                  <a:cubicBezTo>
                    <a:pt x="0" y="1"/>
                    <a:pt x="0" y="1"/>
                    <a:pt x="1" y="2"/>
                  </a:cubicBezTo>
                  <a:cubicBezTo>
                    <a:pt x="1" y="2"/>
                    <a:pt x="2" y="2"/>
                    <a:pt x="2" y="1"/>
                  </a:cubicBezTo>
                  <a:cubicBezTo>
                    <a:pt x="2" y="1"/>
                    <a:pt x="2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89" name="Freeform 7249"/>
            <p:cNvSpPr>
              <a:spLocks/>
            </p:cNvSpPr>
            <p:nvPr/>
          </p:nvSpPr>
          <p:spPr bwMode="auto">
            <a:xfrm>
              <a:off x="5439" y="2847"/>
              <a:ext cx="2" cy="2"/>
            </a:xfrm>
            <a:custGeom>
              <a:avLst/>
              <a:gdLst>
                <a:gd name="T0" fmla="*/ 2 w 2"/>
                <a:gd name="T1" fmla="*/ 1 h 1"/>
                <a:gd name="T2" fmla="*/ 1 w 2"/>
                <a:gd name="T3" fmla="*/ 0 h 1"/>
                <a:gd name="T4" fmla="*/ 0 w 2"/>
                <a:gd name="T5" fmla="*/ 0 h 1"/>
                <a:gd name="T6" fmla="*/ 2 w 2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2" y="1"/>
                  </a:moveTo>
                  <a:cubicBezTo>
                    <a:pt x="2" y="0"/>
                    <a:pt x="1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1" y="0"/>
                    <a:pt x="1" y="0"/>
                    <a:pt x="2" y="1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90" name="Freeform 7250"/>
            <p:cNvSpPr>
              <a:spLocks/>
            </p:cNvSpPr>
            <p:nvPr/>
          </p:nvSpPr>
          <p:spPr bwMode="auto">
            <a:xfrm>
              <a:off x="5386" y="2804"/>
              <a:ext cx="9" cy="6"/>
            </a:xfrm>
            <a:custGeom>
              <a:avLst/>
              <a:gdLst>
                <a:gd name="T0" fmla="*/ 5 w 7"/>
                <a:gd name="T1" fmla="*/ 5 h 5"/>
                <a:gd name="T2" fmla="*/ 7 w 7"/>
                <a:gd name="T3" fmla="*/ 5 h 5"/>
                <a:gd name="T4" fmla="*/ 1 w 7"/>
                <a:gd name="T5" fmla="*/ 0 h 5"/>
                <a:gd name="T6" fmla="*/ 0 w 7"/>
                <a:gd name="T7" fmla="*/ 1 h 5"/>
                <a:gd name="T8" fmla="*/ 5 w 7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5">
                  <a:moveTo>
                    <a:pt x="5" y="5"/>
                  </a:moveTo>
                  <a:cubicBezTo>
                    <a:pt x="5" y="5"/>
                    <a:pt x="6" y="5"/>
                    <a:pt x="7" y="5"/>
                  </a:cubicBezTo>
                  <a:cubicBezTo>
                    <a:pt x="5" y="2"/>
                    <a:pt x="3" y="1"/>
                    <a:pt x="1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2" y="1"/>
                    <a:pt x="4" y="3"/>
                    <a:pt x="5" y="5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91" name="Freeform 7251"/>
            <p:cNvSpPr>
              <a:spLocks/>
            </p:cNvSpPr>
            <p:nvPr/>
          </p:nvSpPr>
          <p:spPr bwMode="auto">
            <a:xfrm>
              <a:off x="5457" y="2839"/>
              <a:ext cx="1" cy="1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  <a:gd name="T4" fmla="*/ 1 w 1"/>
                <a:gd name="T5" fmla="*/ 1 h 1"/>
                <a:gd name="T6" fmla="*/ 0 w 1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1"/>
                    <a:pt x="1" y="1"/>
                  </a:cubicBezTo>
                  <a:cubicBezTo>
                    <a:pt x="1" y="1"/>
                    <a:pt x="1" y="1"/>
                    <a:pt x="0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92" name="Freeform 7252"/>
            <p:cNvSpPr>
              <a:spLocks/>
            </p:cNvSpPr>
            <p:nvPr/>
          </p:nvSpPr>
          <p:spPr bwMode="auto">
            <a:xfrm>
              <a:off x="5422" y="2836"/>
              <a:ext cx="2" cy="7"/>
            </a:xfrm>
            <a:custGeom>
              <a:avLst/>
              <a:gdLst>
                <a:gd name="T0" fmla="*/ 1 w 2"/>
                <a:gd name="T1" fmla="*/ 5 h 5"/>
                <a:gd name="T2" fmla="*/ 2 w 2"/>
                <a:gd name="T3" fmla="*/ 5 h 5"/>
                <a:gd name="T4" fmla="*/ 2 w 2"/>
                <a:gd name="T5" fmla="*/ 5 h 5"/>
                <a:gd name="T6" fmla="*/ 2 w 2"/>
                <a:gd name="T7" fmla="*/ 0 h 5"/>
                <a:gd name="T8" fmla="*/ 0 w 2"/>
                <a:gd name="T9" fmla="*/ 1 h 5"/>
                <a:gd name="T10" fmla="*/ 1 w 2"/>
                <a:gd name="T1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5">
                  <a:moveTo>
                    <a:pt x="1" y="5"/>
                  </a:moveTo>
                  <a:cubicBezTo>
                    <a:pt x="1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4"/>
                    <a:pt x="2" y="2"/>
                    <a:pt x="2" y="0"/>
                  </a:cubicBezTo>
                  <a:cubicBezTo>
                    <a:pt x="1" y="0"/>
                    <a:pt x="1" y="1"/>
                    <a:pt x="0" y="1"/>
                  </a:cubicBezTo>
                  <a:cubicBezTo>
                    <a:pt x="1" y="3"/>
                    <a:pt x="1" y="4"/>
                    <a:pt x="1" y="5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93" name="Freeform 7253"/>
            <p:cNvSpPr>
              <a:spLocks/>
            </p:cNvSpPr>
            <p:nvPr/>
          </p:nvSpPr>
          <p:spPr bwMode="auto">
            <a:xfrm>
              <a:off x="5391" y="2843"/>
              <a:ext cx="2" cy="1"/>
            </a:xfrm>
            <a:custGeom>
              <a:avLst/>
              <a:gdLst>
                <a:gd name="T0" fmla="*/ 1 w 1"/>
                <a:gd name="T1" fmla="*/ 1 h 1"/>
                <a:gd name="T2" fmla="*/ 0 w 1"/>
                <a:gd name="T3" fmla="*/ 0 h 1"/>
                <a:gd name="T4" fmla="*/ 0 w 1"/>
                <a:gd name="T5" fmla="*/ 1 h 1"/>
                <a:gd name="T6" fmla="*/ 1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1" y="1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94" name="Freeform 7254"/>
            <p:cNvSpPr>
              <a:spLocks/>
            </p:cNvSpPr>
            <p:nvPr/>
          </p:nvSpPr>
          <p:spPr bwMode="auto">
            <a:xfrm>
              <a:off x="5394" y="2850"/>
              <a:ext cx="5" cy="5"/>
            </a:xfrm>
            <a:custGeom>
              <a:avLst/>
              <a:gdLst>
                <a:gd name="T0" fmla="*/ 3 w 4"/>
                <a:gd name="T1" fmla="*/ 0 h 4"/>
                <a:gd name="T2" fmla="*/ 0 w 4"/>
                <a:gd name="T3" fmla="*/ 3 h 4"/>
                <a:gd name="T4" fmla="*/ 4 w 4"/>
                <a:gd name="T5" fmla="*/ 4 h 4"/>
                <a:gd name="T6" fmla="*/ 4 w 4"/>
                <a:gd name="T7" fmla="*/ 2 h 4"/>
                <a:gd name="T8" fmla="*/ 3 w 4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3" y="0"/>
                  </a:moveTo>
                  <a:cubicBezTo>
                    <a:pt x="2" y="1"/>
                    <a:pt x="1" y="2"/>
                    <a:pt x="0" y="3"/>
                  </a:cubicBezTo>
                  <a:cubicBezTo>
                    <a:pt x="2" y="3"/>
                    <a:pt x="3" y="3"/>
                    <a:pt x="4" y="4"/>
                  </a:cubicBezTo>
                  <a:cubicBezTo>
                    <a:pt x="4" y="3"/>
                    <a:pt x="4" y="3"/>
                    <a:pt x="4" y="2"/>
                  </a:cubicBezTo>
                  <a:cubicBezTo>
                    <a:pt x="4" y="1"/>
                    <a:pt x="3" y="1"/>
                    <a:pt x="3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95" name="Freeform 7255"/>
            <p:cNvSpPr>
              <a:spLocks/>
            </p:cNvSpPr>
            <p:nvPr/>
          </p:nvSpPr>
          <p:spPr bwMode="auto">
            <a:xfrm>
              <a:off x="5400" y="2854"/>
              <a:ext cx="0" cy="1"/>
            </a:xfrm>
            <a:custGeom>
              <a:avLst/>
              <a:gdLst>
                <a:gd name="T0" fmla="*/ 1 h 1"/>
                <a:gd name="T1" fmla="*/ 1 h 1"/>
                <a:gd name="T2" fmla="*/ 0 h 1"/>
                <a:gd name="T3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96" name="Freeform 7256"/>
            <p:cNvSpPr>
              <a:spLocks/>
            </p:cNvSpPr>
            <p:nvPr/>
          </p:nvSpPr>
          <p:spPr bwMode="auto">
            <a:xfrm>
              <a:off x="5391" y="2845"/>
              <a:ext cx="5" cy="9"/>
            </a:xfrm>
            <a:custGeom>
              <a:avLst/>
              <a:gdLst>
                <a:gd name="T0" fmla="*/ 2 w 4"/>
                <a:gd name="T1" fmla="*/ 0 h 7"/>
                <a:gd name="T2" fmla="*/ 0 w 4"/>
                <a:gd name="T3" fmla="*/ 1 h 7"/>
                <a:gd name="T4" fmla="*/ 0 w 4"/>
                <a:gd name="T5" fmla="*/ 7 h 7"/>
                <a:gd name="T6" fmla="*/ 2 w 4"/>
                <a:gd name="T7" fmla="*/ 7 h 7"/>
                <a:gd name="T8" fmla="*/ 4 w 4"/>
                <a:gd name="T9" fmla="*/ 3 h 7"/>
                <a:gd name="T10" fmla="*/ 2 w 4"/>
                <a:gd name="T11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7">
                  <a:moveTo>
                    <a:pt x="2" y="0"/>
                  </a:moveTo>
                  <a:cubicBezTo>
                    <a:pt x="1" y="0"/>
                    <a:pt x="1" y="0"/>
                    <a:pt x="0" y="1"/>
                  </a:cubicBezTo>
                  <a:cubicBezTo>
                    <a:pt x="0" y="3"/>
                    <a:pt x="0" y="5"/>
                    <a:pt x="0" y="7"/>
                  </a:cubicBezTo>
                  <a:cubicBezTo>
                    <a:pt x="1" y="7"/>
                    <a:pt x="1" y="7"/>
                    <a:pt x="2" y="7"/>
                  </a:cubicBezTo>
                  <a:cubicBezTo>
                    <a:pt x="3" y="5"/>
                    <a:pt x="3" y="4"/>
                    <a:pt x="4" y="3"/>
                  </a:cubicBezTo>
                  <a:cubicBezTo>
                    <a:pt x="3" y="2"/>
                    <a:pt x="3" y="1"/>
                    <a:pt x="2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97" name="Freeform 7257"/>
            <p:cNvSpPr>
              <a:spLocks/>
            </p:cNvSpPr>
            <p:nvPr/>
          </p:nvSpPr>
          <p:spPr bwMode="auto">
            <a:xfrm>
              <a:off x="5386" y="2857"/>
              <a:ext cx="24" cy="17"/>
            </a:xfrm>
            <a:custGeom>
              <a:avLst/>
              <a:gdLst>
                <a:gd name="T0" fmla="*/ 16 w 19"/>
                <a:gd name="T1" fmla="*/ 7 h 14"/>
                <a:gd name="T2" fmla="*/ 16 w 19"/>
                <a:gd name="T3" fmla="*/ 7 h 14"/>
                <a:gd name="T4" fmla="*/ 14 w 19"/>
                <a:gd name="T5" fmla="*/ 3 h 14"/>
                <a:gd name="T6" fmla="*/ 8 w 19"/>
                <a:gd name="T7" fmla="*/ 6 h 14"/>
                <a:gd name="T8" fmla="*/ 13 w 19"/>
                <a:gd name="T9" fmla="*/ 2 h 14"/>
                <a:gd name="T10" fmla="*/ 12 w 19"/>
                <a:gd name="T11" fmla="*/ 0 h 14"/>
                <a:gd name="T12" fmla="*/ 11 w 19"/>
                <a:gd name="T13" fmla="*/ 0 h 14"/>
                <a:gd name="T14" fmla="*/ 11 w 19"/>
                <a:gd name="T15" fmla="*/ 2 h 14"/>
                <a:gd name="T16" fmla="*/ 11 w 19"/>
                <a:gd name="T17" fmla="*/ 0 h 14"/>
                <a:gd name="T18" fmla="*/ 1 w 19"/>
                <a:gd name="T19" fmla="*/ 4 h 14"/>
                <a:gd name="T20" fmla="*/ 0 w 19"/>
                <a:gd name="T21" fmla="*/ 14 h 14"/>
                <a:gd name="T22" fmla="*/ 19 w 19"/>
                <a:gd name="T23" fmla="*/ 14 h 14"/>
                <a:gd name="T24" fmla="*/ 19 w 19"/>
                <a:gd name="T25" fmla="*/ 14 h 14"/>
                <a:gd name="T26" fmla="*/ 16 w 19"/>
                <a:gd name="T27" fmla="*/ 7 h 14"/>
                <a:gd name="T28" fmla="*/ 16 w 19"/>
                <a:gd name="T29" fmla="*/ 7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9" h="14">
                  <a:moveTo>
                    <a:pt x="16" y="7"/>
                  </a:moveTo>
                  <a:cubicBezTo>
                    <a:pt x="16" y="7"/>
                    <a:pt x="16" y="7"/>
                    <a:pt x="16" y="7"/>
                  </a:cubicBezTo>
                  <a:cubicBezTo>
                    <a:pt x="15" y="5"/>
                    <a:pt x="14" y="4"/>
                    <a:pt x="14" y="3"/>
                  </a:cubicBezTo>
                  <a:cubicBezTo>
                    <a:pt x="12" y="3"/>
                    <a:pt x="10" y="4"/>
                    <a:pt x="8" y="6"/>
                  </a:cubicBezTo>
                  <a:cubicBezTo>
                    <a:pt x="8" y="6"/>
                    <a:pt x="10" y="3"/>
                    <a:pt x="13" y="2"/>
                  </a:cubicBezTo>
                  <a:cubicBezTo>
                    <a:pt x="13" y="1"/>
                    <a:pt x="13" y="1"/>
                    <a:pt x="12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11" y="1"/>
                    <a:pt x="11" y="2"/>
                    <a:pt x="11" y="2"/>
                  </a:cubicBezTo>
                  <a:cubicBezTo>
                    <a:pt x="11" y="2"/>
                    <a:pt x="11" y="1"/>
                    <a:pt x="11" y="0"/>
                  </a:cubicBezTo>
                  <a:cubicBezTo>
                    <a:pt x="7" y="0"/>
                    <a:pt x="4" y="1"/>
                    <a:pt x="1" y="4"/>
                  </a:cubicBezTo>
                  <a:cubicBezTo>
                    <a:pt x="1" y="7"/>
                    <a:pt x="1" y="10"/>
                    <a:pt x="0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8" y="13"/>
                    <a:pt x="17" y="10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98" name="Freeform 7258"/>
            <p:cNvSpPr>
              <a:spLocks/>
            </p:cNvSpPr>
            <p:nvPr/>
          </p:nvSpPr>
          <p:spPr bwMode="auto">
            <a:xfrm>
              <a:off x="5379" y="2851"/>
              <a:ext cx="0" cy="1"/>
            </a:xfrm>
            <a:custGeom>
              <a:avLst/>
              <a:gdLst>
                <a:gd name="T0" fmla="*/ 0 h 1"/>
                <a:gd name="T1" fmla="*/ 1 h 1"/>
                <a:gd name="T2" fmla="*/ 1 h 1"/>
                <a:gd name="T3" fmla="*/ 1 h 1"/>
                <a:gd name="T4" fmla="*/ 0 h 1"/>
                <a:gd name="T5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99" name="Freeform 7259"/>
            <p:cNvSpPr>
              <a:spLocks/>
            </p:cNvSpPr>
            <p:nvPr/>
          </p:nvSpPr>
          <p:spPr bwMode="auto">
            <a:xfrm>
              <a:off x="5449" y="2835"/>
              <a:ext cx="1" cy="0"/>
            </a:xfrm>
            <a:custGeom>
              <a:avLst/>
              <a:gdLst>
                <a:gd name="T0" fmla="*/ 1 w 1"/>
                <a:gd name="T1" fmla="*/ 0 w 1"/>
                <a:gd name="T2" fmla="*/ 0 w 1"/>
                <a:gd name="T3" fmla="*/ 1 w 1"/>
                <a:gd name="T4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1" y="0"/>
                    <a:pt x="1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00" name="Freeform 7260"/>
            <p:cNvSpPr>
              <a:spLocks/>
            </p:cNvSpPr>
            <p:nvPr/>
          </p:nvSpPr>
          <p:spPr bwMode="auto">
            <a:xfrm>
              <a:off x="5429" y="2833"/>
              <a:ext cx="2" cy="5"/>
            </a:xfrm>
            <a:custGeom>
              <a:avLst/>
              <a:gdLst>
                <a:gd name="T0" fmla="*/ 2 w 2"/>
                <a:gd name="T1" fmla="*/ 3 h 4"/>
                <a:gd name="T2" fmla="*/ 2 w 2"/>
                <a:gd name="T3" fmla="*/ 0 h 4"/>
                <a:gd name="T4" fmla="*/ 0 w 2"/>
                <a:gd name="T5" fmla="*/ 1 h 4"/>
                <a:gd name="T6" fmla="*/ 1 w 2"/>
                <a:gd name="T7" fmla="*/ 4 h 4"/>
                <a:gd name="T8" fmla="*/ 2 w 2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2" y="3"/>
                  </a:moveTo>
                  <a:cubicBezTo>
                    <a:pt x="2" y="2"/>
                    <a:pt x="2" y="1"/>
                    <a:pt x="2" y="0"/>
                  </a:cubicBezTo>
                  <a:cubicBezTo>
                    <a:pt x="1" y="1"/>
                    <a:pt x="1" y="1"/>
                    <a:pt x="0" y="1"/>
                  </a:cubicBezTo>
                  <a:cubicBezTo>
                    <a:pt x="0" y="2"/>
                    <a:pt x="1" y="3"/>
                    <a:pt x="1" y="4"/>
                  </a:cubicBezTo>
                  <a:cubicBezTo>
                    <a:pt x="2" y="4"/>
                    <a:pt x="2" y="3"/>
                    <a:pt x="2" y="3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01" name="Freeform 7261"/>
            <p:cNvSpPr>
              <a:spLocks/>
            </p:cNvSpPr>
            <p:nvPr/>
          </p:nvSpPr>
          <p:spPr bwMode="auto">
            <a:xfrm>
              <a:off x="5396" y="2815"/>
              <a:ext cx="7" cy="17"/>
            </a:xfrm>
            <a:custGeom>
              <a:avLst/>
              <a:gdLst>
                <a:gd name="T0" fmla="*/ 2 w 6"/>
                <a:gd name="T1" fmla="*/ 13 h 14"/>
                <a:gd name="T2" fmla="*/ 6 w 6"/>
                <a:gd name="T3" fmla="*/ 14 h 14"/>
                <a:gd name="T4" fmla="*/ 1 w 6"/>
                <a:gd name="T5" fmla="*/ 0 h 14"/>
                <a:gd name="T6" fmla="*/ 0 w 6"/>
                <a:gd name="T7" fmla="*/ 3 h 14"/>
                <a:gd name="T8" fmla="*/ 2 w 6"/>
                <a:gd name="T9" fmla="*/ 1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4">
                  <a:moveTo>
                    <a:pt x="2" y="13"/>
                  </a:moveTo>
                  <a:cubicBezTo>
                    <a:pt x="3" y="13"/>
                    <a:pt x="5" y="13"/>
                    <a:pt x="6" y="14"/>
                  </a:cubicBezTo>
                  <a:cubicBezTo>
                    <a:pt x="5" y="9"/>
                    <a:pt x="3" y="4"/>
                    <a:pt x="1" y="0"/>
                  </a:cubicBezTo>
                  <a:cubicBezTo>
                    <a:pt x="1" y="1"/>
                    <a:pt x="1" y="2"/>
                    <a:pt x="0" y="3"/>
                  </a:cubicBezTo>
                  <a:cubicBezTo>
                    <a:pt x="1" y="6"/>
                    <a:pt x="2" y="9"/>
                    <a:pt x="2" y="13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02" name="Freeform 7262"/>
            <p:cNvSpPr>
              <a:spLocks/>
            </p:cNvSpPr>
            <p:nvPr/>
          </p:nvSpPr>
          <p:spPr bwMode="auto">
            <a:xfrm>
              <a:off x="5436" y="2833"/>
              <a:ext cx="10" cy="1"/>
            </a:xfrm>
            <a:custGeom>
              <a:avLst/>
              <a:gdLst>
                <a:gd name="T0" fmla="*/ 8 w 8"/>
                <a:gd name="T1" fmla="*/ 1 h 1"/>
                <a:gd name="T2" fmla="*/ 8 w 8"/>
                <a:gd name="T3" fmla="*/ 1 h 1"/>
                <a:gd name="T4" fmla="*/ 0 w 8"/>
                <a:gd name="T5" fmla="*/ 0 h 1"/>
                <a:gd name="T6" fmla="*/ 0 w 8"/>
                <a:gd name="T7" fmla="*/ 1 h 1"/>
                <a:gd name="T8" fmla="*/ 8 w 8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8" y="1"/>
                  </a:moveTo>
                  <a:cubicBezTo>
                    <a:pt x="8" y="1"/>
                    <a:pt x="8" y="1"/>
                    <a:pt x="8" y="1"/>
                  </a:cubicBezTo>
                  <a:cubicBezTo>
                    <a:pt x="6" y="0"/>
                    <a:pt x="3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3" y="1"/>
                    <a:pt x="5" y="1"/>
                    <a:pt x="8" y="1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03" name="Freeform 7263"/>
            <p:cNvSpPr>
              <a:spLocks/>
            </p:cNvSpPr>
            <p:nvPr/>
          </p:nvSpPr>
          <p:spPr bwMode="auto">
            <a:xfrm>
              <a:off x="5379" y="2819"/>
              <a:ext cx="12" cy="11"/>
            </a:xfrm>
            <a:custGeom>
              <a:avLst/>
              <a:gdLst>
                <a:gd name="T0" fmla="*/ 10 w 10"/>
                <a:gd name="T1" fmla="*/ 5 h 9"/>
                <a:gd name="T2" fmla="*/ 8 w 10"/>
                <a:gd name="T3" fmla="*/ 9 h 9"/>
                <a:gd name="T4" fmla="*/ 0 w 10"/>
                <a:gd name="T5" fmla="*/ 2 h 9"/>
                <a:gd name="T6" fmla="*/ 0 w 10"/>
                <a:gd name="T7" fmla="*/ 1 h 9"/>
                <a:gd name="T8" fmla="*/ 10 w 10"/>
                <a:gd name="T9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9">
                  <a:moveTo>
                    <a:pt x="10" y="5"/>
                  </a:moveTo>
                  <a:cubicBezTo>
                    <a:pt x="9" y="7"/>
                    <a:pt x="9" y="8"/>
                    <a:pt x="8" y="9"/>
                  </a:cubicBezTo>
                  <a:cubicBezTo>
                    <a:pt x="6" y="3"/>
                    <a:pt x="2" y="2"/>
                    <a:pt x="0" y="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4" y="0"/>
                    <a:pt x="7" y="2"/>
                    <a:pt x="10" y="5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04" name="Freeform 7264"/>
            <p:cNvSpPr>
              <a:spLocks/>
            </p:cNvSpPr>
            <p:nvPr/>
          </p:nvSpPr>
          <p:spPr bwMode="auto">
            <a:xfrm>
              <a:off x="5423" y="2844"/>
              <a:ext cx="0" cy="1"/>
            </a:xfrm>
            <a:custGeom>
              <a:avLst/>
              <a:gdLst>
                <a:gd name="T0" fmla="*/ 1 h 1"/>
                <a:gd name="T1" fmla="*/ 0 h 1"/>
                <a:gd name="T2" fmla="*/ 0 h 1"/>
                <a:gd name="T3" fmla="*/ 1 h 1"/>
                <a:gd name="T4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cubicBezTo>
                    <a:pt x="0" y="1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05" name="Freeform 7265"/>
            <p:cNvSpPr>
              <a:spLocks/>
            </p:cNvSpPr>
            <p:nvPr/>
          </p:nvSpPr>
          <p:spPr bwMode="auto">
            <a:xfrm>
              <a:off x="5400" y="2845"/>
              <a:ext cx="2" cy="4"/>
            </a:xfrm>
            <a:custGeom>
              <a:avLst/>
              <a:gdLst>
                <a:gd name="T0" fmla="*/ 0 w 2"/>
                <a:gd name="T1" fmla="*/ 1 h 3"/>
                <a:gd name="T2" fmla="*/ 2 w 2"/>
                <a:gd name="T3" fmla="*/ 3 h 3"/>
                <a:gd name="T4" fmla="*/ 2 w 2"/>
                <a:gd name="T5" fmla="*/ 0 h 3"/>
                <a:gd name="T6" fmla="*/ 2 w 2"/>
                <a:gd name="T7" fmla="*/ 0 h 3"/>
                <a:gd name="T8" fmla="*/ 0 w 2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3">
                  <a:moveTo>
                    <a:pt x="0" y="1"/>
                  </a:moveTo>
                  <a:cubicBezTo>
                    <a:pt x="1" y="2"/>
                    <a:pt x="1" y="2"/>
                    <a:pt x="2" y="3"/>
                  </a:cubicBezTo>
                  <a:cubicBezTo>
                    <a:pt x="2" y="3"/>
                    <a:pt x="2" y="2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0" y="1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06" name="Freeform 7266"/>
            <p:cNvSpPr>
              <a:spLocks/>
            </p:cNvSpPr>
            <p:nvPr/>
          </p:nvSpPr>
          <p:spPr bwMode="auto">
            <a:xfrm>
              <a:off x="5390" y="2833"/>
              <a:ext cx="7" cy="11"/>
            </a:xfrm>
            <a:custGeom>
              <a:avLst/>
              <a:gdLst>
                <a:gd name="T0" fmla="*/ 6 w 6"/>
                <a:gd name="T1" fmla="*/ 9 h 9"/>
                <a:gd name="T2" fmla="*/ 6 w 6"/>
                <a:gd name="T3" fmla="*/ 9 h 9"/>
                <a:gd name="T4" fmla="*/ 3 w 6"/>
                <a:gd name="T5" fmla="*/ 0 h 9"/>
                <a:gd name="T6" fmla="*/ 1 w 6"/>
                <a:gd name="T7" fmla="*/ 0 h 9"/>
                <a:gd name="T8" fmla="*/ 0 w 6"/>
                <a:gd name="T9" fmla="*/ 4 h 9"/>
                <a:gd name="T10" fmla="*/ 0 w 6"/>
                <a:gd name="T11" fmla="*/ 4 h 9"/>
                <a:gd name="T12" fmla="*/ 6 w 6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9">
                  <a:moveTo>
                    <a:pt x="6" y="9"/>
                  </a:moveTo>
                  <a:cubicBezTo>
                    <a:pt x="6" y="9"/>
                    <a:pt x="6" y="9"/>
                    <a:pt x="6" y="9"/>
                  </a:cubicBezTo>
                  <a:cubicBezTo>
                    <a:pt x="5" y="6"/>
                    <a:pt x="4" y="3"/>
                    <a:pt x="3" y="0"/>
                  </a:cubicBezTo>
                  <a:cubicBezTo>
                    <a:pt x="3" y="0"/>
                    <a:pt x="2" y="0"/>
                    <a:pt x="1" y="0"/>
                  </a:cubicBezTo>
                  <a:cubicBezTo>
                    <a:pt x="1" y="1"/>
                    <a:pt x="1" y="3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" y="6"/>
                    <a:pt x="4" y="7"/>
                    <a:pt x="6" y="9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07" name="Freeform 7267"/>
            <p:cNvSpPr>
              <a:spLocks/>
            </p:cNvSpPr>
            <p:nvPr/>
          </p:nvSpPr>
          <p:spPr bwMode="auto">
            <a:xfrm>
              <a:off x="5410" y="2852"/>
              <a:ext cx="1" cy="5"/>
            </a:xfrm>
            <a:custGeom>
              <a:avLst/>
              <a:gdLst>
                <a:gd name="T0" fmla="*/ 0 w 1"/>
                <a:gd name="T1" fmla="*/ 1 h 4"/>
                <a:gd name="T2" fmla="*/ 1 w 1"/>
                <a:gd name="T3" fmla="*/ 4 h 4"/>
                <a:gd name="T4" fmla="*/ 1 w 1"/>
                <a:gd name="T5" fmla="*/ 3 h 4"/>
                <a:gd name="T6" fmla="*/ 1 w 1"/>
                <a:gd name="T7" fmla="*/ 0 h 4"/>
                <a:gd name="T8" fmla="*/ 0 w 1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4">
                  <a:moveTo>
                    <a:pt x="0" y="1"/>
                  </a:moveTo>
                  <a:cubicBezTo>
                    <a:pt x="0" y="2"/>
                    <a:pt x="0" y="3"/>
                    <a:pt x="1" y="4"/>
                  </a:cubicBezTo>
                  <a:cubicBezTo>
                    <a:pt x="1" y="4"/>
                    <a:pt x="1" y="3"/>
                    <a:pt x="1" y="3"/>
                  </a:cubicBezTo>
                  <a:cubicBezTo>
                    <a:pt x="1" y="2"/>
                    <a:pt x="1" y="1"/>
                    <a:pt x="1" y="0"/>
                  </a:cubicBezTo>
                  <a:cubicBezTo>
                    <a:pt x="0" y="0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08" name="Freeform 7268"/>
            <p:cNvSpPr>
              <a:spLocks/>
            </p:cNvSpPr>
            <p:nvPr/>
          </p:nvSpPr>
          <p:spPr bwMode="auto">
            <a:xfrm>
              <a:off x="5380" y="2804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09" name="Freeform 7269"/>
            <p:cNvSpPr>
              <a:spLocks/>
            </p:cNvSpPr>
            <p:nvPr/>
          </p:nvSpPr>
          <p:spPr bwMode="auto">
            <a:xfrm>
              <a:off x="5393" y="2810"/>
              <a:ext cx="4" cy="6"/>
            </a:xfrm>
            <a:custGeom>
              <a:avLst/>
              <a:gdLst>
                <a:gd name="T0" fmla="*/ 4 w 4"/>
                <a:gd name="T1" fmla="*/ 3 h 5"/>
                <a:gd name="T2" fmla="*/ 2 w 4"/>
                <a:gd name="T3" fmla="*/ 0 h 5"/>
                <a:gd name="T4" fmla="*/ 0 w 4"/>
                <a:gd name="T5" fmla="*/ 0 h 5"/>
                <a:gd name="T6" fmla="*/ 2 w 4"/>
                <a:gd name="T7" fmla="*/ 5 h 5"/>
                <a:gd name="T8" fmla="*/ 4 w 4"/>
                <a:gd name="T9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5">
                  <a:moveTo>
                    <a:pt x="4" y="3"/>
                  </a:moveTo>
                  <a:cubicBezTo>
                    <a:pt x="3" y="2"/>
                    <a:pt x="3" y="1"/>
                    <a:pt x="2" y="0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1" y="2"/>
                    <a:pt x="2" y="3"/>
                    <a:pt x="2" y="5"/>
                  </a:cubicBezTo>
                  <a:cubicBezTo>
                    <a:pt x="3" y="4"/>
                    <a:pt x="3" y="4"/>
                    <a:pt x="4" y="3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10" name="Freeform 7270"/>
            <p:cNvSpPr>
              <a:spLocks/>
            </p:cNvSpPr>
            <p:nvPr/>
          </p:nvSpPr>
          <p:spPr bwMode="auto">
            <a:xfrm>
              <a:off x="5380" y="2802"/>
              <a:ext cx="4" cy="2"/>
            </a:xfrm>
            <a:custGeom>
              <a:avLst/>
              <a:gdLst>
                <a:gd name="T0" fmla="*/ 0 w 3"/>
                <a:gd name="T1" fmla="*/ 1 h 1"/>
                <a:gd name="T2" fmla="*/ 3 w 3"/>
                <a:gd name="T3" fmla="*/ 1 h 1"/>
                <a:gd name="T4" fmla="*/ 3 w 3"/>
                <a:gd name="T5" fmla="*/ 0 h 1"/>
                <a:gd name="T6" fmla="*/ 0 w 3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">
                  <a:moveTo>
                    <a:pt x="0" y="1"/>
                  </a:moveTo>
                  <a:cubicBezTo>
                    <a:pt x="0" y="1"/>
                    <a:pt x="1" y="1"/>
                    <a:pt x="3" y="1"/>
                  </a:cubicBezTo>
                  <a:cubicBezTo>
                    <a:pt x="3" y="1"/>
                    <a:pt x="3" y="1"/>
                    <a:pt x="3" y="0"/>
                  </a:cubicBezTo>
                  <a:cubicBezTo>
                    <a:pt x="2" y="0"/>
                    <a:pt x="1" y="1"/>
                    <a:pt x="0" y="1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11" name="Freeform 7271"/>
            <p:cNvSpPr>
              <a:spLocks/>
            </p:cNvSpPr>
            <p:nvPr/>
          </p:nvSpPr>
          <p:spPr bwMode="auto">
            <a:xfrm>
              <a:off x="5399" y="2832"/>
              <a:ext cx="4" cy="12"/>
            </a:xfrm>
            <a:custGeom>
              <a:avLst/>
              <a:gdLst>
                <a:gd name="T0" fmla="*/ 3 w 4"/>
                <a:gd name="T1" fmla="*/ 8 h 10"/>
                <a:gd name="T2" fmla="*/ 4 w 4"/>
                <a:gd name="T3" fmla="*/ 3 h 10"/>
                <a:gd name="T4" fmla="*/ 4 w 4"/>
                <a:gd name="T5" fmla="*/ 1 h 10"/>
                <a:gd name="T6" fmla="*/ 0 w 4"/>
                <a:gd name="T7" fmla="*/ 0 h 10"/>
                <a:gd name="T8" fmla="*/ 1 w 4"/>
                <a:gd name="T9" fmla="*/ 10 h 10"/>
                <a:gd name="T10" fmla="*/ 3 w 4"/>
                <a:gd name="T11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10">
                  <a:moveTo>
                    <a:pt x="3" y="8"/>
                  </a:moveTo>
                  <a:cubicBezTo>
                    <a:pt x="4" y="7"/>
                    <a:pt x="4" y="5"/>
                    <a:pt x="4" y="3"/>
                  </a:cubicBezTo>
                  <a:cubicBezTo>
                    <a:pt x="4" y="2"/>
                    <a:pt x="4" y="2"/>
                    <a:pt x="4" y="1"/>
                  </a:cubicBezTo>
                  <a:cubicBezTo>
                    <a:pt x="3" y="1"/>
                    <a:pt x="2" y="0"/>
                    <a:pt x="0" y="0"/>
                  </a:cubicBezTo>
                  <a:cubicBezTo>
                    <a:pt x="1" y="3"/>
                    <a:pt x="1" y="6"/>
                    <a:pt x="1" y="10"/>
                  </a:cubicBezTo>
                  <a:cubicBezTo>
                    <a:pt x="2" y="9"/>
                    <a:pt x="3" y="9"/>
                    <a:pt x="3" y="8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12" name="Freeform 7272"/>
            <p:cNvSpPr>
              <a:spLocks/>
            </p:cNvSpPr>
            <p:nvPr/>
          </p:nvSpPr>
          <p:spPr bwMode="auto">
            <a:xfrm>
              <a:off x="5391" y="2829"/>
              <a:ext cx="3" cy="4"/>
            </a:xfrm>
            <a:custGeom>
              <a:avLst/>
              <a:gdLst>
                <a:gd name="T0" fmla="*/ 1 w 2"/>
                <a:gd name="T1" fmla="*/ 0 h 3"/>
                <a:gd name="T2" fmla="*/ 0 w 2"/>
                <a:gd name="T3" fmla="*/ 3 h 3"/>
                <a:gd name="T4" fmla="*/ 2 w 2"/>
                <a:gd name="T5" fmla="*/ 2 h 3"/>
                <a:gd name="T6" fmla="*/ 1 w 2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">
                  <a:moveTo>
                    <a:pt x="1" y="0"/>
                  </a:moveTo>
                  <a:cubicBezTo>
                    <a:pt x="1" y="1"/>
                    <a:pt x="0" y="2"/>
                    <a:pt x="0" y="3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13" name="Freeform 7273"/>
            <p:cNvSpPr>
              <a:spLocks/>
            </p:cNvSpPr>
            <p:nvPr/>
          </p:nvSpPr>
          <p:spPr bwMode="auto">
            <a:xfrm>
              <a:off x="5393" y="2810"/>
              <a:ext cx="2" cy="0"/>
            </a:xfrm>
            <a:custGeom>
              <a:avLst/>
              <a:gdLst>
                <a:gd name="T0" fmla="*/ 0 w 2"/>
                <a:gd name="T1" fmla="*/ 2 w 2"/>
                <a:gd name="T2" fmla="*/ 2 w 2"/>
                <a:gd name="T3" fmla="*/ 0 w 2"/>
                <a:gd name="T4" fmla="*/ 0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2">
                  <a:moveTo>
                    <a:pt x="0" y="0"/>
                  </a:moveTo>
                  <a:cubicBezTo>
                    <a:pt x="1" y="0"/>
                    <a:pt x="1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14" name="Freeform 7274"/>
            <p:cNvSpPr>
              <a:spLocks/>
            </p:cNvSpPr>
            <p:nvPr/>
          </p:nvSpPr>
          <p:spPr bwMode="auto">
            <a:xfrm>
              <a:off x="5431" y="2833"/>
              <a:ext cx="5" cy="3"/>
            </a:xfrm>
            <a:custGeom>
              <a:avLst/>
              <a:gdLst>
                <a:gd name="T0" fmla="*/ 4 w 4"/>
                <a:gd name="T1" fmla="*/ 1 h 3"/>
                <a:gd name="T2" fmla="*/ 4 w 4"/>
                <a:gd name="T3" fmla="*/ 0 h 3"/>
                <a:gd name="T4" fmla="*/ 0 w 4"/>
                <a:gd name="T5" fmla="*/ 0 h 3"/>
                <a:gd name="T6" fmla="*/ 0 w 4"/>
                <a:gd name="T7" fmla="*/ 3 h 3"/>
                <a:gd name="T8" fmla="*/ 4 w 4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3">
                  <a:moveTo>
                    <a:pt x="4" y="1"/>
                  </a:moveTo>
                  <a:cubicBezTo>
                    <a:pt x="4" y="1"/>
                    <a:pt x="4" y="0"/>
                    <a:pt x="4" y="0"/>
                  </a:cubicBezTo>
                  <a:cubicBezTo>
                    <a:pt x="3" y="0"/>
                    <a:pt x="1" y="0"/>
                    <a:pt x="0" y="0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2" y="2"/>
                    <a:pt x="3" y="2"/>
                    <a:pt x="4" y="1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15" name="Freeform 7275"/>
            <p:cNvSpPr>
              <a:spLocks/>
            </p:cNvSpPr>
            <p:nvPr/>
          </p:nvSpPr>
          <p:spPr bwMode="auto">
            <a:xfrm>
              <a:off x="5446" y="2834"/>
              <a:ext cx="3" cy="1"/>
            </a:xfrm>
            <a:custGeom>
              <a:avLst/>
              <a:gdLst>
                <a:gd name="T0" fmla="*/ 2 w 2"/>
                <a:gd name="T1" fmla="*/ 1 h 1"/>
                <a:gd name="T2" fmla="*/ 2 w 2"/>
                <a:gd name="T3" fmla="*/ 1 h 1"/>
                <a:gd name="T4" fmla="*/ 0 w 2"/>
                <a:gd name="T5" fmla="*/ 0 h 1"/>
                <a:gd name="T6" fmla="*/ 0 w 2"/>
                <a:gd name="T7" fmla="*/ 0 h 1"/>
                <a:gd name="T8" fmla="*/ 2 w 2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1">
                  <a:moveTo>
                    <a:pt x="2" y="1"/>
                  </a:move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1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2" y="1"/>
                    <a:pt x="2" y="1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16" name="Freeform 7276"/>
            <p:cNvSpPr>
              <a:spLocks/>
            </p:cNvSpPr>
            <p:nvPr/>
          </p:nvSpPr>
          <p:spPr bwMode="auto">
            <a:xfrm>
              <a:off x="5429" y="2834"/>
              <a:ext cx="1" cy="4"/>
            </a:xfrm>
            <a:custGeom>
              <a:avLst/>
              <a:gdLst>
                <a:gd name="T0" fmla="*/ 1 w 1"/>
                <a:gd name="T1" fmla="*/ 3 h 3"/>
                <a:gd name="T2" fmla="*/ 1 w 1"/>
                <a:gd name="T3" fmla="*/ 3 h 3"/>
                <a:gd name="T4" fmla="*/ 0 w 1"/>
                <a:gd name="T5" fmla="*/ 0 h 3"/>
                <a:gd name="T6" fmla="*/ 0 w 1"/>
                <a:gd name="T7" fmla="*/ 0 h 3"/>
                <a:gd name="T8" fmla="*/ 1 w 1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3">
                  <a:moveTo>
                    <a:pt x="1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2"/>
                    <a:pt x="0" y="1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2"/>
                    <a:pt x="1" y="3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17" name="Freeform 7277"/>
            <p:cNvSpPr>
              <a:spLocks/>
            </p:cNvSpPr>
            <p:nvPr/>
          </p:nvSpPr>
          <p:spPr bwMode="auto">
            <a:xfrm>
              <a:off x="5407" y="2833"/>
              <a:ext cx="1" cy="1"/>
            </a:xfrm>
            <a:custGeom>
              <a:avLst/>
              <a:gdLst>
                <a:gd name="T0" fmla="*/ 0 w 1"/>
                <a:gd name="T1" fmla="*/ 0 h 1"/>
                <a:gd name="T2" fmla="*/ 1 w 1"/>
                <a:gd name="T3" fmla="*/ 1 h 1"/>
                <a:gd name="T4" fmla="*/ 1 w 1"/>
                <a:gd name="T5" fmla="*/ 0 h 1"/>
                <a:gd name="T6" fmla="*/ 0 w 1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0"/>
                    <a:pt x="0" y="0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18" name="Freeform 7278"/>
            <p:cNvSpPr>
              <a:spLocks/>
            </p:cNvSpPr>
            <p:nvPr/>
          </p:nvSpPr>
          <p:spPr bwMode="auto">
            <a:xfrm>
              <a:off x="5403" y="2834"/>
              <a:ext cx="5" cy="9"/>
            </a:xfrm>
            <a:custGeom>
              <a:avLst/>
              <a:gdLst>
                <a:gd name="T0" fmla="*/ 1 w 4"/>
                <a:gd name="T1" fmla="*/ 6 h 7"/>
                <a:gd name="T2" fmla="*/ 4 w 4"/>
                <a:gd name="T3" fmla="*/ 7 h 7"/>
                <a:gd name="T4" fmla="*/ 4 w 4"/>
                <a:gd name="T5" fmla="*/ 2 h 7"/>
                <a:gd name="T6" fmla="*/ 1 w 4"/>
                <a:gd name="T7" fmla="*/ 0 h 7"/>
                <a:gd name="T8" fmla="*/ 0 w 4"/>
                <a:gd name="T9" fmla="*/ 1 h 7"/>
                <a:gd name="T10" fmla="*/ 1 w 4"/>
                <a:gd name="T11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7">
                  <a:moveTo>
                    <a:pt x="1" y="6"/>
                  </a:moveTo>
                  <a:cubicBezTo>
                    <a:pt x="2" y="6"/>
                    <a:pt x="3" y="6"/>
                    <a:pt x="4" y="7"/>
                  </a:cubicBezTo>
                  <a:cubicBezTo>
                    <a:pt x="4" y="5"/>
                    <a:pt x="4" y="4"/>
                    <a:pt x="4" y="2"/>
                  </a:cubicBezTo>
                  <a:cubicBezTo>
                    <a:pt x="3" y="1"/>
                    <a:pt x="2" y="0"/>
                    <a:pt x="1" y="0"/>
                  </a:cubicBezTo>
                  <a:cubicBezTo>
                    <a:pt x="1" y="0"/>
                    <a:pt x="1" y="1"/>
                    <a:pt x="0" y="1"/>
                  </a:cubicBezTo>
                  <a:cubicBezTo>
                    <a:pt x="1" y="3"/>
                    <a:pt x="1" y="4"/>
                    <a:pt x="1" y="6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19" name="Freeform 7279"/>
            <p:cNvSpPr>
              <a:spLocks/>
            </p:cNvSpPr>
            <p:nvPr/>
          </p:nvSpPr>
          <p:spPr bwMode="auto">
            <a:xfrm>
              <a:off x="5423" y="2843"/>
              <a:ext cx="1" cy="1"/>
            </a:xfrm>
            <a:custGeom>
              <a:avLst/>
              <a:gdLst>
                <a:gd name="T0" fmla="*/ 0 w 1"/>
                <a:gd name="T1" fmla="*/ 1 h 1"/>
                <a:gd name="T2" fmla="*/ 1 w 1"/>
                <a:gd name="T3" fmla="*/ 1 h 1"/>
                <a:gd name="T4" fmla="*/ 1 w 1"/>
                <a:gd name="T5" fmla="*/ 0 h 1"/>
                <a:gd name="T6" fmla="*/ 1 w 1"/>
                <a:gd name="T7" fmla="*/ 0 h 1"/>
                <a:gd name="T8" fmla="*/ 0 w 1"/>
                <a:gd name="T9" fmla="*/ 1 h 1"/>
                <a:gd name="T10" fmla="*/ 0 w 1"/>
                <a:gd name="T11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20" name="Freeform 7280"/>
            <p:cNvSpPr>
              <a:spLocks/>
            </p:cNvSpPr>
            <p:nvPr/>
          </p:nvSpPr>
          <p:spPr bwMode="auto">
            <a:xfrm>
              <a:off x="5363" y="2830"/>
              <a:ext cx="2" cy="2"/>
            </a:xfrm>
            <a:custGeom>
              <a:avLst/>
              <a:gdLst>
                <a:gd name="T0" fmla="*/ 1 w 1"/>
                <a:gd name="T1" fmla="*/ 0 h 1"/>
                <a:gd name="T2" fmla="*/ 1 w 1"/>
                <a:gd name="T3" fmla="*/ 1 h 1"/>
                <a:gd name="T4" fmla="*/ 0 w 1"/>
                <a:gd name="T5" fmla="*/ 1 h 1"/>
                <a:gd name="T6" fmla="*/ 0 w 1"/>
                <a:gd name="T7" fmla="*/ 0 h 1"/>
                <a:gd name="T8" fmla="*/ 1 w 1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1" y="0"/>
                    <a:pt x="1" y="1"/>
                    <a:pt x="1" y="1"/>
                  </a:cubicBezTo>
                  <a:cubicBezTo>
                    <a:pt x="1" y="1"/>
                    <a:pt x="0" y="1"/>
                    <a:pt x="0" y="1"/>
                  </a:cubicBezTo>
                  <a:cubicBezTo>
                    <a:pt x="0" y="1"/>
                    <a:pt x="0" y="1"/>
                    <a:pt x="0" y="0"/>
                  </a:cubicBezTo>
                  <a:cubicBezTo>
                    <a:pt x="0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21" name="Freeform 7281"/>
            <p:cNvSpPr>
              <a:spLocks/>
            </p:cNvSpPr>
            <p:nvPr/>
          </p:nvSpPr>
          <p:spPr bwMode="auto">
            <a:xfrm>
              <a:off x="5356" y="2834"/>
              <a:ext cx="2" cy="1"/>
            </a:xfrm>
            <a:custGeom>
              <a:avLst/>
              <a:gdLst>
                <a:gd name="T0" fmla="*/ 2 w 2"/>
                <a:gd name="T1" fmla="*/ 0 h 1"/>
                <a:gd name="T2" fmla="*/ 0 w 2"/>
                <a:gd name="T3" fmla="*/ 1 h 1"/>
                <a:gd name="T4" fmla="*/ 2 w 2"/>
                <a:gd name="T5" fmla="*/ 0 h 1"/>
                <a:gd name="T6" fmla="*/ 2 w 2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1" y="0"/>
                    <a:pt x="1" y="0"/>
                    <a:pt x="0" y="1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22" name="Freeform 7282"/>
            <p:cNvSpPr>
              <a:spLocks/>
            </p:cNvSpPr>
            <p:nvPr/>
          </p:nvSpPr>
          <p:spPr bwMode="auto">
            <a:xfrm>
              <a:off x="5410" y="2805"/>
              <a:ext cx="1" cy="6"/>
            </a:xfrm>
            <a:custGeom>
              <a:avLst/>
              <a:gdLst>
                <a:gd name="T0" fmla="*/ 1 w 1"/>
                <a:gd name="T1" fmla="*/ 0 h 5"/>
                <a:gd name="T2" fmla="*/ 1 w 1"/>
                <a:gd name="T3" fmla="*/ 0 h 5"/>
                <a:gd name="T4" fmla="*/ 0 w 1"/>
                <a:gd name="T5" fmla="*/ 5 h 5"/>
                <a:gd name="T6" fmla="*/ 1 w 1"/>
                <a:gd name="T7" fmla="*/ 5 h 5"/>
                <a:gd name="T8" fmla="*/ 1 w 1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5"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2"/>
                    <a:pt x="0" y="3"/>
                    <a:pt x="0" y="5"/>
                  </a:cubicBezTo>
                  <a:cubicBezTo>
                    <a:pt x="0" y="5"/>
                    <a:pt x="0" y="5"/>
                    <a:pt x="1" y="5"/>
                  </a:cubicBezTo>
                  <a:cubicBezTo>
                    <a:pt x="1" y="3"/>
                    <a:pt x="1" y="2"/>
                    <a:pt x="1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23" name="Freeform 7283"/>
            <p:cNvSpPr>
              <a:spLocks/>
            </p:cNvSpPr>
            <p:nvPr/>
          </p:nvSpPr>
          <p:spPr bwMode="auto">
            <a:xfrm>
              <a:off x="5407" y="2850"/>
              <a:ext cx="3" cy="8"/>
            </a:xfrm>
            <a:custGeom>
              <a:avLst/>
              <a:gdLst>
                <a:gd name="T0" fmla="*/ 2 w 2"/>
                <a:gd name="T1" fmla="*/ 0 h 7"/>
                <a:gd name="T2" fmla="*/ 0 w 2"/>
                <a:gd name="T3" fmla="*/ 5 h 7"/>
                <a:gd name="T4" fmla="*/ 0 w 2"/>
                <a:gd name="T5" fmla="*/ 7 h 7"/>
                <a:gd name="T6" fmla="*/ 0 w 2"/>
                <a:gd name="T7" fmla="*/ 7 h 7"/>
                <a:gd name="T8" fmla="*/ 2 w 2"/>
                <a:gd name="T9" fmla="*/ 3 h 7"/>
                <a:gd name="T10" fmla="*/ 2 w 2"/>
                <a:gd name="T11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7">
                  <a:moveTo>
                    <a:pt x="2" y="0"/>
                  </a:moveTo>
                  <a:cubicBezTo>
                    <a:pt x="1" y="1"/>
                    <a:pt x="0" y="3"/>
                    <a:pt x="0" y="5"/>
                  </a:cubicBezTo>
                  <a:cubicBezTo>
                    <a:pt x="0" y="6"/>
                    <a:pt x="0" y="6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5"/>
                    <a:pt x="1" y="4"/>
                    <a:pt x="2" y="3"/>
                  </a:cubicBezTo>
                  <a:cubicBezTo>
                    <a:pt x="2" y="2"/>
                    <a:pt x="2" y="1"/>
                    <a:pt x="2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24" name="Freeform 7284"/>
            <p:cNvSpPr>
              <a:spLocks/>
            </p:cNvSpPr>
            <p:nvPr/>
          </p:nvSpPr>
          <p:spPr bwMode="auto">
            <a:xfrm>
              <a:off x="5410" y="2866"/>
              <a:ext cx="2" cy="8"/>
            </a:xfrm>
            <a:custGeom>
              <a:avLst/>
              <a:gdLst>
                <a:gd name="T0" fmla="*/ 0 w 2"/>
                <a:gd name="T1" fmla="*/ 7 h 7"/>
                <a:gd name="T2" fmla="*/ 0 w 2"/>
                <a:gd name="T3" fmla="*/ 7 h 7"/>
                <a:gd name="T4" fmla="*/ 2 w 2"/>
                <a:gd name="T5" fmla="*/ 7 h 7"/>
                <a:gd name="T6" fmla="*/ 2 w 2"/>
                <a:gd name="T7" fmla="*/ 0 h 7"/>
                <a:gd name="T8" fmla="*/ 0 w 2"/>
                <a:gd name="T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7">
                  <a:moveTo>
                    <a:pt x="0" y="7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4"/>
                    <a:pt x="2" y="2"/>
                    <a:pt x="2" y="0"/>
                  </a:cubicBezTo>
                  <a:cubicBezTo>
                    <a:pt x="1" y="3"/>
                    <a:pt x="0" y="6"/>
                    <a:pt x="0" y="7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25" name="Freeform 7285"/>
            <p:cNvSpPr>
              <a:spLocks/>
            </p:cNvSpPr>
            <p:nvPr/>
          </p:nvSpPr>
          <p:spPr bwMode="auto">
            <a:xfrm>
              <a:off x="5405" y="2826"/>
              <a:ext cx="3" cy="7"/>
            </a:xfrm>
            <a:custGeom>
              <a:avLst/>
              <a:gdLst>
                <a:gd name="T0" fmla="*/ 3 w 3"/>
                <a:gd name="T1" fmla="*/ 6 h 6"/>
                <a:gd name="T2" fmla="*/ 3 w 3"/>
                <a:gd name="T3" fmla="*/ 0 h 6"/>
                <a:gd name="T4" fmla="*/ 1 w 3"/>
                <a:gd name="T5" fmla="*/ 0 h 6"/>
                <a:gd name="T6" fmla="*/ 0 w 3"/>
                <a:gd name="T7" fmla="*/ 5 h 6"/>
                <a:gd name="T8" fmla="*/ 2 w 3"/>
                <a:gd name="T9" fmla="*/ 6 h 6"/>
                <a:gd name="T10" fmla="*/ 3 w 3"/>
                <a:gd name="T11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6">
                  <a:moveTo>
                    <a:pt x="3" y="6"/>
                  </a:moveTo>
                  <a:cubicBezTo>
                    <a:pt x="3" y="4"/>
                    <a:pt x="3" y="2"/>
                    <a:pt x="3" y="0"/>
                  </a:cubicBezTo>
                  <a:cubicBezTo>
                    <a:pt x="2" y="0"/>
                    <a:pt x="2" y="0"/>
                    <a:pt x="1" y="0"/>
                  </a:cubicBezTo>
                  <a:cubicBezTo>
                    <a:pt x="1" y="2"/>
                    <a:pt x="0" y="3"/>
                    <a:pt x="0" y="5"/>
                  </a:cubicBezTo>
                  <a:cubicBezTo>
                    <a:pt x="1" y="5"/>
                    <a:pt x="1" y="6"/>
                    <a:pt x="2" y="6"/>
                  </a:cubicBezTo>
                  <a:cubicBezTo>
                    <a:pt x="2" y="6"/>
                    <a:pt x="2" y="6"/>
                    <a:pt x="3" y="6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26" name="Freeform 7286"/>
            <p:cNvSpPr>
              <a:spLocks/>
            </p:cNvSpPr>
            <p:nvPr/>
          </p:nvSpPr>
          <p:spPr bwMode="auto">
            <a:xfrm>
              <a:off x="5377" y="2832"/>
              <a:ext cx="11" cy="6"/>
            </a:xfrm>
            <a:custGeom>
              <a:avLst/>
              <a:gdLst>
                <a:gd name="T0" fmla="*/ 8 w 9"/>
                <a:gd name="T1" fmla="*/ 5 h 5"/>
                <a:gd name="T2" fmla="*/ 9 w 9"/>
                <a:gd name="T3" fmla="*/ 3 h 5"/>
                <a:gd name="T4" fmla="*/ 0 w 9"/>
                <a:gd name="T5" fmla="*/ 0 h 5"/>
                <a:gd name="T6" fmla="*/ 1 w 9"/>
                <a:gd name="T7" fmla="*/ 1 h 5"/>
                <a:gd name="T8" fmla="*/ 8 w 9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5">
                  <a:moveTo>
                    <a:pt x="8" y="5"/>
                  </a:moveTo>
                  <a:cubicBezTo>
                    <a:pt x="8" y="5"/>
                    <a:pt x="9" y="4"/>
                    <a:pt x="9" y="3"/>
                  </a:cubicBezTo>
                  <a:cubicBezTo>
                    <a:pt x="6" y="2"/>
                    <a:pt x="3" y="0"/>
                    <a:pt x="0" y="0"/>
                  </a:cubicBezTo>
                  <a:cubicBezTo>
                    <a:pt x="1" y="0"/>
                    <a:pt x="1" y="0"/>
                    <a:pt x="1" y="1"/>
                  </a:cubicBezTo>
                  <a:cubicBezTo>
                    <a:pt x="4" y="2"/>
                    <a:pt x="6" y="3"/>
                    <a:pt x="8" y="5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27" name="Freeform 7287"/>
            <p:cNvSpPr>
              <a:spLocks/>
            </p:cNvSpPr>
            <p:nvPr/>
          </p:nvSpPr>
          <p:spPr bwMode="auto">
            <a:xfrm>
              <a:off x="5399" y="2846"/>
              <a:ext cx="1" cy="8"/>
            </a:xfrm>
            <a:custGeom>
              <a:avLst/>
              <a:gdLst>
                <a:gd name="T0" fmla="*/ 0 w 1"/>
                <a:gd name="T1" fmla="*/ 5 h 6"/>
                <a:gd name="T2" fmla="*/ 1 w 1"/>
                <a:gd name="T3" fmla="*/ 6 h 6"/>
                <a:gd name="T4" fmla="*/ 1 w 1"/>
                <a:gd name="T5" fmla="*/ 0 h 6"/>
                <a:gd name="T6" fmla="*/ 0 w 1"/>
                <a:gd name="T7" fmla="*/ 2 h 6"/>
                <a:gd name="T8" fmla="*/ 0 w 1"/>
                <a:gd name="T9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6">
                  <a:moveTo>
                    <a:pt x="0" y="5"/>
                  </a:moveTo>
                  <a:cubicBezTo>
                    <a:pt x="0" y="6"/>
                    <a:pt x="1" y="6"/>
                    <a:pt x="1" y="6"/>
                  </a:cubicBezTo>
                  <a:cubicBezTo>
                    <a:pt x="1" y="4"/>
                    <a:pt x="1" y="2"/>
                    <a:pt x="1" y="0"/>
                  </a:cubicBezTo>
                  <a:cubicBezTo>
                    <a:pt x="1" y="1"/>
                    <a:pt x="0" y="1"/>
                    <a:pt x="0" y="2"/>
                  </a:cubicBezTo>
                  <a:cubicBezTo>
                    <a:pt x="0" y="3"/>
                    <a:pt x="0" y="4"/>
                    <a:pt x="0" y="5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28" name="Freeform 7288"/>
            <p:cNvSpPr>
              <a:spLocks/>
            </p:cNvSpPr>
            <p:nvPr/>
          </p:nvSpPr>
          <p:spPr bwMode="auto">
            <a:xfrm>
              <a:off x="5406" y="2844"/>
              <a:ext cx="1" cy="5"/>
            </a:xfrm>
            <a:custGeom>
              <a:avLst/>
              <a:gdLst>
                <a:gd name="T0" fmla="*/ 0 w 1"/>
                <a:gd name="T1" fmla="*/ 0 h 4"/>
                <a:gd name="T2" fmla="*/ 0 w 1"/>
                <a:gd name="T3" fmla="*/ 4 h 4"/>
                <a:gd name="T4" fmla="*/ 1 w 1"/>
                <a:gd name="T5" fmla="*/ 2 h 4"/>
                <a:gd name="T6" fmla="*/ 0 w 1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4">
                  <a:moveTo>
                    <a:pt x="0" y="0"/>
                  </a:moveTo>
                  <a:cubicBezTo>
                    <a:pt x="0" y="2"/>
                    <a:pt x="0" y="3"/>
                    <a:pt x="0" y="4"/>
                  </a:cubicBezTo>
                  <a:cubicBezTo>
                    <a:pt x="0" y="3"/>
                    <a:pt x="1" y="2"/>
                    <a:pt x="1" y="2"/>
                  </a:cubicBezTo>
                  <a:cubicBezTo>
                    <a:pt x="1" y="1"/>
                    <a:pt x="0" y="1"/>
                    <a:pt x="0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29" name="Freeform 7289"/>
            <p:cNvSpPr>
              <a:spLocks/>
            </p:cNvSpPr>
            <p:nvPr/>
          </p:nvSpPr>
          <p:spPr bwMode="auto">
            <a:xfrm>
              <a:off x="5397" y="2844"/>
              <a:ext cx="2" cy="2"/>
            </a:xfrm>
            <a:custGeom>
              <a:avLst/>
              <a:gdLst>
                <a:gd name="T0" fmla="*/ 0 w 1"/>
                <a:gd name="T1" fmla="*/ 0 h 2"/>
                <a:gd name="T2" fmla="*/ 0 w 1"/>
                <a:gd name="T3" fmla="*/ 2 h 2"/>
                <a:gd name="T4" fmla="*/ 1 w 1"/>
                <a:gd name="T5" fmla="*/ 1 h 2"/>
                <a:gd name="T6" fmla="*/ 0 w 1"/>
                <a:gd name="T7" fmla="*/ 0 h 2"/>
                <a:gd name="T8" fmla="*/ 0 w 1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2">
                  <a:moveTo>
                    <a:pt x="0" y="0"/>
                  </a:moveTo>
                  <a:cubicBezTo>
                    <a:pt x="0" y="1"/>
                    <a:pt x="0" y="1"/>
                    <a:pt x="0" y="2"/>
                  </a:cubicBezTo>
                  <a:cubicBezTo>
                    <a:pt x="0" y="1"/>
                    <a:pt x="1" y="1"/>
                    <a:pt x="1" y="1"/>
                  </a:cubicBezTo>
                  <a:cubicBezTo>
                    <a:pt x="1" y="1"/>
                    <a:pt x="1" y="1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30" name="Freeform 7290"/>
            <p:cNvSpPr>
              <a:spLocks/>
            </p:cNvSpPr>
            <p:nvPr/>
          </p:nvSpPr>
          <p:spPr bwMode="auto">
            <a:xfrm>
              <a:off x="5390" y="2838"/>
              <a:ext cx="1" cy="5"/>
            </a:xfrm>
            <a:custGeom>
              <a:avLst/>
              <a:gdLst>
                <a:gd name="T0" fmla="*/ 1 w 1"/>
                <a:gd name="T1" fmla="*/ 4 h 4"/>
                <a:gd name="T2" fmla="*/ 0 w 1"/>
                <a:gd name="T3" fmla="*/ 0 h 4"/>
                <a:gd name="T4" fmla="*/ 0 w 1"/>
                <a:gd name="T5" fmla="*/ 0 h 4"/>
                <a:gd name="T6" fmla="*/ 0 w 1"/>
                <a:gd name="T7" fmla="*/ 3 h 4"/>
                <a:gd name="T8" fmla="*/ 1 w 1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4">
                  <a:moveTo>
                    <a:pt x="1" y="4"/>
                  </a:moveTo>
                  <a:cubicBezTo>
                    <a:pt x="1" y="2"/>
                    <a:pt x="1" y="1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0" y="3"/>
                    <a:pt x="1" y="3"/>
                    <a:pt x="1" y="4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31" name="Freeform 7291"/>
            <p:cNvSpPr>
              <a:spLocks/>
            </p:cNvSpPr>
            <p:nvPr/>
          </p:nvSpPr>
          <p:spPr bwMode="auto">
            <a:xfrm>
              <a:off x="5368" y="2830"/>
              <a:ext cx="3" cy="0"/>
            </a:xfrm>
            <a:custGeom>
              <a:avLst/>
              <a:gdLst>
                <a:gd name="T0" fmla="*/ 2 w 2"/>
                <a:gd name="T1" fmla="*/ 1 w 2"/>
                <a:gd name="T2" fmla="*/ 0 w 2"/>
                <a:gd name="T3" fmla="*/ 0 w 2"/>
                <a:gd name="T4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cubicBezTo>
                    <a:pt x="2" y="0"/>
                    <a:pt x="2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2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32" name="Freeform 7292"/>
            <p:cNvSpPr>
              <a:spLocks/>
            </p:cNvSpPr>
            <p:nvPr/>
          </p:nvSpPr>
          <p:spPr bwMode="auto">
            <a:xfrm>
              <a:off x="5411" y="2795"/>
              <a:ext cx="2" cy="10"/>
            </a:xfrm>
            <a:custGeom>
              <a:avLst/>
              <a:gdLst>
                <a:gd name="T0" fmla="*/ 2 w 2"/>
                <a:gd name="T1" fmla="*/ 0 h 8"/>
                <a:gd name="T2" fmla="*/ 0 w 2"/>
                <a:gd name="T3" fmla="*/ 8 h 8"/>
                <a:gd name="T4" fmla="*/ 1 w 2"/>
                <a:gd name="T5" fmla="*/ 8 h 8"/>
                <a:gd name="T6" fmla="*/ 2 w 2"/>
                <a:gd name="T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8">
                  <a:moveTo>
                    <a:pt x="2" y="0"/>
                  </a:moveTo>
                  <a:cubicBezTo>
                    <a:pt x="2" y="1"/>
                    <a:pt x="1" y="4"/>
                    <a:pt x="0" y="8"/>
                  </a:cubicBezTo>
                  <a:cubicBezTo>
                    <a:pt x="0" y="8"/>
                    <a:pt x="0" y="8"/>
                    <a:pt x="1" y="8"/>
                  </a:cubicBezTo>
                  <a:cubicBezTo>
                    <a:pt x="1" y="3"/>
                    <a:pt x="2" y="0"/>
                    <a:pt x="2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33" name="Freeform 7293"/>
            <p:cNvSpPr>
              <a:spLocks/>
            </p:cNvSpPr>
            <p:nvPr/>
          </p:nvSpPr>
          <p:spPr bwMode="auto">
            <a:xfrm>
              <a:off x="5406" y="2813"/>
              <a:ext cx="4" cy="11"/>
            </a:xfrm>
            <a:custGeom>
              <a:avLst/>
              <a:gdLst>
                <a:gd name="T0" fmla="*/ 2 w 3"/>
                <a:gd name="T1" fmla="*/ 9 h 9"/>
                <a:gd name="T2" fmla="*/ 3 w 3"/>
                <a:gd name="T3" fmla="*/ 0 h 9"/>
                <a:gd name="T4" fmla="*/ 2 w 3"/>
                <a:gd name="T5" fmla="*/ 0 h 9"/>
                <a:gd name="T6" fmla="*/ 0 w 3"/>
                <a:gd name="T7" fmla="*/ 9 h 9"/>
                <a:gd name="T8" fmla="*/ 2 w 3"/>
                <a:gd name="T9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9">
                  <a:moveTo>
                    <a:pt x="2" y="9"/>
                  </a:moveTo>
                  <a:cubicBezTo>
                    <a:pt x="3" y="6"/>
                    <a:pt x="3" y="3"/>
                    <a:pt x="3" y="0"/>
                  </a:cubicBezTo>
                  <a:cubicBezTo>
                    <a:pt x="3" y="0"/>
                    <a:pt x="2" y="0"/>
                    <a:pt x="2" y="0"/>
                  </a:cubicBezTo>
                  <a:cubicBezTo>
                    <a:pt x="1" y="3"/>
                    <a:pt x="1" y="6"/>
                    <a:pt x="0" y="9"/>
                  </a:cubicBezTo>
                  <a:cubicBezTo>
                    <a:pt x="1" y="9"/>
                    <a:pt x="2" y="9"/>
                    <a:pt x="2" y="9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34" name="Freeform 7294"/>
            <p:cNvSpPr>
              <a:spLocks/>
            </p:cNvSpPr>
            <p:nvPr/>
          </p:nvSpPr>
          <p:spPr bwMode="auto">
            <a:xfrm>
              <a:off x="5408" y="2811"/>
              <a:ext cx="3" cy="2"/>
            </a:xfrm>
            <a:custGeom>
              <a:avLst/>
              <a:gdLst>
                <a:gd name="T0" fmla="*/ 1 w 2"/>
                <a:gd name="T1" fmla="*/ 2 h 2"/>
                <a:gd name="T2" fmla="*/ 2 w 2"/>
                <a:gd name="T3" fmla="*/ 0 h 2"/>
                <a:gd name="T4" fmla="*/ 1 w 2"/>
                <a:gd name="T5" fmla="*/ 0 h 2"/>
                <a:gd name="T6" fmla="*/ 0 w 2"/>
                <a:gd name="T7" fmla="*/ 2 h 2"/>
                <a:gd name="T8" fmla="*/ 1 w 2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1" y="2"/>
                  </a:moveTo>
                  <a:cubicBezTo>
                    <a:pt x="1" y="2"/>
                    <a:pt x="1" y="1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1"/>
                    <a:pt x="0" y="2"/>
                  </a:cubicBezTo>
                  <a:cubicBezTo>
                    <a:pt x="0" y="2"/>
                    <a:pt x="1" y="2"/>
                    <a:pt x="1" y="2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35" name="Freeform 7295"/>
            <p:cNvSpPr>
              <a:spLocks/>
            </p:cNvSpPr>
            <p:nvPr/>
          </p:nvSpPr>
          <p:spPr bwMode="auto">
            <a:xfrm>
              <a:off x="5394" y="2844"/>
              <a:ext cx="3" cy="5"/>
            </a:xfrm>
            <a:custGeom>
              <a:avLst/>
              <a:gdLst>
                <a:gd name="T0" fmla="*/ 3 w 3"/>
                <a:gd name="T1" fmla="*/ 0 h 4"/>
                <a:gd name="T2" fmla="*/ 0 w 3"/>
                <a:gd name="T3" fmla="*/ 1 h 4"/>
                <a:gd name="T4" fmla="*/ 2 w 3"/>
                <a:gd name="T5" fmla="*/ 4 h 4"/>
                <a:gd name="T6" fmla="*/ 3 w 3"/>
                <a:gd name="T7" fmla="*/ 2 h 4"/>
                <a:gd name="T8" fmla="*/ 3 w 3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3" y="0"/>
                  </a:moveTo>
                  <a:cubicBezTo>
                    <a:pt x="2" y="0"/>
                    <a:pt x="1" y="1"/>
                    <a:pt x="0" y="1"/>
                  </a:cubicBezTo>
                  <a:cubicBezTo>
                    <a:pt x="1" y="2"/>
                    <a:pt x="1" y="3"/>
                    <a:pt x="2" y="4"/>
                  </a:cubicBezTo>
                  <a:cubicBezTo>
                    <a:pt x="2" y="3"/>
                    <a:pt x="3" y="2"/>
                    <a:pt x="3" y="2"/>
                  </a:cubicBezTo>
                  <a:cubicBezTo>
                    <a:pt x="3" y="1"/>
                    <a:pt x="3" y="1"/>
                    <a:pt x="3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36" name="Freeform 7296"/>
            <p:cNvSpPr>
              <a:spLocks/>
            </p:cNvSpPr>
            <p:nvPr/>
          </p:nvSpPr>
          <p:spPr bwMode="auto">
            <a:xfrm>
              <a:off x="5397" y="2849"/>
              <a:ext cx="2" cy="3"/>
            </a:xfrm>
            <a:custGeom>
              <a:avLst/>
              <a:gdLst>
                <a:gd name="T0" fmla="*/ 0 w 1"/>
                <a:gd name="T1" fmla="*/ 1 h 3"/>
                <a:gd name="T2" fmla="*/ 1 w 1"/>
                <a:gd name="T3" fmla="*/ 3 h 3"/>
                <a:gd name="T4" fmla="*/ 1 w 1"/>
                <a:gd name="T5" fmla="*/ 0 h 3"/>
                <a:gd name="T6" fmla="*/ 0 w 1"/>
                <a:gd name="T7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3">
                  <a:moveTo>
                    <a:pt x="0" y="1"/>
                  </a:moveTo>
                  <a:cubicBezTo>
                    <a:pt x="0" y="2"/>
                    <a:pt x="1" y="2"/>
                    <a:pt x="1" y="3"/>
                  </a:cubicBezTo>
                  <a:cubicBezTo>
                    <a:pt x="1" y="2"/>
                    <a:pt x="1" y="1"/>
                    <a:pt x="1" y="0"/>
                  </a:cubicBezTo>
                  <a:cubicBezTo>
                    <a:pt x="0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37" name="Freeform 7297"/>
            <p:cNvSpPr>
              <a:spLocks/>
            </p:cNvSpPr>
            <p:nvPr/>
          </p:nvSpPr>
          <p:spPr bwMode="auto">
            <a:xfrm>
              <a:off x="5407" y="2854"/>
              <a:ext cx="4" cy="4"/>
            </a:xfrm>
            <a:custGeom>
              <a:avLst/>
              <a:gdLst>
                <a:gd name="T0" fmla="*/ 2 w 3"/>
                <a:gd name="T1" fmla="*/ 0 h 4"/>
                <a:gd name="T2" fmla="*/ 0 w 3"/>
                <a:gd name="T3" fmla="*/ 4 h 4"/>
                <a:gd name="T4" fmla="*/ 3 w 3"/>
                <a:gd name="T5" fmla="*/ 4 h 4"/>
                <a:gd name="T6" fmla="*/ 3 w 3"/>
                <a:gd name="T7" fmla="*/ 2 h 4"/>
                <a:gd name="T8" fmla="*/ 3 w 3"/>
                <a:gd name="T9" fmla="*/ 3 h 4"/>
                <a:gd name="T10" fmla="*/ 2 w 3"/>
                <a:gd name="T1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4">
                  <a:moveTo>
                    <a:pt x="2" y="0"/>
                  </a:moveTo>
                  <a:cubicBezTo>
                    <a:pt x="1" y="1"/>
                    <a:pt x="1" y="2"/>
                    <a:pt x="0" y="4"/>
                  </a:cubicBezTo>
                  <a:cubicBezTo>
                    <a:pt x="1" y="3"/>
                    <a:pt x="2" y="3"/>
                    <a:pt x="3" y="4"/>
                  </a:cubicBezTo>
                  <a:cubicBezTo>
                    <a:pt x="3" y="3"/>
                    <a:pt x="3" y="2"/>
                    <a:pt x="3" y="2"/>
                  </a:cubicBezTo>
                  <a:cubicBezTo>
                    <a:pt x="3" y="2"/>
                    <a:pt x="3" y="3"/>
                    <a:pt x="3" y="3"/>
                  </a:cubicBezTo>
                  <a:cubicBezTo>
                    <a:pt x="2" y="2"/>
                    <a:pt x="2" y="1"/>
                    <a:pt x="2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38" name="Freeform 7298"/>
            <p:cNvSpPr>
              <a:spLocks/>
            </p:cNvSpPr>
            <p:nvPr/>
          </p:nvSpPr>
          <p:spPr bwMode="auto">
            <a:xfrm>
              <a:off x="5403" y="2860"/>
              <a:ext cx="3" cy="6"/>
            </a:xfrm>
            <a:custGeom>
              <a:avLst/>
              <a:gdLst>
                <a:gd name="T0" fmla="*/ 0 w 2"/>
                <a:gd name="T1" fmla="*/ 1 h 5"/>
                <a:gd name="T2" fmla="*/ 2 w 2"/>
                <a:gd name="T3" fmla="*/ 5 h 5"/>
                <a:gd name="T4" fmla="*/ 1 w 2"/>
                <a:gd name="T5" fmla="*/ 0 h 5"/>
                <a:gd name="T6" fmla="*/ 0 w 2"/>
                <a:gd name="T7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5">
                  <a:moveTo>
                    <a:pt x="0" y="1"/>
                  </a:moveTo>
                  <a:cubicBezTo>
                    <a:pt x="0" y="2"/>
                    <a:pt x="1" y="3"/>
                    <a:pt x="2" y="5"/>
                  </a:cubicBezTo>
                  <a:cubicBezTo>
                    <a:pt x="2" y="4"/>
                    <a:pt x="1" y="2"/>
                    <a:pt x="1" y="0"/>
                  </a:cubicBezTo>
                  <a:cubicBezTo>
                    <a:pt x="1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39" name="Freeform 7299"/>
            <p:cNvSpPr>
              <a:spLocks/>
            </p:cNvSpPr>
            <p:nvPr/>
          </p:nvSpPr>
          <p:spPr bwMode="auto">
            <a:xfrm>
              <a:off x="5390" y="2838"/>
              <a:ext cx="7" cy="6"/>
            </a:xfrm>
            <a:custGeom>
              <a:avLst/>
              <a:gdLst>
                <a:gd name="T0" fmla="*/ 6 w 6"/>
                <a:gd name="T1" fmla="*/ 5 h 5"/>
                <a:gd name="T2" fmla="*/ 0 w 6"/>
                <a:gd name="T3" fmla="*/ 0 h 5"/>
                <a:gd name="T4" fmla="*/ 1 w 6"/>
                <a:gd name="T5" fmla="*/ 4 h 5"/>
                <a:gd name="T6" fmla="*/ 2 w 6"/>
                <a:gd name="T7" fmla="*/ 5 h 5"/>
                <a:gd name="T8" fmla="*/ 6 w 6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5">
                  <a:moveTo>
                    <a:pt x="6" y="5"/>
                  </a:moveTo>
                  <a:cubicBezTo>
                    <a:pt x="4" y="3"/>
                    <a:pt x="2" y="2"/>
                    <a:pt x="0" y="0"/>
                  </a:cubicBezTo>
                  <a:cubicBezTo>
                    <a:pt x="1" y="1"/>
                    <a:pt x="1" y="2"/>
                    <a:pt x="1" y="4"/>
                  </a:cubicBezTo>
                  <a:cubicBezTo>
                    <a:pt x="1" y="4"/>
                    <a:pt x="2" y="5"/>
                    <a:pt x="2" y="5"/>
                  </a:cubicBezTo>
                  <a:cubicBezTo>
                    <a:pt x="3" y="5"/>
                    <a:pt x="5" y="5"/>
                    <a:pt x="6" y="5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40" name="Freeform 7300"/>
            <p:cNvSpPr>
              <a:spLocks/>
            </p:cNvSpPr>
            <p:nvPr/>
          </p:nvSpPr>
          <p:spPr bwMode="auto">
            <a:xfrm>
              <a:off x="5407" y="2856"/>
              <a:ext cx="0" cy="2"/>
            </a:xfrm>
            <a:custGeom>
              <a:avLst/>
              <a:gdLst>
                <a:gd name="T0" fmla="*/ 2 h 2"/>
                <a:gd name="T1" fmla="*/ 2 h 2"/>
                <a:gd name="T2" fmla="*/ 0 h 2"/>
                <a:gd name="T3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1"/>
                    <a:pt x="0" y="0"/>
                  </a:cubicBezTo>
                  <a:cubicBezTo>
                    <a:pt x="0" y="1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41" name="Freeform 7301"/>
            <p:cNvSpPr>
              <a:spLocks/>
            </p:cNvSpPr>
            <p:nvPr/>
          </p:nvSpPr>
          <p:spPr bwMode="auto">
            <a:xfrm>
              <a:off x="5401" y="2857"/>
              <a:ext cx="4" cy="3"/>
            </a:xfrm>
            <a:custGeom>
              <a:avLst/>
              <a:gdLst>
                <a:gd name="T0" fmla="*/ 0 w 3"/>
                <a:gd name="T1" fmla="*/ 0 h 2"/>
                <a:gd name="T2" fmla="*/ 1 w 3"/>
                <a:gd name="T3" fmla="*/ 2 h 2"/>
                <a:gd name="T4" fmla="*/ 3 w 3"/>
                <a:gd name="T5" fmla="*/ 1 h 2"/>
                <a:gd name="T6" fmla="*/ 0 w 3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2">
                  <a:moveTo>
                    <a:pt x="0" y="0"/>
                  </a:moveTo>
                  <a:cubicBezTo>
                    <a:pt x="1" y="1"/>
                    <a:pt x="1" y="1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2" y="1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42" name="Freeform 7302"/>
            <p:cNvSpPr>
              <a:spLocks/>
            </p:cNvSpPr>
            <p:nvPr/>
          </p:nvSpPr>
          <p:spPr bwMode="auto">
            <a:xfrm>
              <a:off x="5400" y="2844"/>
              <a:ext cx="6" cy="13"/>
            </a:xfrm>
            <a:custGeom>
              <a:avLst/>
              <a:gdLst>
                <a:gd name="T0" fmla="*/ 5 w 5"/>
                <a:gd name="T1" fmla="*/ 0 h 11"/>
                <a:gd name="T2" fmla="*/ 2 w 5"/>
                <a:gd name="T3" fmla="*/ 0 h 11"/>
                <a:gd name="T4" fmla="*/ 3 w 5"/>
                <a:gd name="T5" fmla="*/ 1 h 11"/>
                <a:gd name="T6" fmla="*/ 2 w 5"/>
                <a:gd name="T7" fmla="*/ 1 h 11"/>
                <a:gd name="T8" fmla="*/ 2 w 5"/>
                <a:gd name="T9" fmla="*/ 4 h 11"/>
                <a:gd name="T10" fmla="*/ 0 w 5"/>
                <a:gd name="T11" fmla="*/ 2 h 11"/>
                <a:gd name="T12" fmla="*/ 0 w 5"/>
                <a:gd name="T13" fmla="*/ 2 h 11"/>
                <a:gd name="T14" fmla="*/ 0 w 5"/>
                <a:gd name="T15" fmla="*/ 8 h 11"/>
                <a:gd name="T16" fmla="*/ 0 w 5"/>
                <a:gd name="T17" fmla="*/ 9 h 11"/>
                <a:gd name="T18" fmla="*/ 4 w 5"/>
                <a:gd name="T19" fmla="*/ 11 h 11"/>
                <a:gd name="T20" fmla="*/ 5 w 5"/>
                <a:gd name="T21" fmla="*/ 4 h 11"/>
                <a:gd name="T22" fmla="*/ 5 w 5"/>
                <a:gd name="T23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" h="11">
                  <a:moveTo>
                    <a:pt x="5" y="0"/>
                  </a:moveTo>
                  <a:cubicBezTo>
                    <a:pt x="4" y="0"/>
                    <a:pt x="3" y="0"/>
                    <a:pt x="2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3"/>
                    <a:pt x="2" y="4"/>
                    <a:pt x="2" y="4"/>
                  </a:cubicBezTo>
                  <a:cubicBezTo>
                    <a:pt x="1" y="3"/>
                    <a:pt x="1" y="3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4"/>
                    <a:pt x="0" y="6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2" y="9"/>
                    <a:pt x="3" y="10"/>
                    <a:pt x="4" y="11"/>
                  </a:cubicBezTo>
                  <a:cubicBezTo>
                    <a:pt x="4" y="9"/>
                    <a:pt x="5" y="6"/>
                    <a:pt x="5" y="4"/>
                  </a:cubicBezTo>
                  <a:cubicBezTo>
                    <a:pt x="5" y="3"/>
                    <a:pt x="5" y="2"/>
                    <a:pt x="5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43" name="Freeform 7303"/>
            <p:cNvSpPr>
              <a:spLocks/>
            </p:cNvSpPr>
            <p:nvPr/>
          </p:nvSpPr>
          <p:spPr bwMode="auto">
            <a:xfrm>
              <a:off x="5402" y="2835"/>
              <a:ext cx="3" cy="6"/>
            </a:xfrm>
            <a:custGeom>
              <a:avLst/>
              <a:gdLst>
                <a:gd name="T0" fmla="*/ 1 w 2"/>
                <a:gd name="T1" fmla="*/ 0 h 5"/>
                <a:gd name="T2" fmla="*/ 0 w 2"/>
                <a:gd name="T3" fmla="*/ 5 h 5"/>
                <a:gd name="T4" fmla="*/ 2 w 2"/>
                <a:gd name="T5" fmla="*/ 5 h 5"/>
                <a:gd name="T6" fmla="*/ 1 w 2"/>
                <a:gd name="T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5">
                  <a:moveTo>
                    <a:pt x="1" y="0"/>
                  </a:moveTo>
                  <a:cubicBezTo>
                    <a:pt x="1" y="2"/>
                    <a:pt x="1" y="4"/>
                    <a:pt x="0" y="5"/>
                  </a:cubicBezTo>
                  <a:cubicBezTo>
                    <a:pt x="1" y="5"/>
                    <a:pt x="2" y="5"/>
                    <a:pt x="2" y="5"/>
                  </a:cubicBezTo>
                  <a:cubicBezTo>
                    <a:pt x="2" y="3"/>
                    <a:pt x="2" y="2"/>
                    <a:pt x="1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44" name="Freeform 7304"/>
            <p:cNvSpPr>
              <a:spLocks/>
            </p:cNvSpPr>
            <p:nvPr/>
          </p:nvSpPr>
          <p:spPr bwMode="auto">
            <a:xfrm>
              <a:off x="5406" y="2860"/>
              <a:ext cx="6" cy="14"/>
            </a:xfrm>
            <a:custGeom>
              <a:avLst/>
              <a:gdLst>
                <a:gd name="T0" fmla="*/ 5 w 5"/>
                <a:gd name="T1" fmla="*/ 4 h 12"/>
                <a:gd name="T2" fmla="*/ 1 w 5"/>
                <a:gd name="T3" fmla="*/ 0 h 12"/>
                <a:gd name="T4" fmla="*/ 0 w 5"/>
                <a:gd name="T5" fmla="*/ 0 h 12"/>
                <a:gd name="T6" fmla="*/ 0 w 5"/>
                <a:gd name="T7" fmla="*/ 5 h 12"/>
                <a:gd name="T8" fmla="*/ 3 w 5"/>
                <a:gd name="T9" fmla="*/ 12 h 12"/>
                <a:gd name="T10" fmla="*/ 5 w 5"/>
                <a:gd name="T11" fmla="*/ 5 h 12"/>
                <a:gd name="T12" fmla="*/ 5 w 5"/>
                <a:gd name="T13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12">
                  <a:moveTo>
                    <a:pt x="5" y="4"/>
                  </a:moveTo>
                  <a:cubicBezTo>
                    <a:pt x="3" y="2"/>
                    <a:pt x="2" y="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3"/>
                    <a:pt x="0" y="5"/>
                  </a:cubicBezTo>
                  <a:cubicBezTo>
                    <a:pt x="1" y="8"/>
                    <a:pt x="2" y="11"/>
                    <a:pt x="3" y="12"/>
                  </a:cubicBezTo>
                  <a:cubicBezTo>
                    <a:pt x="3" y="11"/>
                    <a:pt x="4" y="8"/>
                    <a:pt x="5" y="5"/>
                  </a:cubicBezTo>
                  <a:cubicBezTo>
                    <a:pt x="5" y="4"/>
                    <a:pt x="5" y="4"/>
                    <a:pt x="5" y="4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45" name="Freeform 7305"/>
            <p:cNvSpPr>
              <a:spLocks/>
            </p:cNvSpPr>
            <p:nvPr/>
          </p:nvSpPr>
          <p:spPr bwMode="auto">
            <a:xfrm>
              <a:off x="5423" y="2843"/>
              <a:ext cx="1" cy="1"/>
            </a:xfrm>
            <a:custGeom>
              <a:avLst/>
              <a:gdLst>
                <a:gd name="T0" fmla="*/ 0 w 1"/>
                <a:gd name="T1" fmla="*/ 1 h 1"/>
                <a:gd name="T2" fmla="*/ 1 w 1"/>
                <a:gd name="T3" fmla="*/ 0 h 1"/>
                <a:gd name="T4" fmla="*/ 0 w 1"/>
                <a:gd name="T5" fmla="*/ 0 h 1"/>
                <a:gd name="T6" fmla="*/ 0 w 1"/>
                <a:gd name="T7" fmla="*/ 1 h 1"/>
                <a:gd name="T8" fmla="*/ 0 w 1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1" y="1"/>
                    <a:pt x="1" y="1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46" name="Freeform 7306"/>
            <p:cNvSpPr>
              <a:spLocks/>
            </p:cNvSpPr>
            <p:nvPr/>
          </p:nvSpPr>
          <p:spPr bwMode="auto">
            <a:xfrm>
              <a:off x="5408" y="2860"/>
              <a:ext cx="4" cy="4"/>
            </a:xfrm>
            <a:custGeom>
              <a:avLst/>
              <a:gdLst>
                <a:gd name="T0" fmla="*/ 3 w 3"/>
                <a:gd name="T1" fmla="*/ 4 h 4"/>
                <a:gd name="T2" fmla="*/ 3 w 3"/>
                <a:gd name="T3" fmla="*/ 0 h 4"/>
                <a:gd name="T4" fmla="*/ 0 w 3"/>
                <a:gd name="T5" fmla="*/ 0 h 4"/>
                <a:gd name="T6" fmla="*/ 3 w 3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4">
                  <a:moveTo>
                    <a:pt x="3" y="4"/>
                  </a:moveTo>
                  <a:cubicBezTo>
                    <a:pt x="3" y="2"/>
                    <a:pt x="3" y="1"/>
                    <a:pt x="3" y="0"/>
                  </a:cubicBezTo>
                  <a:cubicBezTo>
                    <a:pt x="2" y="0"/>
                    <a:pt x="1" y="0"/>
                    <a:pt x="0" y="0"/>
                  </a:cubicBezTo>
                  <a:cubicBezTo>
                    <a:pt x="1" y="1"/>
                    <a:pt x="2" y="3"/>
                    <a:pt x="3" y="4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47" name="Freeform 7307"/>
            <p:cNvSpPr>
              <a:spLocks/>
            </p:cNvSpPr>
            <p:nvPr/>
          </p:nvSpPr>
          <p:spPr bwMode="auto">
            <a:xfrm>
              <a:off x="5358" y="2852"/>
              <a:ext cx="2" cy="4"/>
            </a:xfrm>
            <a:custGeom>
              <a:avLst/>
              <a:gdLst>
                <a:gd name="T0" fmla="*/ 1 w 1"/>
                <a:gd name="T1" fmla="*/ 3 h 3"/>
                <a:gd name="T2" fmla="*/ 1 w 1"/>
                <a:gd name="T3" fmla="*/ 3 h 3"/>
                <a:gd name="T4" fmla="*/ 1 w 1"/>
                <a:gd name="T5" fmla="*/ 2 h 3"/>
                <a:gd name="T6" fmla="*/ 0 w 1"/>
                <a:gd name="T7" fmla="*/ 1 h 3"/>
                <a:gd name="T8" fmla="*/ 0 w 1"/>
                <a:gd name="T9" fmla="*/ 0 h 3"/>
                <a:gd name="T10" fmla="*/ 1 w 1"/>
                <a:gd name="T11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" h="3">
                  <a:moveTo>
                    <a:pt x="1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2"/>
                    <a:pt x="1" y="2"/>
                  </a:cubicBezTo>
                  <a:cubicBezTo>
                    <a:pt x="1" y="2"/>
                    <a:pt x="1" y="2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1" y="1"/>
                    <a:pt x="1" y="2"/>
                    <a:pt x="1" y="3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48" name="Freeform 7308"/>
            <p:cNvSpPr>
              <a:spLocks/>
            </p:cNvSpPr>
            <p:nvPr/>
          </p:nvSpPr>
          <p:spPr bwMode="auto">
            <a:xfrm>
              <a:off x="5365" y="2830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49" name="Freeform 7309"/>
            <p:cNvSpPr>
              <a:spLocks/>
            </p:cNvSpPr>
            <p:nvPr/>
          </p:nvSpPr>
          <p:spPr bwMode="auto">
            <a:xfrm>
              <a:off x="5360" y="2809"/>
              <a:ext cx="5" cy="6"/>
            </a:xfrm>
            <a:custGeom>
              <a:avLst/>
              <a:gdLst>
                <a:gd name="T0" fmla="*/ 0 w 4"/>
                <a:gd name="T1" fmla="*/ 0 h 5"/>
                <a:gd name="T2" fmla="*/ 3 w 4"/>
                <a:gd name="T3" fmla="*/ 5 h 5"/>
                <a:gd name="T4" fmla="*/ 4 w 4"/>
                <a:gd name="T5" fmla="*/ 5 h 5"/>
                <a:gd name="T6" fmla="*/ 0 w 4"/>
                <a:gd name="T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5">
                  <a:moveTo>
                    <a:pt x="0" y="0"/>
                  </a:moveTo>
                  <a:cubicBezTo>
                    <a:pt x="2" y="1"/>
                    <a:pt x="3" y="3"/>
                    <a:pt x="3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2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50" name="Freeform 7310"/>
            <p:cNvSpPr>
              <a:spLocks/>
            </p:cNvSpPr>
            <p:nvPr/>
          </p:nvSpPr>
          <p:spPr bwMode="auto">
            <a:xfrm>
              <a:off x="5363" y="2816"/>
              <a:ext cx="5" cy="8"/>
            </a:xfrm>
            <a:custGeom>
              <a:avLst/>
              <a:gdLst>
                <a:gd name="T0" fmla="*/ 4 w 4"/>
                <a:gd name="T1" fmla="*/ 7 h 7"/>
                <a:gd name="T2" fmla="*/ 2 w 4"/>
                <a:gd name="T3" fmla="*/ 0 h 7"/>
                <a:gd name="T4" fmla="*/ 0 w 4"/>
                <a:gd name="T5" fmla="*/ 0 h 7"/>
                <a:gd name="T6" fmla="*/ 1 w 4"/>
                <a:gd name="T7" fmla="*/ 7 h 7"/>
                <a:gd name="T8" fmla="*/ 4 w 4"/>
                <a:gd name="T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7">
                  <a:moveTo>
                    <a:pt x="4" y="7"/>
                  </a:moveTo>
                  <a:cubicBezTo>
                    <a:pt x="3" y="4"/>
                    <a:pt x="2" y="2"/>
                    <a:pt x="2" y="0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1" y="2"/>
                    <a:pt x="1" y="4"/>
                    <a:pt x="1" y="7"/>
                  </a:cubicBezTo>
                  <a:cubicBezTo>
                    <a:pt x="1" y="7"/>
                    <a:pt x="2" y="7"/>
                    <a:pt x="4" y="7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51" name="Freeform 7311"/>
            <p:cNvSpPr>
              <a:spLocks/>
            </p:cNvSpPr>
            <p:nvPr/>
          </p:nvSpPr>
          <p:spPr bwMode="auto">
            <a:xfrm>
              <a:off x="5365" y="2832"/>
              <a:ext cx="3" cy="9"/>
            </a:xfrm>
            <a:custGeom>
              <a:avLst/>
              <a:gdLst>
                <a:gd name="T0" fmla="*/ 3 w 3"/>
                <a:gd name="T1" fmla="*/ 5 h 8"/>
                <a:gd name="T2" fmla="*/ 2 w 3"/>
                <a:gd name="T3" fmla="*/ 8 h 8"/>
                <a:gd name="T4" fmla="*/ 0 w 3"/>
                <a:gd name="T5" fmla="*/ 1 h 8"/>
                <a:gd name="T6" fmla="*/ 0 w 3"/>
                <a:gd name="T7" fmla="*/ 0 h 8"/>
                <a:gd name="T8" fmla="*/ 1 w 3"/>
                <a:gd name="T9" fmla="*/ 0 h 8"/>
                <a:gd name="T10" fmla="*/ 3 w 3"/>
                <a:gd name="T11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8">
                  <a:moveTo>
                    <a:pt x="3" y="5"/>
                  </a:moveTo>
                  <a:cubicBezTo>
                    <a:pt x="3" y="6"/>
                    <a:pt x="2" y="7"/>
                    <a:pt x="2" y="8"/>
                  </a:cubicBezTo>
                  <a:cubicBezTo>
                    <a:pt x="2" y="8"/>
                    <a:pt x="1" y="5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2" y="1"/>
                    <a:pt x="3" y="3"/>
                    <a:pt x="3" y="5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52" name="Freeform 7312"/>
            <p:cNvSpPr>
              <a:spLocks/>
            </p:cNvSpPr>
            <p:nvPr/>
          </p:nvSpPr>
          <p:spPr bwMode="auto">
            <a:xfrm>
              <a:off x="5355" y="2863"/>
              <a:ext cx="6" cy="11"/>
            </a:xfrm>
            <a:custGeom>
              <a:avLst/>
              <a:gdLst>
                <a:gd name="T0" fmla="*/ 5 w 5"/>
                <a:gd name="T1" fmla="*/ 0 h 9"/>
                <a:gd name="T2" fmla="*/ 3 w 5"/>
                <a:gd name="T3" fmla="*/ 9 h 9"/>
                <a:gd name="T4" fmla="*/ 0 w 5"/>
                <a:gd name="T5" fmla="*/ 9 h 9"/>
                <a:gd name="T6" fmla="*/ 5 w 5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9">
                  <a:moveTo>
                    <a:pt x="5" y="0"/>
                  </a:moveTo>
                  <a:cubicBezTo>
                    <a:pt x="5" y="3"/>
                    <a:pt x="4" y="6"/>
                    <a:pt x="3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2" y="4"/>
                    <a:pt x="5" y="0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53" name="Freeform 7313"/>
            <p:cNvSpPr>
              <a:spLocks/>
            </p:cNvSpPr>
            <p:nvPr/>
          </p:nvSpPr>
          <p:spPr bwMode="auto">
            <a:xfrm>
              <a:off x="5361" y="2856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54" name="Freeform 7314"/>
            <p:cNvSpPr>
              <a:spLocks/>
            </p:cNvSpPr>
            <p:nvPr/>
          </p:nvSpPr>
          <p:spPr bwMode="auto">
            <a:xfrm>
              <a:off x="5368" y="2830"/>
              <a:ext cx="0" cy="2"/>
            </a:xfrm>
            <a:custGeom>
              <a:avLst/>
              <a:gdLst>
                <a:gd name="T0" fmla="*/ 0 h 1"/>
                <a:gd name="T1" fmla="*/ 0 h 1"/>
                <a:gd name="T2" fmla="*/ 1 h 1"/>
                <a:gd name="T3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55" name="Freeform 7315"/>
            <p:cNvSpPr>
              <a:spLocks/>
            </p:cNvSpPr>
            <p:nvPr/>
          </p:nvSpPr>
          <p:spPr bwMode="auto">
            <a:xfrm>
              <a:off x="5356" y="2857"/>
              <a:ext cx="2" cy="4"/>
            </a:xfrm>
            <a:custGeom>
              <a:avLst/>
              <a:gdLst>
                <a:gd name="T0" fmla="*/ 2 w 2"/>
                <a:gd name="T1" fmla="*/ 1 h 3"/>
                <a:gd name="T2" fmla="*/ 2 w 2"/>
                <a:gd name="T3" fmla="*/ 1 h 3"/>
                <a:gd name="T4" fmla="*/ 0 w 2"/>
                <a:gd name="T5" fmla="*/ 3 h 3"/>
                <a:gd name="T6" fmla="*/ 1 w 2"/>
                <a:gd name="T7" fmla="*/ 0 h 3"/>
                <a:gd name="T8" fmla="*/ 2 w 2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3">
                  <a:moveTo>
                    <a:pt x="2" y="1"/>
                  </a:move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2"/>
                    <a:pt x="0" y="3"/>
                  </a:cubicBezTo>
                  <a:cubicBezTo>
                    <a:pt x="0" y="3"/>
                    <a:pt x="0" y="2"/>
                    <a:pt x="1" y="0"/>
                  </a:cubicBezTo>
                  <a:cubicBezTo>
                    <a:pt x="1" y="0"/>
                    <a:pt x="2" y="0"/>
                    <a:pt x="2" y="1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56" name="Freeform 7316"/>
            <p:cNvSpPr>
              <a:spLocks/>
            </p:cNvSpPr>
            <p:nvPr/>
          </p:nvSpPr>
          <p:spPr bwMode="auto">
            <a:xfrm>
              <a:off x="5365" y="2824"/>
              <a:ext cx="3" cy="6"/>
            </a:xfrm>
            <a:custGeom>
              <a:avLst/>
              <a:gdLst>
                <a:gd name="T0" fmla="*/ 2 w 3"/>
                <a:gd name="T1" fmla="*/ 5 h 5"/>
                <a:gd name="T2" fmla="*/ 3 w 3"/>
                <a:gd name="T3" fmla="*/ 5 h 5"/>
                <a:gd name="T4" fmla="*/ 3 w 3"/>
                <a:gd name="T5" fmla="*/ 2 h 5"/>
                <a:gd name="T6" fmla="*/ 2 w 3"/>
                <a:gd name="T7" fmla="*/ 0 h 5"/>
                <a:gd name="T8" fmla="*/ 3 w 3"/>
                <a:gd name="T9" fmla="*/ 1 h 5"/>
                <a:gd name="T10" fmla="*/ 3 w 3"/>
                <a:gd name="T11" fmla="*/ 1 h 5"/>
                <a:gd name="T12" fmla="*/ 0 w 3"/>
                <a:gd name="T13" fmla="*/ 0 h 5"/>
                <a:gd name="T14" fmla="*/ 0 w 3"/>
                <a:gd name="T15" fmla="*/ 3 h 5"/>
                <a:gd name="T16" fmla="*/ 2 w 3"/>
                <a:gd name="T1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" h="5">
                  <a:moveTo>
                    <a:pt x="2" y="5"/>
                  </a:moveTo>
                  <a:cubicBezTo>
                    <a:pt x="3" y="5"/>
                    <a:pt x="3" y="5"/>
                    <a:pt x="3" y="5"/>
                  </a:cubicBezTo>
                  <a:cubicBezTo>
                    <a:pt x="3" y="4"/>
                    <a:pt x="3" y="3"/>
                    <a:pt x="3" y="2"/>
                  </a:cubicBezTo>
                  <a:cubicBezTo>
                    <a:pt x="2" y="1"/>
                    <a:pt x="2" y="0"/>
                    <a:pt x="2" y="0"/>
                  </a:cubicBezTo>
                  <a:cubicBezTo>
                    <a:pt x="2" y="0"/>
                    <a:pt x="2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0"/>
                    <a:pt x="1" y="0"/>
                    <a:pt x="0" y="0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1" y="3"/>
                    <a:pt x="2" y="4"/>
                    <a:pt x="2" y="5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57" name="Freeform 7317"/>
            <p:cNvSpPr>
              <a:spLocks/>
            </p:cNvSpPr>
            <p:nvPr/>
          </p:nvSpPr>
          <p:spPr bwMode="auto">
            <a:xfrm>
              <a:off x="5357" y="2854"/>
              <a:ext cx="1" cy="2"/>
            </a:xfrm>
            <a:custGeom>
              <a:avLst/>
              <a:gdLst>
                <a:gd name="T0" fmla="*/ 1 w 1"/>
                <a:gd name="T1" fmla="*/ 2 h 2"/>
                <a:gd name="T2" fmla="*/ 0 w 1"/>
                <a:gd name="T3" fmla="*/ 1 h 2"/>
                <a:gd name="T4" fmla="*/ 1 w 1"/>
                <a:gd name="T5" fmla="*/ 0 h 2"/>
                <a:gd name="T6" fmla="*/ 1 w 1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2">
                  <a:moveTo>
                    <a:pt x="1" y="2"/>
                  </a:moveTo>
                  <a:cubicBezTo>
                    <a:pt x="1" y="2"/>
                    <a:pt x="0" y="2"/>
                    <a:pt x="0" y="1"/>
                  </a:cubicBezTo>
                  <a:cubicBezTo>
                    <a:pt x="0" y="1"/>
                    <a:pt x="0" y="1"/>
                    <a:pt x="1" y="0"/>
                  </a:cubicBezTo>
                  <a:cubicBezTo>
                    <a:pt x="1" y="1"/>
                    <a:pt x="1" y="1"/>
                    <a:pt x="1" y="2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58" name="Freeform 7318"/>
            <p:cNvSpPr>
              <a:spLocks/>
            </p:cNvSpPr>
            <p:nvPr/>
          </p:nvSpPr>
          <p:spPr bwMode="auto">
            <a:xfrm>
              <a:off x="5367" y="2830"/>
              <a:ext cx="1" cy="0"/>
            </a:xfrm>
            <a:custGeom>
              <a:avLst/>
              <a:gdLst>
                <a:gd name="T0" fmla="*/ 1 w 1"/>
                <a:gd name="T1" fmla="*/ 1 w 1"/>
                <a:gd name="T2" fmla="*/ 0 w 1"/>
                <a:gd name="T3" fmla="*/ 1 w 1"/>
                <a:gd name="T4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59" name="Freeform 7319"/>
            <p:cNvSpPr>
              <a:spLocks/>
            </p:cNvSpPr>
            <p:nvPr/>
          </p:nvSpPr>
          <p:spPr bwMode="auto">
            <a:xfrm>
              <a:off x="5365" y="2830"/>
              <a:ext cx="1" cy="2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  <a:gd name="T4" fmla="*/ 0 w 1"/>
                <a:gd name="T5" fmla="*/ 1 h 1"/>
                <a:gd name="T6" fmla="*/ 1 w 1"/>
                <a:gd name="T7" fmla="*/ 1 h 1"/>
                <a:gd name="T8" fmla="*/ 0 w 1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0" y="1"/>
                    <a:pt x="1" y="1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60" name="Freeform 7320"/>
            <p:cNvSpPr>
              <a:spLocks/>
            </p:cNvSpPr>
            <p:nvPr/>
          </p:nvSpPr>
          <p:spPr bwMode="auto">
            <a:xfrm>
              <a:off x="5355" y="2832"/>
              <a:ext cx="2" cy="1"/>
            </a:xfrm>
            <a:custGeom>
              <a:avLst/>
              <a:gdLst>
                <a:gd name="T0" fmla="*/ 2 w 2"/>
                <a:gd name="T1" fmla="*/ 1 h 1"/>
                <a:gd name="T2" fmla="*/ 0 w 2"/>
                <a:gd name="T3" fmla="*/ 1 h 1"/>
                <a:gd name="T4" fmla="*/ 0 w 2"/>
                <a:gd name="T5" fmla="*/ 1 h 1"/>
                <a:gd name="T6" fmla="*/ 2 w 2"/>
                <a:gd name="T7" fmla="*/ 0 h 1"/>
                <a:gd name="T8" fmla="*/ 2 w 2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1">
                  <a:moveTo>
                    <a:pt x="2" y="1"/>
                  </a:moveTo>
                  <a:cubicBezTo>
                    <a:pt x="1" y="1"/>
                    <a:pt x="1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0"/>
                    <a:pt x="2" y="0"/>
                    <a:pt x="2" y="0"/>
                  </a:cubicBezTo>
                  <a:cubicBezTo>
                    <a:pt x="2" y="0"/>
                    <a:pt x="2" y="1"/>
                    <a:pt x="2" y="1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61" name="Freeform 7321"/>
            <p:cNvSpPr>
              <a:spLocks/>
            </p:cNvSpPr>
            <p:nvPr/>
          </p:nvSpPr>
          <p:spPr bwMode="auto">
            <a:xfrm>
              <a:off x="5358" y="2856"/>
              <a:ext cx="3" cy="2"/>
            </a:xfrm>
            <a:custGeom>
              <a:avLst/>
              <a:gdLst>
                <a:gd name="T0" fmla="*/ 2 w 2"/>
                <a:gd name="T1" fmla="*/ 1 h 2"/>
                <a:gd name="T2" fmla="*/ 0 w 2"/>
                <a:gd name="T3" fmla="*/ 2 h 2"/>
                <a:gd name="T4" fmla="*/ 0 w 2"/>
                <a:gd name="T5" fmla="*/ 2 h 2"/>
                <a:gd name="T6" fmla="*/ 0 w 2"/>
                <a:gd name="T7" fmla="*/ 0 h 2"/>
                <a:gd name="T8" fmla="*/ 2 w 2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2" y="1"/>
                  </a:moveTo>
                  <a:cubicBezTo>
                    <a:pt x="1" y="1"/>
                    <a:pt x="1" y="1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1" y="0"/>
                    <a:pt x="1" y="0"/>
                    <a:pt x="2" y="1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62" name="Freeform 7322"/>
            <p:cNvSpPr>
              <a:spLocks/>
            </p:cNvSpPr>
            <p:nvPr/>
          </p:nvSpPr>
          <p:spPr bwMode="auto">
            <a:xfrm>
              <a:off x="5357" y="2855"/>
              <a:ext cx="1" cy="3"/>
            </a:xfrm>
            <a:custGeom>
              <a:avLst/>
              <a:gdLst>
                <a:gd name="T0" fmla="*/ 1 w 1"/>
                <a:gd name="T1" fmla="*/ 3 h 3"/>
                <a:gd name="T2" fmla="*/ 0 w 1"/>
                <a:gd name="T3" fmla="*/ 2 h 3"/>
                <a:gd name="T4" fmla="*/ 0 w 1"/>
                <a:gd name="T5" fmla="*/ 0 h 3"/>
                <a:gd name="T6" fmla="*/ 1 w 1"/>
                <a:gd name="T7" fmla="*/ 1 h 3"/>
                <a:gd name="T8" fmla="*/ 1 w 1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3">
                  <a:moveTo>
                    <a:pt x="1" y="3"/>
                  </a:move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1"/>
                    <a:pt x="0" y="0"/>
                  </a:cubicBezTo>
                  <a:cubicBezTo>
                    <a:pt x="0" y="1"/>
                    <a:pt x="1" y="1"/>
                    <a:pt x="1" y="1"/>
                  </a:cubicBezTo>
                  <a:cubicBezTo>
                    <a:pt x="1" y="1"/>
                    <a:pt x="1" y="2"/>
                    <a:pt x="1" y="3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63" name="Freeform 7323"/>
            <p:cNvSpPr>
              <a:spLocks/>
            </p:cNvSpPr>
            <p:nvPr/>
          </p:nvSpPr>
          <p:spPr bwMode="auto">
            <a:xfrm>
              <a:off x="5451" y="2823"/>
              <a:ext cx="6" cy="16"/>
            </a:xfrm>
            <a:custGeom>
              <a:avLst/>
              <a:gdLst>
                <a:gd name="T0" fmla="*/ 2 w 5"/>
                <a:gd name="T1" fmla="*/ 11 h 13"/>
                <a:gd name="T2" fmla="*/ 5 w 5"/>
                <a:gd name="T3" fmla="*/ 13 h 13"/>
                <a:gd name="T4" fmla="*/ 2 w 5"/>
                <a:gd name="T5" fmla="*/ 0 h 13"/>
                <a:gd name="T6" fmla="*/ 0 w 5"/>
                <a:gd name="T7" fmla="*/ 3 h 13"/>
                <a:gd name="T8" fmla="*/ 1 w 5"/>
                <a:gd name="T9" fmla="*/ 5 h 13"/>
                <a:gd name="T10" fmla="*/ 2 w 5"/>
                <a:gd name="T11" fmla="*/ 1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13">
                  <a:moveTo>
                    <a:pt x="2" y="11"/>
                  </a:moveTo>
                  <a:cubicBezTo>
                    <a:pt x="4" y="12"/>
                    <a:pt x="5" y="13"/>
                    <a:pt x="5" y="13"/>
                  </a:cubicBezTo>
                  <a:cubicBezTo>
                    <a:pt x="4" y="8"/>
                    <a:pt x="3" y="3"/>
                    <a:pt x="2" y="0"/>
                  </a:cubicBezTo>
                  <a:cubicBezTo>
                    <a:pt x="1" y="1"/>
                    <a:pt x="1" y="2"/>
                    <a:pt x="0" y="3"/>
                  </a:cubicBezTo>
                  <a:cubicBezTo>
                    <a:pt x="0" y="4"/>
                    <a:pt x="1" y="4"/>
                    <a:pt x="1" y="5"/>
                  </a:cubicBezTo>
                  <a:cubicBezTo>
                    <a:pt x="1" y="6"/>
                    <a:pt x="2" y="9"/>
                    <a:pt x="2" y="11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64" name="Freeform 7324"/>
            <p:cNvSpPr>
              <a:spLocks/>
            </p:cNvSpPr>
            <p:nvPr/>
          </p:nvSpPr>
          <p:spPr bwMode="auto">
            <a:xfrm>
              <a:off x="5447" y="2852"/>
              <a:ext cx="2" cy="4"/>
            </a:xfrm>
            <a:custGeom>
              <a:avLst/>
              <a:gdLst>
                <a:gd name="T0" fmla="*/ 1 w 1"/>
                <a:gd name="T1" fmla="*/ 0 h 3"/>
                <a:gd name="T2" fmla="*/ 0 w 1"/>
                <a:gd name="T3" fmla="*/ 0 h 3"/>
                <a:gd name="T4" fmla="*/ 0 w 1"/>
                <a:gd name="T5" fmla="*/ 3 h 3"/>
                <a:gd name="T6" fmla="*/ 1 w 1"/>
                <a:gd name="T7" fmla="*/ 3 h 3"/>
                <a:gd name="T8" fmla="*/ 1 w 1"/>
                <a:gd name="T9" fmla="*/ 1 h 3"/>
                <a:gd name="T10" fmla="*/ 1 w 1"/>
                <a:gd name="T11" fmla="*/ 1 h 3"/>
                <a:gd name="T12" fmla="*/ 1 w 1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" h="3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0" y="3"/>
                    <a:pt x="1" y="3"/>
                    <a:pt x="1" y="3"/>
                  </a:cubicBezTo>
                  <a:cubicBezTo>
                    <a:pt x="1" y="3"/>
                    <a:pt x="1" y="2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65" name="Freeform 7325"/>
            <p:cNvSpPr>
              <a:spLocks/>
            </p:cNvSpPr>
            <p:nvPr/>
          </p:nvSpPr>
          <p:spPr bwMode="auto">
            <a:xfrm>
              <a:off x="5449" y="2854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66" name="Freeform 7326"/>
            <p:cNvSpPr>
              <a:spLocks/>
            </p:cNvSpPr>
            <p:nvPr/>
          </p:nvSpPr>
          <p:spPr bwMode="auto">
            <a:xfrm>
              <a:off x="5456" y="2857"/>
              <a:ext cx="1" cy="4"/>
            </a:xfrm>
            <a:custGeom>
              <a:avLst/>
              <a:gdLst>
                <a:gd name="T0" fmla="*/ 0 w 1"/>
                <a:gd name="T1" fmla="*/ 3 h 3"/>
                <a:gd name="T2" fmla="*/ 1 w 1"/>
                <a:gd name="T3" fmla="*/ 2 h 3"/>
                <a:gd name="T4" fmla="*/ 0 w 1"/>
                <a:gd name="T5" fmla="*/ 0 h 3"/>
                <a:gd name="T6" fmla="*/ 0 w 1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3">
                  <a:moveTo>
                    <a:pt x="0" y="3"/>
                  </a:moveTo>
                  <a:cubicBezTo>
                    <a:pt x="0" y="3"/>
                    <a:pt x="0" y="3"/>
                    <a:pt x="1" y="2"/>
                  </a:cubicBezTo>
                  <a:cubicBezTo>
                    <a:pt x="1" y="1"/>
                    <a:pt x="0" y="1"/>
                    <a:pt x="0" y="0"/>
                  </a:cubicBezTo>
                  <a:cubicBezTo>
                    <a:pt x="0" y="1"/>
                    <a:pt x="0" y="2"/>
                    <a:pt x="0" y="3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67" name="Freeform 7327"/>
            <p:cNvSpPr>
              <a:spLocks/>
            </p:cNvSpPr>
            <p:nvPr/>
          </p:nvSpPr>
          <p:spPr bwMode="auto">
            <a:xfrm>
              <a:off x="5435" y="2804"/>
              <a:ext cx="17" cy="19"/>
            </a:xfrm>
            <a:custGeom>
              <a:avLst/>
              <a:gdLst>
                <a:gd name="T0" fmla="*/ 1 w 14"/>
                <a:gd name="T1" fmla="*/ 1 h 16"/>
                <a:gd name="T2" fmla="*/ 13 w 14"/>
                <a:gd name="T3" fmla="*/ 16 h 16"/>
                <a:gd name="T4" fmla="*/ 14 w 14"/>
                <a:gd name="T5" fmla="*/ 14 h 16"/>
                <a:gd name="T6" fmla="*/ 1 w 14"/>
                <a:gd name="T7" fmla="*/ 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16">
                  <a:moveTo>
                    <a:pt x="1" y="1"/>
                  </a:moveTo>
                  <a:cubicBezTo>
                    <a:pt x="7" y="4"/>
                    <a:pt x="11" y="10"/>
                    <a:pt x="13" y="16"/>
                  </a:cubicBezTo>
                  <a:cubicBezTo>
                    <a:pt x="13" y="16"/>
                    <a:pt x="13" y="15"/>
                    <a:pt x="14" y="14"/>
                  </a:cubicBezTo>
                  <a:cubicBezTo>
                    <a:pt x="8" y="2"/>
                    <a:pt x="0" y="0"/>
                    <a:pt x="1" y="1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68" name="Freeform 7328"/>
            <p:cNvSpPr>
              <a:spLocks/>
            </p:cNvSpPr>
            <p:nvPr/>
          </p:nvSpPr>
          <p:spPr bwMode="auto">
            <a:xfrm>
              <a:off x="5453" y="2779"/>
              <a:ext cx="25" cy="81"/>
            </a:xfrm>
            <a:custGeom>
              <a:avLst/>
              <a:gdLst>
                <a:gd name="T0" fmla="*/ 11 w 20"/>
                <a:gd name="T1" fmla="*/ 22 h 66"/>
                <a:gd name="T2" fmla="*/ 4 w 20"/>
                <a:gd name="T3" fmla="*/ 62 h 66"/>
                <a:gd name="T4" fmla="*/ 3 w 20"/>
                <a:gd name="T5" fmla="*/ 49 h 66"/>
                <a:gd name="T6" fmla="*/ 0 w 20"/>
                <a:gd name="T7" fmla="*/ 47 h 66"/>
                <a:gd name="T8" fmla="*/ 2 w 20"/>
                <a:gd name="T9" fmla="*/ 64 h 66"/>
                <a:gd name="T10" fmla="*/ 3 w 20"/>
                <a:gd name="T11" fmla="*/ 66 h 66"/>
                <a:gd name="T12" fmla="*/ 10 w 20"/>
                <a:gd name="T13" fmla="*/ 60 h 66"/>
                <a:gd name="T14" fmla="*/ 5 w 20"/>
                <a:gd name="T15" fmla="*/ 0 h 66"/>
                <a:gd name="T16" fmla="*/ 11 w 20"/>
                <a:gd name="T17" fmla="*/ 22 h 66"/>
                <a:gd name="T18" fmla="*/ 13 w 20"/>
                <a:gd name="T19" fmla="*/ 22 h 66"/>
                <a:gd name="T20" fmla="*/ 11 w 20"/>
                <a:gd name="T21" fmla="*/ 22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66">
                  <a:moveTo>
                    <a:pt x="11" y="22"/>
                  </a:moveTo>
                  <a:cubicBezTo>
                    <a:pt x="11" y="40"/>
                    <a:pt x="4" y="62"/>
                    <a:pt x="4" y="62"/>
                  </a:cubicBezTo>
                  <a:cubicBezTo>
                    <a:pt x="4" y="57"/>
                    <a:pt x="4" y="53"/>
                    <a:pt x="3" y="49"/>
                  </a:cubicBezTo>
                  <a:cubicBezTo>
                    <a:pt x="2" y="49"/>
                    <a:pt x="1" y="48"/>
                    <a:pt x="0" y="47"/>
                  </a:cubicBezTo>
                  <a:cubicBezTo>
                    <a:pt x="1" y="52"/>
                    <a:pt x="1" y="57"/>
                    <a:pt x="2" y="64"/>
                  </a:cubicBezTo>
                  <a:cubicBezTo>
                    <a:pt x="2" y="64"/>
                    <a:pt x="3" y="65"/>
                    <a:pt x="3" y="66"/>
                  </a:cubicBezTo>
                  <a:cubicBezTo>
                    <a:pt x="4" y="64"/>
                    <a:pt x="7" y="61"/>
                    <a:pt x="10" y="60"/>
                  </a:cubicBezTo>
                  <a:cubicBezTo>
                    <a:pt x="20" y="0"/>
                    <a:pt x="5" y="0"/>
                    <a:pt x="5" y="0"/>
                  </a:cubicBezTo>
                  <a:cubicBezTo>
                    <a:pt x="10" y="4"/>
                    <a:pt x="11" y="12"/>
                    <a:pt x="11" y="22"/>
                  </a:cubicBezTo>
                  <a:cubicBezTo>
                    <a:pt x="12" y="22"/>
                    <a:pt x="12" y="22"/>
                    <a:pt x="13" y="22"/>
                  </a:cubicBezTo>
                  <a:cubicBezTo>
                    <a:pt x="13" y="22"/>
                    <a:pt x="12" y="22"/>
                    <a:pt x="11" y="22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69" name="Freeform 7329"/>
            <p:cNvSpPr>
              <a:spLocks/>
            </p:cNvSpPr>
            <p:nvPr/>
          </p:nvSpPr>
          <p:spPr bwMode="auto">
            <a:xfrm>
              <a:off x="5457" y="2852"/>
              <a:ext cx="15" cy="22"/>
            </a:xfrm>
            <a:custGeom>
              <a:avLst/>
              <a:gdLst>
                <a:gd name="T0" fmla="*/ 7 w 12"/>
                <a:gd name="T1" fmla="*/ 3 h 18"/>
                <a:gd name="T2" fmla="*/ 7 w 12"/>
                <a:gd name="T3" fmla="*/ 3 h 18"/>
                <a:gd name="T4" fmla="*/ 0 w 12"/>
                <a:gd name="T5" fmla="*/ 18 h 18"/>
                <a:gd name="T6" fmla="*/ 10 w 12"/>
                <a:gd name="T7" fmla="*/ 18 h 18"/>
                <a:gd name="T8" fmla="*/ 12 w 12"/>
                <a:gd name="T9" fmla="*/ 0 h 18"/>
                <a:gd name="T10" fmla="*/ 7 w 12"/>
                <a:gd name="T11" fmla="*/ 3 h 18"/>
                <a:gd name="T12" fmla="*/ 7 w 12"/>
                <a:gd name="T13" fmla="*/ 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8">
                  <a:moveTo>
                    <a:pt x="7" y="3"/>
                  </a:moveTo>
                  <a:cubicBezTo>
                    <a:pt x="7" y="3"/>
                    <a:pt x="7" y="3"/>
                    <a:pt x="7" y="3"/>
                  </a:cubicBezTo>
                  <a:cubicBezTo>
                    <a:pt x="4" y="5"/>
                    <a:pt x="2" y="10"/>
                    <a:pt x="0" y="18"/>
                  </a:cubicBezTo>
                  <a:cubicBezTo>
                    <a:pt x="10" y="18"/>
                    <a:pt x="10" y="18"/>
                    <a:pt x="10" y="18"/>
                  </a:cubicBezTo>
                  <a:cubicBezTo>
                    <a:pt x="10" y="11"/>
                    <a:pt x="11" y="5"/>
                    <a:pt x="12" y="0"/>
                  </a:cubicBezTo>
                  <a:cubicBezTo>
                    <a:pt x="10" y="0"/>
                    <a:pt x="8" y="1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70" name="Freeform 7330"/>
            <p:cNvSpPr>
              <a:spLocks/>
            </p:cNvSpPr>
            <p:nvPr/>
          </p:nvSpPr>
          <p:spPr bwMode="auto">
            <a:xfrm>
              <a:off x="5441" y="2849"/>
              <a:ext cx="1" cy="2"/>
            </a:xfrm>
            <a:custGeom>
              <a:avLst/>
              <a:gdLst>
                <a:gd name="T0" fmla="*/ 0 w 1"/>
                <a:gd name="T1" fmla="*/ 2 h 2"/>
                <a:gd name="T2" fmla="*/ 0 w 1"/>
                <a:gd name="T3" fmla="*/ 2 h 2"/>
                <a:gd name="T4" fmla="*/ 1 w 1"/>
                <a:gd name="T5" fmla="*/ 1 h 2"/>
                <a:gd name="T6" fmla="*/ 0 w 1"/>
                <a:gd name="T7" fmla="*/ 0 h 2"/>
                <a:gd name="T8" fmla="*/ 0 w 1"/>
                <a:gd name="T9" fmla="*/ 0 h 2"/>
                <a:gd name="T10" fmla="*/ 0 w 1"/>
                <a:gd name="T11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" h="2">
                  <a:moveTo>
                    <a:pt x="0" y="2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1" y="1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71" name="Freeform 7331"/>
            <p:cNvSpPr>
              <a:spLocks/>
            </p:cNvSpPr>
            <p:nvPr/>
          </p:nvSpPr>
          <p:spPr bwMode="auto">
            <a:xfrm>
              <a:off x="5451" y="2821"/>
              <a:ext cx="2" cy="6"/>
            </a:xfrm>
            <a:custGeom>
              <a:avLst/>
              <a:gdLst>
                <a:gd name="T0" fmla="*/ 2 w 2"/>
                <a:gd name="T1" fmla="*/ 2 h 5"/>
                <a:gd name="T2" fmla="*/ 1 w 2"/>
                <a:gd name="T3" fmla="*/ 0 h 5"/>
                <a:gd name="T4" fmla="*/ 0 w 2"/>
                <a:gd name="T5" fmla="*/ 2 h 5"/>
                <a:gd name="T6" fmla="*/ 0 w 2"/>
                <a:gd name="T7" fmla="*/ 5 h 5"/>
                <a:gd name="T8" fmla="*/ 2 w 2"/>
                <a:gd name="T9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5">
                  <a:moveTo>
                    <a:pt x="2" y="2"/>
                  </a:moveTo>
                  <a:cubicBezTo>
                    <a:pt x="1" y="1"/>
                    <a:pt x="1" y="0"/>
                    <a:pt x="1" y="0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4"/>
                    <a:pt x="0" y="5"/>
                  </a:cubicBezTo>
                  <a:cubicBezTo>
                    <a:pt x="1" y="4"/>
                    <a:pt x="1" y="3"/>
                    <a:pt x="2" y="2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72" name="Freeform 7332"/>
            <p:cNvSpPr>
              <a:spLocks/>
            </p:cNvSpPr>
            <p:nvPr/>
          </p:nvSpPr>
          <p:spPr bwMode="auto">
            <a:xfrm>
              <a:off x="5439" y="2847"/>
              <a:ext cx="2" cy="4"/>
            </a:xfrm>
            <a:custGeom>
              <a:avLst/>
              <a:gdLst>
                <a:gd name="T0" fmla="*/ 0 w 2"/>
                <a:gd name="T1" fmla="*/ 0 h 3"/>
                <a:gd name="T2" fmla="*/ 0 w 2"/>
                <a:gd name="T3" fmla="*/ 0 h 3"/>
                <a:gd name="T4" fmla="*/ 1 w 2"/>
                <a:gd name="T5" fmla="*/ 2 h 3"/>
                <a:gd name="T6" fmla="*/ 2 w 2"/>
                <a:gd name="T7" fmla="*/ 3 h 3"/>
                <a:gd name="T8" fmla="*/ 2 w 2"/>
                <a:gd name="T9" fmla="*/ 1 h 3"/>
                <a:gd name="T10" fmla="*/ 0 w 2"/>
                <a:gd name="T11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3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2"/>
                    <a:pt x="1" y="2"/>
                  </a:cubicBezTo>
                  <a:cubicBezTo>
                    <a:pt x="1" y="2"/>
                    <a:pt x="2" y="3"/>
                    <a:pt x="2" y="3"/>
                  </a:cubicBezTo>
                  <a:cubicBezTo>
                    <a:pt x="2" y="2"/>
                    <a:pt x="2" y="1"/>
                    <a:pt x="2" y="1"/>
                  </a:cubicBezTo>
                  <a:cubicBezTo>
                    <a:pt x="1" y="0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73" name="Freeform 7333"/>
            <p:cNvSpPr>
              <a:spLocks/>
            </p:cNvSpPr>
            <p:nvPr/>
          </p:nvSpPr>
          <p:spPr bwMode="auto">
            <a:xfrm>
              <a:off x="5430" y="2846"/>
              <a:ext cx="6" cy="3"/>
            </a:xfrm>
            <a:custGeom>
              <a:avLst/>
              <a:gdLst>
                <a:gd name="T0" fmla="*/ 1 w 5"/>
                <a:gd name="T1" fmla="*/ 0 h 2"/>
                <a:gd name="T2" fmla="*/ 0 w 5"/>
                <a:gd name="T3" fmla="*/ 0 h 2"/>
                <a:gd name="T4" fmla="*/ 0 w 5"/>
                <a:gd name="T5" fmla="*/ 0 h 2"/>
                <a:gd name="T6" fmla="*/ 0 w 5"/>
                <a:gd name="T7" fmla="*/ 1 h 2"/>
                <a:gd name="T8" fmla="*/ 4 w 5"/>
                <a:gd name="T9" fmla="*/ 2 h 2"/>
                <a:gd name="T10" fmla="*/ 5 w 5"/>
                <a:gd name="T11" fmla="*/ 1 h 2"/>
                <a:gd name="T12" fmla="*/ 3 w 5"/>
                <a:gd name="T13" fmla="*/ 0 h 2"/>
                <a:gd name="T14" fmla="*/ 3 w 5"/>
                <a:gd name="T15" fmla="*/ 0 h 2"/>
                <a:gd name="T16" fmla="*/ 2 w 5"/>
                <a:gd name="T17" fmla="*/ 1 h 2"/>
                <a:gd name="T18" fmla="*/ 2 w 5"/>
                <a:gd name="T19" fmla="*/ 0 h 2"/>
                <a:gd name="T20" fmla="*/ 1 w 5"/>
                <a:gd name="T21" fmla="*/ 0 h 2"/>
                <a:gd name="T22" fmla="*/ 1 w 5"/>
                <a:gd name="T23" fmla="*/ 0 h 2"/>
                <a:gd name="T24" fmla="*/ 1 w 5"/>
                <a:gd name="T2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" h="2">
                  <a:moveTo>
                    <a:pt x="1" y="0"/>
                  </a:moveTo>
                  <a:cubicBezTo>
                    <a:pt x="1" y="0"/>
                    <a:pt x="1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2" y="1"/>
                    <a:pt x="3" y="1"/>
                    <a:pt x="4" y="2"/>
                  </a:cubicBezTo>
                  <a:cubicBezTo>
                    <a:pt x="4" y="2"/>
                    <a:pt x="4" y="1"/>
                    <a:pt x="5" y="1"/>
                  </a:cubicBezTo>
                  <a:cubicBezTo>
                    <a:pt x="4" y="1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2" y="0"/>
                    <a:pt x="2" y="1"/>
                  </a:cubicBezTo>
                  <a:cubicBezTo>
                    <a:pt x="2" y="1"/>
                    <a:pt x="2" y="1"/>
                    <a:pt x="2" y="0"/>
                  </a:cubicBezTo>
                  <a:cubicBezTo>
                    <a:pt x="2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74" name="Freeform 7334"/>
            <p:cNvSpPr>
              <a:spLocks/>
            </p:cNvSpPr>
            <p:nvPr/>
          </p:nvSpPr>
          <p:spPr bwMode="auto">
            <a:xfrm>
              <a:off x="5441" y="2850"/>
              <a:ext cx="1" cy="1"/>
            </a:xfrm>
            <a:custGeom>
              <a:avLst/>
              <a:gdLst>
                <a:gd name="T0" fmla="*/ 1 w 1"/>
                <a:gd name="T1" fmla="*/ 0 h 1"/>
                <a:gd name="T2" fmla="*/ 0 w 1"/>
                <a:gd name="T3" fmla="*/ 1 h 1"/>
                <a:gd name="T4" fmla="*/ 1 w 1"/>
                <a:gd name="T5" fmla="*/ 1 h 1"/>
                <a:gd name="T6" fmla="*/ 1 w 1"/>
                <a:gd name="T7" fmla="*/ 1 h 1"/>
                <a:gd name="T8" fmla="*/ 1 w 1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1" y="0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75" name="Freeform 7335"/>
            <p:cNvSpPr>
              <a:spLocks/>
            </p:cNvSpPr>
            <p:nvPr/>
          </p:nvSpPr>
          <p:spPr bwMode="auto">
            <a:xfrm>
              <a:off x="5453" y="2836"/>
              <a:ext cx="4" cy="3"/>
            </a:xfrm>
            <a:custGeom>
              <a:avLst/>
              <a:gdLst>
                <a:gd name="T0" fmla="*/ 0 w 3"/>
                <a:gd name="T1" fmla="*/ 0 h 2"/>
                <a:gd name="T2" fmla="*/ 0 w 3"/>
                <a:gd name="T3" fmla="*/ 0 h 2"/>
                <a:gd name="T4" fmla="*/ 3 w 3"/>
                <a:gd name="T5" fmla="*/ 2 h 2"/>
                <a:gd name="T6" fmla="*/ 3 w 3"/>
                <a:gd name="T7" fmla="*/ 2 h 2"/>
                <a:gd name="T8" fmla="*/ 0 w 3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2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1"/>
                    <a:pt x="2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76" name="Freeform 7336"/>
            <p:cNvSpPr>
              <a:spLocks/>
            </p:cNvSpPr>
            <p:nvPr/>
          </p:nvSpPr>
          <p:spPr bwMode="auto">
            <a:xfrm>
              <a:off x="5430" y="2846"/>
              <a:ext cx="1" cy="0"/>
            </a:xfrm>
            <a:custGeom>
              <a:avLst/>
              <a:gdLst>
                <a:gd name="T0" fmla="*/ 1 w 1"/>
                <a:gd name="T1" fmla="*/ 0 w 1"/>
                <a:gd name="T2" fmla="*/ 1 w 1"/>
                <a:gd name="T3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1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77" name="Freeform 7337"/>
            <p:cNvSpPr>
              <a:spLocks/>
            </p:cNvSpPr>
            <p:nvPr/>
          </p:nvSpPr>
          <p:spPr bwMode="auto">
            <a:xfrm>
              <a:off x="5439" y="2840"/>
              <a:ext cx="5" cy="6"/>
            </a:xfrm>
            <a:custGeom>
              <a:avLst/>
              <a:gdLst>
                <a:gd name="T0" fmla="*/ 2 w 4"/>
                <a:gd name="T1" fmla="*/ 5 h 5"/>
                <a:gd name="T2" fmla="*/ 3 w 4"/>
                <a:gd name="T3" fmla="*/ 5 h 5"/>
                <a:gd name="T4" fmla="*/ 4 w 4"/>
                <a:gd name="T5" fmla="*/ 3 h 5"/>
                <a:gd name="T6" fmla="*/ 0 w 4"/>
                <a:gd name="T7" fmla="*/ 0 h 5"/>
                <a:gd name="T8" fmla="*/ 1 w 4"/>
                <a:gd name="T9" fmla="*/ 3 h 5"/>
                <a:gd name="T10" fmla="*/ 2 w 4"/>
                <a:gd name="T1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5">
                  <a:moveTo>
                    <a:pt x="2" y="5"/>
                  </a:moveTo>
                  <a:cubicBezTo>
                    <a:pt x="2" y="5"/>
                    <a:pt x="3" y="5"/>
                    <a:pt x="3" y="5"/>
                  </a:cubicBezTo>
                  <a:cubicBezTo>
                    <a:pt x="3" y="5"/>
                    <a:pt x="4" y="4"/>
                    <a:pt x="4" y="3"/>
                  </a:cubicBezTo>
                  <a:cubicBezTo>
                    <a:pt x="2" y="1"/>
                    <a:pt x="1" y="0"/>
                    <a:pt x="0" y="0"/>
                  </a:cubicBezTo>
                  <a:cubicBezTo>
                    <a:pt x="0" y="1"/>
                    <a:pt x="0" y="2"/>
                    <a:pt x="1" y="3"/>
                  </a:cubicBezTo>
                  <a:cubicBezTo>
                    <a:pt x="1" y="4"/>
                    <a:pt x="1" y="4"/>
                    <a:pt x="2" y="5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78" name="Freeform 7338"/>
            <p:cNvSpPr>
              <a:spLocks/>
            </p:cNvSpPr>
            <p:nvPr/>
          </p:nvSpPr>
          <p:spPr bwMode="auto">
            <a:xfrm>
              <a:off x="5449" y="2835"/>
              <a:ext cx="4" cy="20"/>
            </a:xfrm>
            <a:custGeom>
              <a:avLst/>
              <a:gdLst>
                <a:gd name="T0" fmla="*/ 4 w 4"/>
                <a:gd name="T1" fmla="*/ 1 h 16"/>
                <a:gd name="T2" fmla="*/ 1 w 4"/>
                <a:gd name="T3" fmla="*/ 0 h 16"/>
                <a:gd name="T4" fmla="*/ 0 w 4"/>
                <a:gd name="T5" fmla="*/ 14 h 16"/>
                <a:gd name="T6" fmla="*/ 4 w 4"/>
                <a:gd name="T7" fmla="*/ 16 h 16"/>
                <a:gd name="T8" fmla="*/ 4 w 4"/>
                <a:gd name="T9" fmla="*/ 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6">
                  <a:moveTo>
                    <a:pt x="4" y="1"/>
                  </a:moveTo>
                  <a:cubicBezTo>
                    <a:pt x="3" y="1"/>
                    <a:pt x="2" y="0"/>
                    <a:pt x="1" y="0"/>
                  </a:cubicBezTo>
                  <a:cubicBezTo>
                    <a:pt x="1" y="5"/>
                    <a:pt x="1" y="10"/>
                    <a:pt x="0" y="14"/>
                  </a:cubicBezTo>
                  <a:cubicBezTo>
                    <a:pt x="2" y="14"/>
                    <a:pt x="3" y="15"/>
                    <a:pt x="4" y="16"/>
                  </a:cubicBezTo>
                  <a:cubicBezTo>
                    <a:pt x="4" y="13"/>
                    <a:pt x="4" y="7"/>
                    <a:pt x="4" y="1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79" name="Freeform 7339"/>
            <p:cNvSpPr>
              <a:spLocks/>
            </p:cNvSpPr>
            <p:nvPr/>
          </p:nvSpPr>
          <p:spPr bwMode="auto">
            <a:xfrm>
              <a:off x="5439" y="2816"/>
              <a:ext cx="11" cy="16"/>
            </a:xfrm>
            <a:custGeom>
              <a:avLst/>
              <a:gdLst>
                <a:gd name="T0" fmla="*/ 2 w 9"/>
                <a:gd name="T1" fmla="*/ 11 h 13"/>
                <a:gd name="T2" fmla="*/ 9 w 9"/>
                <a:gd name="T3" fmla="*/ 9 h 13"/>
                <a:gd name="T4" fmla="*/ 9 w 9"/>
                <a:gd name="T5" fmla="*/ 7 h 13"/>
                <a:gd name="T6" fmla="*/ 2 w 9"/>
                <a:gd name="T7" fmla="*/ 1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3">
                  <a:moveTo>
                    <a:pt x="2" y="11"/>
                  </a:moveTo>
                  <a:cubicBezTo>
                    <a:pt x="6" y="5"/>
                    <a:pt x="8" y="5"/>
                    <a:pt x="9" y="9"/>
                  </a:cubicBezTo>
                  <a:cubicBezTo>
                    <a:pt x="9" y="8"/>
                    <a:pt x="9" y="8"/>
                    <a:pt x="9" y="7"/>
                  </a:cubicBezTo>
                  <a:cubicBezTo>
                    <a:pt x="5" y="0"/>
                    <a:pt x="0" y="13"/>
                    <a:pt x="2" y="11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80" name="Freeform 7340"/>
            <p:cNvSpPr>
              <a:spLocks/>
            </p:cNvSpPr>
            <p:nvPr/>
          </p:nvSpPr>
          <p:spPr bwMode="auto">
            <a:xfrm>
              <a:off x="5450" y="2827"/>
              <a:ext cx="3" cy="9"/>
            </a:xfrm>
            <a:custGeom>
              <a:avLst/>
              <a:gdLst>
                <a:gd name="T0" fmla="*/ 3 w 3"/>
                <a:gd name="T1" fmla="*/ 8 h 8"/>
                <a:gd name="T2" fmla="*/ 2 w 3"/>
                <a:gd name="T3" fmla="*/ 2 h 8"/>
                <a:gd name="T4" fmla="*/ 1 w 3"/>
                <a:gd name="T5" fmla="*/ 0 h 8"/>
                <a:gd name="T6" fmla="*/ 0 w 3"/>
                <a:gd name="T7" fmla="*/ 3 h 8"/>
                <a:gd name="T8" fmla="*/ 0 w 3"/>
                <a:gd name="T9" fmla="*/ 7 h 8"/>
                <a:gd name="T10" fmla="*/ 3 w 3"/>
                <a:gd name="T11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8">
                  <a:moveTo>
                    <a:pt x="3" y="8"/>
                  </a:moveTo>
                  <a:cubicBezTo>
                    <a:pt x="2" y="6"/>
                    <a:pt x="2" y="4"/>
                    <a:pt x="2" y="2"/>
                  </a:cubicBezTo>
                  <a:cubicBezTo>
                    <a:pt x="2" y="1"/>
                    <a:pt x="1" y="1"/>
                    <a:pt x="1" y="0"/>
                  </a:cubicBezTo>
                  <a:cubicBezTo>
                    <a:pt x="1" y="1"/>
                    <a:pt x="1" y="2"/>
                    <a:pt x="0" y="3"/>
                  </a:cubicBezTo>
                  <a:cubicBezTo>
                    <a:pt x="0" y="5"/>
                    <a:pt x="0" y="6"/>
                    <a:pt x="0" y="7"/>
                  </a:cubicBezTo>
                  <a:cubicBezTo>
                    <a:pt x="1" y="7"/>
                    <a:pt x="2" y="8"/>
                    <a:pt x="3" y="8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81" name="Freeform 7341"/>
            <p:cNvSpPr>
              <a:spLocks/>
            </p:cNvSpPr>
            <p:nvPr/>
          </p:nvSpPr>
          <p:spPr bwMode="auto">
            <a:xfrm>
              <a:off x="5446" y="2851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82" name="Freeform 7342"/>
            <p:cNvSpPr>
              <a:spLocks/>
            </p:cNvSpPr>
            <p:nvPr/>
          </p:nvSpPr>
          <p:spPr bwMode="auto">
            <a:xfrm>
              <a:off x="5449" y="2854"/>
              <a:ext cx="4" cy="4"/>
            </a:xfrm>
            <a:custGeom>
              <a:avLst/>
              <a:gdLst>
                <a:gd name="T0" fmla="*/ 0 w 4"/>
                <a:gd name="T1" fmla="*/ 0 h 4"/>
                <a:gd name="T2" fmla="*/ 4 w 4"/>
                <a:gd name="T3" fmla="*/ 4 h 4"/>
                <a:gd name="T4" fmla="*/ 4 w 4"/>
                <a:gd name="T5" fmla="*/ 1 h 4"/>
                <a:gd name="T6" fmla="*/ 0 w 4"/>
                <a:gd name="T7" fmla="*/ 0 h 4"/>
                <a:gd name="T8" fmla="*/ 0 w 4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0" y="0"/>
                  </a:moveTo>
                  <a:cubicBezTo>
                    <a:pt x="1" y="1"/>
                    <a:pt x="3" y="2"/>
                    <a:pt x="4" y="4"/>
                  </a:cubicBezTo>
                  <a:cubicBezTo>
                    <a:pt x="4" y="4"/>
                    <a:pt x="4" y="3"/>
                    <a:pt x="4" y="1"/>
                  </a:cubicBezTo>
                  <a:cubicBezTo>
                    <a:pt x="3" y="1"/>
                    <a:pt x="2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83" name="Freeform 7343"/>
            <p:cNvSpPr>
              <a:spLocks/>
            </p:cNvSpPr>
            <p:nvPr/>
          </p:nvSpPr>
          <p:spPr bwMode="auto">
            <a:xfrm>
              <a:off x="5466" y="2851"/>
              <a:ext cx="1" cy="5"/>
            </a:xfrm>
            <a:custGeom>
              <a:avLst/>
              <a:gdLst>
                <a:gd name="T0" fmla="*/ 0 w 1"/>
                <a:gd name="T1" fmla="*/ 4 h 4"/>
                <a:gd name="T2" fmla="*/ 1 w 1"/>
                <a:gd name="T3" fmla="*/ 0 h 4"/>
                <a:gd name="T4" fmla="*/ 0 w 1"/>
                <a:gd name="T5" fmla="*/ 1 h 4"/>
                <a:gd name="T6" fmla="*/ 0 w 1"/>
                <a:gd name="T7" fmla="*/ 4 h 4"/>
                <a:gd name="T8" fmla="*/ 0 w 1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4">
                  <a:moveTo>
                    <a:pt x="0" y="4"/>
                  </a:moveTo>
                  <a:cubicBezTo>
                    <a:pt x="0" y="3"/>
                    <a:pt x="0" y="2"/>
                    <a:pt x="1" y="0"/>
                  </a:cubicBezTo>
                  <a:cubicBezTo>
                    <a:pt x="1" y="0"/>
                    <a:pt x="1" y="0"/>
                    <a:pt x="0" y="1"/>
                  </a:cubicBezTo>
                  <a:cubicBezTo>
                    <a:pt x="0" y="2"/>
                    <a:pt x="0" y="3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84" name="Freeform 7344"/>
            <p:cNvSpPr>
              <a:spLocks/>
            </p:cNvSpPr>
            <p:nvPr/>
          </p:nvSpPr>
          <p:spPr bwMode="auto">
            <a:xfrm>
              <a:off x="5445" y="2856"/>
              <a:ext cx="12" cy="18"/>
            </a:xfrm>
            <a:custGeom>
              <a:avLst/>
              <a:gdLst>
                <a:gd name="T0" fmla="*/ 3 w 10"/>
                <a:gd name="T1" fmla="*/ 1 h 15"/>
                <a:gd name="T2" fmla="*/ 3 w 10"/>
                <a:gd name="T3" fmla="*/ 2 h 15"/>
                <a:gd name="T4" fmla="*/ 2 w 10"/>
                <a:gd name="T5" fmla="*/ 1 h 15"/>
                <a:gd name="T6" fmla="*/ 1 w 10"/>
                <a:gd name="T7" fmla="*/ 0 h 15"/>
                <a:gd name="T8" fmla="*/ 0 w 10"/>
                <a:gd name="T9" fmla="*/ 15 h 15"/>
                <a:gd name="T10" fmla="*/ 0 w 10"/>
                <a:gd name="T11" fmla="*/ 15 h 15"/>
                <a:gd name="T12" fmla="*/ 10 w 10"/>
                <a:gd name="T13" fmla="*/ 15 h 15"/>
                <a:gd name="T14" fmla="*/ 3 w 10"/>
                <a:gd name="T15" fmla="*/ 1 h 15"/>
                <a:gd name="T16" fmla="*/ 3 w 10"/>
                <a:gd name="T17" fmla="*/ 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15">
                  <a:moveTo>
                    <a:pt x="3" y="1"/>
                  </a:moveTo>
                  <a:cubicBezTo>
                    <a:pt x="3" y="2"/>
                    <a:pt x="3" y="2"/>
                    <a:pt x="3" y="2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0"/>
                    <a:pt x="1" y="0"/>
                    <a:pt x="1" y="0"/>
                  </a:cubicBezTo>
                  <a:cubicBezTo>
                    <a:pt x="0" y="4"/>
                    <a:pt x="0" y="9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0" y="15"/>
                    <a:pt x="10" y="15"/>
                    <a:pt x="10" y="15"/>
                  </a:cubicBezTo>
                  <a:cubicBezTo>
                    <a:pt x="10" y="15"/>
                    <a:pt x="8" y="7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85" name="Freeform 7345"/>
            <p:cNvSpPr>
              <a:spLocks/>
            </p:cNvSpPr>
            <p:nvPr/>
          </p:nvSpPr>
          <p:spPr bwMode="auto">
            <a:xfrm>
              <a:off x="5441" y="2847"/>
              <a:ext cx="1" cy="2"/>
            </a:xfrm>
            <a:custGeom>
              <a:avLst/>
              <a:gdLst>
                <a:gd name="T0" fmla="*/ 0 w 1"/>
                <a:gd name="T1" fmla="*/ 1 h 1"/>
                <a:gd name="T2" fmla="*/ 1 w 1"/>
                <a:gd name="T3" fmla="*/ 1 h 1"/>
                <a:gd name="T4" fmla="*/ 1 w 1"/>
                <a:gd name="T5" fmla="*/ 0 h 1"/>
                <a:gd name="T6" fmla="*/ 0 w 1"/>
                <a:gd name="T7" fmla="*/ 0 h 1"/>
                <a:gd name="T8" fmla="*/ 0 w 1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1"/>
                    <a:pt x="1" y="1"/>
                    <a:pt x="1" y="1"/>
                  </a:cubicBezTo>
                  <a:cubicBezTo>
                    <a:pt x="1" y="1"/>
                    <a:pt x="1" y="1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86" name="Freeform 7346"/>
            <p:cNvSpPr>
              <a:spLocks/>
            </p:cNvSpPr>
            <p:nvPr/>
          </p:nvSpPr>
          <p:spPr bwMode="auto">
            <a:xfrm>
              <a:off x="5446" y="2855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87" name="Freeform 7347"/>
            <p:cNvSpPr>
              <a:spLocks/>
            </p:cNvSpPr>
            <p:nvPr/>
          </p:nvSpPr>
          <p:spPr bwMode="auto">
            <a:xfrm>
              <a:off x="5444" y="2856"/>
              <a:ext cx="2" cy="18"/>
            </a:xfrm>
            <a:custGeom>
              <a:avLst/>
              <a:gdLst>
                <a:gd name="T0" fmla="*/ 2 w 2"/>
                <a:gd name="T1" fmla="*/ 0 h 15"/>
                <a:gd name="T2" fmla="*/ 0 w 2"/>
                <a:gd name="T3" fmla="*/ 0 h 15"/>
                <a:gd name="T4" fmla="*/ 0 w 2"/>
                <a:gd name="T5" fmla="*/ 4 h 15"/>
                <a:gd name="T6" fmla="*/ 1 w 2"/>
                <a:gd name="T7" fmla="*/ 7 h 15"/>
                <a:gd name="T8" fmla="*/ 0 w 2"/>
                <a:gd name="T9" fmla="*/ 5 h 15"/>
                <a:gd name="T10" fmla="*/ 1 w 2"/>
                <a:gd name="T11" fmla="*/ 15 h 15"/>
                <a:gd name="T12" fmla="*/ 2 w 2"/>
                <a:gd name="T13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15">
                  <a:moveTo>
                    <a:pt x="2" y="0"/>
                  </a:moveTo>
                  <a:cubicBezTo>
                    <a:pt x="1" y="0"/>
                    <a:pt x="0" y="0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1" y="6"/>
                    <a:pt x="1" y="7"/>
                    <a:pt x="1" y="7"/>
                  </a:cubicBezTo>
                  <a:cubicBezTo>
                    <a:pt x="1" y="6"/>
                    <a:pt x="1" y="6"/>
                    <a:pt x="0" y="5"/>
                  </a:cubicBezTo>
                  <a:cubicBezTo>
                    <a:pt x="1" y="9"/>
                    <a:pt x="1" y="13"/>
                    <a:pt x="1" y="15"/>
                  </a:cubicBezTo>
                  <a:cubicBezTo>
                    <a:pt x="1" y="9"/>
                    <a:pt x="1" y="4"/>
                    <a:pt x="2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88" name="Freeform 7348"/>
            <p:cNvSpPr>
              <a:spLocks/>
            </p:cNvSpPr>
            <p:nvPr/>
          </p:nvSpPr>
          <p:spPr bwMode="auto">
            <a:xfrm>
              <a:off x="5450" y="2824"/>
              <a:ext cx="1" cy="6"/>
            </a:xfrm>
            <a:custGeom>
              <a:avLst/>
              <a:gdLst>
                <a:gd name="T0" fmla="*/ 1 w 1"/>
                <a:gd name="T1" fmla="*/ 2 h 5"/>
                <a:gd name="T2" fmla="*/ 0 w 1"/>
                <a:gd name="T3" fmla="*/ 0 h 5"/>
                <a:gd name="T4" fmla="*/ 0 w 1"/>
                <a:gd name="T5" fmla="*/ 2 h 5"/>
                <a:gd name="T6" fmla="*/ 0 w 1"/>
                <a:gd name="T7" fmla="*/ 5 h 5"/>
                <a:gd name="T8" fmla="*/ 1 w 1"/>
                <a:gd name="T9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5">
                  <a:moveTo>
                    <a:pt x="1" y="2"/>
                  </a:moveTo>
                  <a:cubicBezTo>
                    <a:pt x="1" y="1"/>
                    <a:pt x="1" y="1"/>
                    <a:pt x="0" y="0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0" y="3"/>
                    <a:pt x="0" y="4"/>
                    <a:pt x="0" y="5"/>
                  </a:cubicBezTo>
                  <a:cubicBezTo>
                    <a:pt x="1" y="4"/>
                    <a:pt x="1" y="3"/>
                    <a:pt x="1" y="2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89" name="Freeform 7349"/>
            <p:cNvSpPr>
              <a:spLocks/>
            </p:cNvSpPr>
            <p:nvPr/>
          </p:nvSpPr>
          <p:spPr bwMode="auto">
            <a:xfrm>
              <a:off x="5434" y="2840"/>
              <a:ext cx="6" cy="4"/>
            </a:xfrm>
            <a:custGeom>
              <a:avLst/>
              <a:gdLst>
                <a:gd name="T0" fmla="*/ 5 w 5"/>
                <a:gd name="T1" fmla="*/ 3 h 3"/>
                <a:gd name="T2" fmla="*/ 4 w 5"/>
                <a:gd name="T3" fmla="*/ 0 h 3"/>
                <a:gd name="T4" fmla="*/ 0 w 5"/>
                <a:gd name="T5" fmla="*/ 3 h 3"/>
                <a:gd name="T6" fmla="*/ 1 w 5"/>
                <a:gd name="T7" fmla="*/ 3 h 3"/>
                <a:gd name="T8" fmla="*/ 5 w 5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3">
                  <a:moveTo>
                    <a:pt x="5" y="3"/>
                  </a:moveTo>
                  <a:cubicBezTo>
                    <a:pt x="4" y="2"/>
                    <a:pt x="4" y="1"/>
                    <a:pt x="4" y="0"/>
                  </a:cubicBezTo>
                  <a:cubicBezTo>
                    <a:pt x="2" y="0"/>
                    <a:pt x="1" y="1"/>
                    <a:pt x="0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2" y="1"/>
                    <a:pt x="4" y="2"/>
                    <a:pt x="5" y="3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90" name="Freeform 7350"/>
            <p:cNvSpPr>
              <a:spLocks/>
            </p:cNvSpPr>
            <p:nvPr/>
          </p:nvSpPr>
          <p:spPr bwMode="auto">
            <a:xfrm>
              <a:off x="5442" y="2844"/>
              <a:ext cx="3" cy="5"/>
            </a:xfrm>
            <a:custGeom>
              <a:avLst/>
              <a:gdLst>
                <a:gd name="T0" fmla="*/ 2 w 2"/>
                <a:gd name="T1" fmla="*/ 4 h 4"/>
                <a:gd name="T2" fmla="*/ 1 w 2"/>
                <a:gd name="T3" fmla="*/ 0 h 4"/>
                <a:gd name="T4" fmla="*/ 0 w 2"/>
                <a:gd name="T5" fmla="*/ 2 h 4"/>
                <a:gd name="T6" fmla="*/ 2 w 2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4">
                  <a:moveTo>
                    <a:pt x="2" y="4"/>
                  </a:moveTo>
                  <a:cubicBezTo>
                    <a:pt x="2" y="2"/>
                    <a:pt x="1" y="1"/>
                    <a:pt x="1" y="0"/>
                  </a:cubicBezTo>
                  <a:cubicBezTo>
                    <a:pt x="1" y="1"/>
                    <a:pt x="0" y="2"/>
                    <a:pt x="0" y="2"/>
                  </a:cubicBezTo>
                  <a:cubicBezTo>
                    <a:pt x="1" y="3"/>
                    <a:pt x="2" y="3"/>
                    <a:pt x="2" y="4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91" name="Freeform 7351"/>
            <p:cNvSpPr>
              <a:spLocks/>
            </p:cNvSpPr>
            <p:nvPr/>
          </p:nvSpPr>
          <p:spPr bwMode="auto">
            <a:xfrm>
              <a:off x="5442" y="2847"/>
              <a:ext cx="4" cy="4"/>
            </a:xfrm>
            <a:custGeom>
              <a:avLst/>
              <a:gdLst>
                <a:gd name="T0" fmla="*/ 3 w 3"/>
                <a:gd name="T1" fmla="*/ 3 h 3"/>
                <a:gd name="T2" fmla="*/ 3 w 3"/>
                <a:gd name="T3" fmla="*/ 3 h 3"/>
                <a:gd name="T4" fmla="*/ 3 w 3"/>
                <a:gd name="T5" fmla="*/ 3 h 3"/>
                <a:gd name="T6" fmla="*/ 3 w 3"/>
                <a:gd name="T7" fmla="*/ 2 h 3"/>
                <a:gd name="T8" fmla="*/ 0 w 3"/>
                <a:gd name="T9" fmla="*/ 0 h 3"/>
                <a:gd name="T10" fmla="*/ 0 w 3"/>
                <a:gd name="T11" fmla="*/ 1 h 3"/>
                <a:gd name="T12" fmla="*/ 3 w 3"/>
                <a:gd name="T13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">
                  <a:moveTo>
                    <a:pt x="3" y="3"/>
                  </a:move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2"/>
                    <a:pt x="3" y="2"/>
                  </a:cubicBezTo>
                  <a:cubicBezTo>
                    <a:pt x="2" y="1"/>
                    <a:pt x="1" y="1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2"/>
                    <a:pt x="2" y="2"/>
                    <a:pt x="3" y="3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92" name="Freeform 7352"/>
            <p:cNvSpPr>
              <a:spLocks/>
            </p:cNvSpPr>
            <p:nvPr/>
          </p:nvSpPr>
          <p:spPr bwMode="auto">
            <a:xfrm>
              <a:off x="5433" y="2846"/>
              <a:ext cx="1" cy="0"/>
            </a:xfrm>
            <a:custGeom>
              <a:avLst/>
              <a:gdLst>
                <a:gd name="T0" fmla="*/ 1 w 1"/>
                <a:gd name="T1" fmla="*/ 1 w 1"/>
                <a:gd name="T2" fmla="*/ 0 w 1"/>
                <a:gd name="T3" fmla="*/ 0 w 1"/>
                <a:gd name="T4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93" name="Freeform 7353"/>
            <p:cNvSpPr>
              <a:spLocks/>
            </p:cNvSpPr>
            <p:nvPr/>
          </p:nvSpPr>
          <p:spPr bwMode="auto">
            <a:xfrm>
              <a:off x="5444" y="2854"/>
              <a:ext cx="2" cy="1"/>
            </a:xfrm>
            <a:custGeom>
              <a:avLst/>
              <a:gdLst>
                <a:gd name="T0" fmla="*/ 1 w 2"/>
                <a:gd name="T1" fmla="*/ 0 h 1"/>
                <a:gd name="T2" fmla="*/ 0 w 2"/>
                <a:gd name="T3" fmla="*/ 0 h 1"/>
                <a:gd name="T4" fmla="*/ 2 w 2"/>
                <a:gd name="T5" fmla="*/ 1 h 1"/>
                <a:gd name="T6" fmla="*/ 2 w 2"/>
                <a:gd name="T7" fmla="*/ 1 h 1"/>
                <a:gd name="T8" fmla="*/ 1 w 2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1">
                  <a:moveTo>
                    <a:pt x="1" y="0"/>
                  </a:moveTo>
                  <a:cubicBezTo>
                    <a:pt x="1" y="0"/>
                    <a:pt x="0" y="0"/>
                    <a:pt x="0" y="0"/>
                  </a:cubicBezTo>
                  <a:cubicBezTo>
                    <a:pt x="1" y="0"/>
                    <a:pt x="1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94" name="Freeform 7354"/>
            <p:cNvSpPr>
              <a:spLocks/>
            </p:cNvSpPr>
            <p:nvPr/>
          </p:nvSpPr>
          <p:spPr bwMode="auto">
            <a:xfrm>
              <a:off x="5450" y="2835"/>
              <a:ext cx="3" cy="1"/>
            </a:xfrm>
            <a:custGeom>
              <a:avLst/>
              <a:gdLst>
                <a:gd name="T0" fmla="*/ 3 w 3"/>
                <a:gd name="T1" fmla="*/ 1 h 1"/>
                <a:gd name="T2" fmla="*/ 0 w 3"/>
                <a:gd name="T3" fmla="*/ 0 h 1"/>
                <a:gd name="T4" fmla="*/ 0 w 3"/>
                <a:gd name="T5" fmla="*/ 0 h 1"/>
                <a:gd name="T6" fmla="*/ 3 w 3"/>
                <a:gd name="T7" fmla="*/ 1 h 1"/>
                <a:gd name="T8" fmla="*/ 3 w 3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1">
                  <a:moveTo>
                    <a:pt x="3" y="1"/>
                  </a:moveTo>
                  <a:cubicBezTo>
                    <a:pt x="2" y="1"/>
                    <a:pt x="1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2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95" name="Freeform 7355"/>
            <p:cNvSpPr>
              <a:spLocks/>
            </p:cNvSpPr>
            <p:nvPr/>
          </p:nvSpPr>
          <p:spPr bwMode="auto">
            <a:xfrm>
              <a:off x="5452" y="2829"/>
              <a:ext cx="1" cy="7"/>
            </a:xfrm>
            <a:custGeom>
              <a:avLst/>
              <a:gdLst>
                <a:gd name="T0" fmla="*/ 0 w 1"/>
                <a:gd name="T1" fmla="*/ 0 h 6"/>
                <a:gd name="T2" fmla="*/ 1 w 1"/>
                <a:gd name="T3" fmla="*/ 6 h 6"/>
                <a:gd name="T4" fmla="*/ 1 w 1"/>
                <a:gd name="T5" fmla="*/ 6 h 6"/>
                <a:gd name="T6" fmla="*/ 0 w 1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6">
                  <a:moveTo>
                    <a:pt x="0" y="0"/>
                  </a:moveTo>
                  <a:cubicBezTo>
                    <a:pt x="0" y="2"/>
                    <a:pt x="0" y="4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4"/>
                    <a:pt x="0" y="1"/>
                    <a:pt x="0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96" name="Freeform 7356"/>
            <p:cNvSpPr>
              <a:spLocks/>
            </p:cNvSpPr>
            <p:nvPr/>
          </p:nvSpPr>
          <p:spPr bwMode="auto">
            <a:xfrm>
              <a:off x="5446" y="2852"/>
              <a:ext cx="1" cy="4"/>
            </a:xfrm>
            <a:custGeom>
              <a:avLst/>
              <a:gdLst>
                <a:gd name="T0" fmla="*/ 0 w 1"/>
                <a:gd name="T1" fmla="*/ 2 h 3"/>
                <a:gd name="T2" fmla="*/ 0 w 1"/>
                <a:gd name="T3" fmla="*/ 2 h 3"/>
                <a:gd name="T4" fmla="*/ 1 w 1"/>
                <a:gd name="T5" fmla="*/ 3 h 3"/>
                <a:gd name="T6" fmla="*/ 1 w 1"/>
                <a:gd name="T7" fmla="*/ 0 h 3"/>
                <a:gd name="T8" fmla="*/ 0 w 1"/>
                <a:gd name="T9" fmla="*/ 0 h 3"/>
                <a:gd name="T10" fmla="*/ 0 w 1"/>
                <a:gd name="T11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" h="3">
                  <a:moveTo>
                    <a:pt x="0" y="2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2"/>
                    <a:pt x="1" y="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97" name="Freeform 7357"/>
            <p:cNvSpPr>
              <a:spLocks/>
            </p:cNvSpPr>
            <p:nvPr/>
          </p:nvSpPr>
          <p:spPr bwMode="auto">
            <a:xfrm>
              <a:off x="5441" y="2849"/>
              <a:ext cx="1" cy="1"/>
            </a:xfrm>
            <a:custGeom>
              <a:avLst/>
              <a:gdLst>
                <a:gd name="T0" fmla="*/ 1 w 1"/>
                <a:gd name="T1" fmla="*/ 0 h 1"/>
                <a:gd name="T2" fmla="*/ 0 w 1"/>
                <a:gd name="T3" fmla="*/ 0 h 1"/>
                <a:gd name="T4" fmla="*/ 1 w 1"/>
                <a:gd name="T5" fmla="*/ 1 h 1"/>
                <a:gd name="T6" fmla="*/ 1 w 1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1" y="1"/>
                    <a:pt x="1" y="1"/>
                  </a:cubicBezTo>
                  <a:cubicBezTo>
                    <a:pt x="1" y="1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98" name="Freeform 7358"/>
            <p:cNvSpPr>
              <a:spLocks/>
            </p:cNvSpPr>
            <p:nvPr/>
          </p:nvSpPr>
          <p:spPr bwMode="auto">
            <a:xfrm>
              <a:off x="5453" y="2836"/>
              <a:ext cx="3" cy="21"/>
            </a:xfrm>
            <a:custGeom>
              <a:avLst/>
              <a:gdLst>
                <a:gd name="T0" fmla="*/ 0 w 2"/>
                <a:gd name="T1" fmla="*/ 15 h 17"/>
                <a:gd name="T2" fmla="*/ 2 w 2"/>
                <a:gd name="T3" fmla="*/ 17 h 17"/>
                <a:gd name="T4" fmla="*/ 0 w 2"/>
                <a:gd name="T5" fmla="*/ 0 h 17"/>
                <a:gd name="T6" fmla="*/ 0 w 2"/>
                <a:gd name="T7" fmla="*/ 0 h 17"/>
                <a:gd name="T8" fmla="*/ 0 w 2"/>
                <a:gd name="T9" fmla="*/ 1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17">
                  <a:moveTo>
                    <a:pt x="0" y="15"/>
                  </a:moveTo>
                  <a:cubicBezTo>
                    <a:pt x="1" y="16"/>
                    <a:pt x="1" y="16"/>
                    <a:pt x="2" y="17"/>
                  </a:cubicBezTo>
                  <a:cubicBezTo>
                    <a:pt x="1" y="10"/>
                    <a:pt x="1" y="5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6"/>
                    <a:pt x="0" y="12"/>
                    <a:pt x="0" y="15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99" name="Freeform 7359"/>
            <p:cNvSpPr>
              <a:spLocks/>
            </p:cNvSpPr>
            <p:nvPr/>
          </p:nvSpPr>
          <p:spPr bwMode="auto">
            <a:xfrm>
              <a:off x="5466" y="2851"/>
              <a:ext cx="6" cy="5"/>
            </a:xfrm>
            <a:custGeom>
              <a:avLst/>
              <a:gdLst>
                <a:gd name="T0" fmla="*/ 5 w 5"/>
                <a:gd name="T1" fmla="*/ 1 h 4"/>
                <a:gd name="T2" fmla="*/ 5 w 5"/>
                <a:gd name="T3" fmla="*/ 0 h 4"/>
                <a:gd name="T4" fmla="*/ 1 w 5"/>
                <a:gd name="T5" fmla="*/ 0 h 4"/>
                <a:gd name="T6" fmla="*/ 0 w 5"/>
                <a:gd name="T7" fmla="*/ 4 h 4"/>
                <a:gd name="T8" fmla="*/ 5 w 5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4">
                  <a:moveTo>
                    <a:pt x="5" y="1"/>
                  </a:moveTo>
                  <a:cubicBezTo>
                    <a:pt x="5" y="1"/>
                    <a:pt x="5" y="1"/>
                    <a:pt x="5" y="0"/>
                  </a:cubicBezTo>
                  <a:cubicBezTo>
                    <a:pt x="3" y="0"/>
                    <a:pt x="2" y="0"/>
                    <a:pt x="1" y="0"/>
                  </a:cubicBezTo>
                  <a:cubicBezTo>
                    <a:pt x="0" y="2"/>
                    <a:pt x="0" y="3"/>
                    <a:pt x="0" y="4"/>
                  </a:cubicBezTo>
                  <a:cubicBezTo>
                    <a:pt x="1" y="2"/>
                    <a:pt x="3" y="1"/>
                    <a:pt x="5" y="1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00" name="Freeform 7360"/>
            <p:cNvSpPr>
              <a:spLocks/>
            </p:cNvSpPr>
            <p:nvPr/>
          </p:nvSpPr>
          <p:spPr bwMode="auto">
            <a:xfrm>
              <a:off x="5449" y="2852"/>
              <a:ext cx="17" cy="22"/>
            </a:xfrm>
            <a:custGeom>
              <a:avLst/>
              <a:gdLst>
                <a:gd name="T0" fmla="*/ 7 w 14"/>
                <a:gd name="T1" fmla="*/ 6 h 18"/>
                <a:gd name="T2" fmla="*/ 8 w 14"/>
                <a:gd name="T3" fmla="*/ 7 h 18"/>
                <a:gd name="T4" fmla="*/ 8 w 14"/>
                <a:gd name="T5" fmla="*/ 7 h 18"/>
                <a:gd name="T6" fmla="*/ 8 w 14"/>
                <a:gd name="T7" fmla="*/ 7 h 18"/>
                <a:gd name="T8" fmla="*/ 7 w 14"/>
                <a:gd name="T9" fmla="*/ 6 h 18"/>
                <a:gd name="T10" fmla="*/ 6 w 14"/>
                <a:gd name="T11" fmla="*/ 7 h 18"/>
                <a:gd name="T12" fmla="*/ 6 w 14"/>
                <a:gd name="T13" fmla="*/ 4 h 18"/>
                <a:gd name="T14" fmla="*/ 4 w 14"/>
                <a:gd name="T15" fmla="*/ 2 h 18"/>
                <a:gd name="T16" fmla="*/ 4 w 14"/>
                <a:gd name="T17" fmla="*/ 5 h 18"/>
                <a:gd name="T18" fmla="*/ 0 w 14"/>
                <a:gd name="T19" fmla="*/ 1 h 18"/>
                <a:gd name="T20" fmla="*/ 0 w 14"/>
                <a:gd name="T21" fmla="*/ 1 h 18"/>
                <a:gd name="T22" fmla="*/ 0 w 14"/>
                <a:gd name="T23" fmla="*/ 1 h 18"/>
                <a:gd name="T24" fmla="*/ 0 w 14"/>
                <a:gd name="T25" fmla="*/ 1 h 18"/>
                <a:gd name="T26" fmla="*/ 0 w 14"/>
                <a:gd name="T27" fmla="*/ 3 h 18"/>
                <a:gd name="T28" fmla="*/ 4 w 14"/>
                <a:gd name="T29" fmla="*/ 7 h 18"/>
                <a:gd name="T30" fmla="*/ 0 w 14"/>
                <a:gd name="T31" fmla="*/ 4 h 18"/>
                <a:gd name="T32" fmla="*/ 7 w 14"/>
                <a:gd name="T33" fmla="*/ 18 h 18"/>
                <a:gd name="T34" fmla="*/ 7 w 14"/>
                <a:gd name="T35" fmla="*/ 18 h 18"/>
                <a:gd name="T36" fmla="*/ 14 w 14"/>
                <a:gd name="T37" fmla="*/ 3 h 18"/>
                <a:gd name="T38" fmla="*/ 14 w 14"/>
                <a:gd name="T39" fmla="*/ 0 h 18"/>
                <a:gd name="T40" fmla="*/ 7 w 14"/>
                <a:gd name="T41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4" h="18">
                  <a:moveTo>
                    <a:pt x="7" y="6"/>
                  </a:moveTo>
                  <a:cubicBezTo>
                    <a:pt x="7" y="6"/>
                    <a:pt x="7" y="6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7" y="6"/>
                    <a:pt x="7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6"/>
                    <a:pt x="6" y="5"/>
                    <a:pt x="6" y="4"/>
                  </a:cubicBezTo>
                  <a:cubicBezTo>
                    <a:pt x="5" y="4"/>
                    <a:pt x="5" y="3"/>
                    <a:pt x="4" y="2"/>
                  </a:cubicBezTo>
                  <a:cubicBezTo>
                    <a:pt x="4" y="4"/>
                    <a:pt x="4" y="5"/>
                    <a:pt x="4" y="5"/>
                  </a:cubicBezTo>
                  <a:cubicBezTo>
                    <a:pt x="3" y="3"/>
                    <a:pt x="1" y="2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3" y="5"/>
                    <a:pt x="4" y="7"/>
                    <a:pt x="4" y="7"/>
                  </a:cubicBezTo>
                  <a:cubicBezTo>
                    <a:pt x="3" y="6"/>
                    <a:pt x="1" y="5"/>
                    <a:pt x="0" y="4"/>
                  </a:cubicBezTo>
                  <a:cubicBezTo>
                    <a:pt x="5" y="10"/>
                    <a:pt x="7" y="18"/>
                    <a:pt x="7" y="18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9" y="10"/>
                    <a:pt x="11" y="5"/>
                    <a:pt x="14" y="3"/>
                  </a:cubicBezTo>
                  <a:cubicBezTo>
                    <a:pt x="14" y="2"/>
                    <a:pt x="14" y="1"/>
                    <a:pt x="14" y="0"/>
                  </a:cubicBezTo>
                  <a:cubicBezTo>
                    <a:pt x="11" y="1"/>
                    <a:pt x="8" y="4"/>
                    <a:pt x="7" y="6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01" name="Freeform 7361"/>
            <p:cNvSpPr>
              <a:spLocks/>
            </p:cNvSpPr>
            <p:nvPr/>
          </p:nvSpPr>
          <p:spPr bwMode="auto">
            <a:xfrm>
              <a:off x="5445" y="2852"/>
              <a:ext cx="1" cy="3"/>
            </a:xfrm>
            <a:custGeom>
              <a:avLst/>
              <a:gdLst>
                <a:gd name="T0" fmla="*/ 1 w 1"/>
                <a:gd name="T1" fmla="*/ 2 h 2"/>
                <a:gd name="T2" fmla="*/ 1 w 1"/>
                <a:gd name="T3" fmla="*/ 0 h 2"/>
                <a:gd name="T4" fmla="*/ 0 w 1"/>
                <a:gd name="T5" fmla="*/ 1 h 2"/>
                <a:gd name="T6" fmla="*/ 1 w 1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2">
                  <a:moveTo>
                    <a:pt x="1" y="2"/>
                  </a:moveTo>
                  <a:cubicBezTo>
                    <a:pt x="1" y="1"/>
                    <a:pt x="1" y="1"/>
                    <a:pt x="1" y="0"/>
                  </a:cubicBezTo>
                  <a:cubicBezTo>
                    <a:pt x="1" y="1"/>
                    <a:pt x="0" y="1"/>
                    <a:pt x="0" y="1"/>
                  </a:cubicBezTo>
                  <a:cubicBezTo>
                    <a:pt x="0" y="1"/>
                    <a:pt x="0" y="1"/>
                    <a:pt x="1" y="2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02" name="Freeform 7362"/>
            <p:cNvSpPr>
              <a:spLocks/>
            </p:cNvSpPr>
            <p:nvPr/>
          </p:nvSpPr>
          <p:spPr bwMode="auto">
            <a:xfrm>
              <a:off x="5433" y="2846"/>
              <a:ext cx="1" cy="1"/>
            </a:xfrm>
            <a:custGeom>
              <a:avLst/>
              <a:gdLst>
                <a:gd name="T0" fmla="*/ 0 w 1"/>
                <a:gd name="T1" fmla="*/ 1 h 1"/>
                <a:gd name="T2" fmla="*/ 1 w 1"/>
                <a:gd name="T3" fmla="*/ 0 h 1"/>
                <a:gd name="T4" fmla="*/ 0 w 1"/>
                <a:gd name="T5" fmla="*/ 0 h 1"/>
                <a:gd name="T6" fmla="*/ 0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0"/>
                    <a:pt x="1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03" name="Freeform 7363"/>
            <p:cNvSpPr>
              <a:spLocks/>
            </p:cNvSpPr>
            <p:nvPr/>
          </p:nvSpPr>
          <p:spPr bwMode="auto">
            <a:xfrm>
              <a:off x="5442" y="2849"/>
              <a:ext cx="4" cy="2"/>
            </a:xfrm>
            <a:custGeom>
              <a:avLst/>
              <a:gdLst>
                <a:gd name="T0" fmla="*/ 0 w 3"/>
                <a:gd name="T1" fmla="*/ 2 h 2"/>
                <a:gd name="T2" fmla="*/ 3 w 3"/>
                <a:gd name="T3" fmla="*/ 2 h 2"/>
                <a:gd name="T4" fmla="*/ 0 w 3"/>
                <a:gd name="T5" fmla="*/ 0 h 2"/>
                <a:gd name="T6" fmla="*/ 0 w 3"/>
                <a:gd name="T7" fmla="*/ 1 h 2"/>
                <a:gd name="T8" fmla="*/ 0 w 3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2">
                  <a:moveTo>
                    <a:pt x="0" y="2"/>
                  </a:moveTo>
                  <a:cubicBezTo>
                    <a:pt x="1" y="2"/>
                    <a:pt x="2" y="2"/>
                    <a:pt x="3" y="2"/>
                  </a:cubicBezTo>
                  <a:cubicBezTo>
                    <a:pt x="2" y="1"/>
                    <a:pt x="1" y="1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04" name="Oval 7364"/>
            <p:cNvSpPr>
              <a:spLocks noChangeArrowheads="1"/>
            </p:cNvSpPr>
            <p:nvPr/>
          </p:nvSpPr>
          <p:spPr bwMode="auto">
            <a:xfrm>
              <a:off x="5453" y="2836"/>
              <a:ext cx="1" cy="1"/>
            </a:xfrm>
            <a:prstGeom prst="ellipse">
              <a:avLst/>
            </a:pr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05" name="Freeform 7365"/>
            <p:cNvSpPr>
              <a:spLocks/>
            </p:cNvSpPr>
            <p:nvPr/>
          </p:nvSpPr>
          <p:spPr bwMode="auto">
            <a:xfrm>
              <a:off x="5388" y="2830"/>
              <a:ext cx="2" cy="8"/>
            </a:xfrm>
            <a:custGeom>
              <a:avLst/>
              <a:gdLst>
                <a:gd name="T0" fmla="*/ 2 w 2"/>
                <a:gd name="T1" fmla="*/ 6 h 6"/>
                <a:gd name="T2" fmla="*/ 2 w 2"/>
                <a:gd name="T3" fmla="*/ 6 h 6"/>
                <a:gd name="T4" fmla="*/ 1 w 2"/>
                <a:gd name="T5" fmla="*/ 0 h 6"/>
                <a:gd name="T6" fmla="*/ 0 w 2"/>
                <a:gd name="T7" fmla="*/ 4 h 6"/>
                <a:gd name="T8" fmla="*/ 2 w 2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6">
                  <a:moveTo>
                    <a:pt x="2" y="6"/>
                  </a:moveTo>
                  <a:cubicBezTo>
                    <a:pt x="2" y="6"/>
                    <a:pt x="2" y="6"/>
                    <a:pt x="2" y="6"/>
                  </a:cubicBezTo>
                  <a:cubicBezTo>
                    <a:pt x="2" y="4"/>
                    <a:pt x="2" y="2"/>
                    <a:pt x="1" y="0"/>
                  </a:cubicBezTo>
                  <a:cubicBezTo>
                    <a:pt x="1" y="2"/>
                    <a:pt x="0" y="3"/>
                    <a:pt x="0" y="4"/>
                  </a:cubicBezTo>
                  <a:cubicBezTo>
                    <a:pt x="1" y="5"/>
                    <a:pt x="1" y="6"/>
                    <a:pt x="2" y="6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06" name="Freeform 7366"/>
            <p:cNvSpPr>
              <a:spLocks/>
            </p:cNvSpPr>
            <p:nvPr/>
          </p:nvSpPr>
          <p:spPr bwMode="auto">
            <a:xfrm>
              <a:off x="5376" y="2829"/>
              <a:ext cx="1" cy="3"/>
            </a:xfrm>
            <a:custGeom>
              <a:avLst/>
              <a:gdLst>
                <a:gd name="T0" fmla="*/ 1 w 1"/>
                <a:gd name="T1" fmla="*/ 2 h 2"/>
                <a:gd name="T2" fmla="*/ 0 w 1"/>
                <a:gd name="T3" fmla="*/ 1 h 2"/>
                <a:gd name="T4" fmla="*/ 0 w 1"/>
                <a:gd name="T5" fmla="*/ 0 h 2"/>
                <a:gd name="T6" fmla="*/ 1 w 1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2">
                  <a:moveTo>
                    <a:pt x="1" y="2"/>
                  </a:moveTo>
                  <a:cubicBezTo>
                    <a:pt x="1" y="1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1" y="0"/>
                    <a:pt x="1" y="1"/>
                    <a:pt x="1" y="2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07" name="Freeform 7367"/>
            <p:cNvSpPr>
              <a:spLocks/>
            </p:cNvSpPr>
            <p:nvPr/>
          </p:nvSpPr>
          <p:spPr bwMode="auto">
            <a:xfrm>
              <a:off x="5368" y="2824"/>
              <a:ext cx="4" cy="4"/>
            </a:xfrm>
            <a:custGeom>
              <a:avLst/>
              <a:gdLst>
                <a:gd name="T0" fmla="*/ 3 w 3"/>
                <a:gd name="T1" fmla="*/ 1 h 3"/>
                <a:gd name="T2" fmla="*/ 3 w 3"/>
                <a:gd name="T3" fmla="*/ 3 h 3"/>
                <a:gd name="T4" fmla="*/ 0 w 3"/>
                <a:gd name="T5" fmla="*/ 1 h 3"/>
                <a:gd name="T6" fmla="*/ 0 w 3"/>
                <a:gd name="T7" fmla="*/ 0 h 3"/>
                <a:gd name="T8" fmla="*/ 3 w 3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3" y="1"/>
                  </a:moveTo>
                  <a:cubicBezTo>
                    <a:pt x="3" y="2"/>
                    <a:pt x="3" y="2"/>
                    <a:pt x="3" y="3"/>
                  </a:cubicBezTo>
                  <a:cubicBezTo>
                    <a:pt x="2" y="2"/>
                    <a:pt x="1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2" y="0"/>
                    <a:pt x="3" y="1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08" name="Freeform 7368"/>
            <p:cNvSpPr>
              <a:spLocks/>
            </p:cNvSpPr>
            <p:nvPr/>
          </p:nvSpPr>
          <p:spPr bwMode="auto">
            <a:xfrm>
              <a:off x="5397" y="2810"/>
              <a:ext cx="5" cy="5"/>
            </a:xfrm>
            <a:custGeom>
              <a:avLst/>
              <a:gdLst>
                <a:gd name="T0" fmla="*/ 0 w 4"/>
                <a:gd name="T1" fmla="*/ 3 h 4"/>
                <a:gd name="T2" fmla="*/ 0 w 4"/>
                <a:gd name="T3" fmla="*/ 4 h 4"/>
                <a:gd name="T4" fmla="*/ 4 w 4"/>
                <a:gd name="T5" fmla="*/ 1 h 4"/>
                <a:gd name="T6" fmla="*/ 2 w 4"/>
                <a:gd name="T7" fmla="*/ 0 h 4"/>
                <a:gd name="T8" fmla="*/ 0 w 4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2" y="2"/>
                    <a:pt x="3" y="1"/>
                    <a:pt x="4" y="1"/>
                  </a:cubicBezTo>
                  <a:cubicBezTo>
                    <a:pt x="3" y="1"/>
                    <a:pt x="3" y="1"/>
                    <a:pt x="2" y="0"/>
                  </a:cubicBezTo>
                  <a:cubicBezTo>
                    <a:pt x="1" y="1"/>
                    <a:pt x="1" y="2"/>
                    <a:pt x="0" y="3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09" name="Freeform 7369"/>
            <p:cNvSpPr>
              <a:spLocks/>
            </p:cNvSpPr>
            <p:nvPr/>
          </p:nvSpPr>
          <p:spPr bwMode="auto">
            <a:xfrm>
              <a:off x="5391" y="2816"/>
              <a:ext cx="5" cy="13"/>
            </a:xfrm>
            <a:custGeom>
              <a:avLst/>
              <a:gdLst>
                <a:gd name="T0" fmla="*/ 4 w 4"/>
                <a:gd name="T1" fmla="*/ 2 h 11"/>
                <a:gd name="T2" fmla="*/ 3 w 4"/>
                <a:gd name="T3" fmla="*/ 0 h 11"/>
                <a:gd name="T4" fmla="*/ 0 w 4"/>
                <a:gd name="T5" fmla="*/ 8 h 11"/>
                <a:gd name="T6" fmla="*/ 1 w 4"/>
                <a:gd name="T7" fmla="*/ 11 h 11"/>
                <a:gd name="T8" fmla="*/ 4 w 4"/>
                <a:gd name="T9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1">
                  <a:moveTo>
                    <a:pt x="4" y="2"/>
                  </a:moveTo>
                  <a:cubicBezTo>
                    <a:pt x="4" y="1"/>
                    <a:pt x="4" y="1"/>
                    <a:pt x="3" y="0"/>
                  </a:cubicBezTo>
                  <a:cubicBezTo>
                    <a:pt x="2" y="2"/>
                    <a:pt x="1" y="5"/>
                    <a:pt x="0" y="8"/>
                  </a:cubicBezTo>
                  <a:cubicBezTo>
                    <a:pt x="0" y="9"/>
                    <a:pt x="1" y="10"/>
                    <a:pt x="1" y="11"/>
                  </a:cubicBezTo>
                  <a:cubicBezTo>
                    <a:pt x="2" y="7"/>
                    <a:pt x="3" y="4"/>
                    <a:pt x="4" y="2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10" name="Freeform 7370"/>
            <p:cNvSpPr>
              <a:spLocks/>
            </p:cNvSpPr>
            <p:nvPr/>
          </p:nvSpPr>
          <p:spPr bwMode="auto">
            <a:xfrm>
              <a:off x="5379" y="2857"/>
              <a:ext cx="3" cy="4"/>
            </a:xfrm>
            <a:custGeom>
              <a:avLst/>
              <a:gdLst>
                <a:gd name="T0" fmla="*/ 0 w 2"/>
                <a:gd name="T1" fmla="*/ 0 h 3"/>
                <a:gd name="T2" fmla="*/ 0 w 2"/>
                <a:gd name="T3" fmla="*/ 3 h 3"/>
                <a:gd name="T4" fmla="*/ 2 w 2"/>
                <a:gd name="T5" fmla="*/ 2 h 3"/>
                <a:gd name="T6" fmla="*/ 0 w 2"/>
                <a:gd name="T7" fmla="*/ 0 h 3"/>
                <a:gd name="T8" fmla="*/ 0 w 2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3">
                  <a:moveTo>
                    <a:pt x="0" y="0"/>
                  </a:moveTo>
                  <a:cubicBezTo>
                    <a:pt x="0" y="1"/>
                    <a:pt x="0" y="2"/>
                    <a:pt x="0" y="3"/>
                  </a:cubicBezTo>
                  <a:cubicBezTo>
                    <a:pt x="1" y="2"/>
                    <a:pt x="1" y="2"/>
                    <a:pt x="2" y="2"/>
                  </a:cubicBezTo>
                  <a:cubicBezTo>
                    <a:pt x="1" y="1"/>
                    <a:pt x="1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11" name="Freeform 7371"/>
            <p:cNvSpPr>
              <a:spLocks/>
            </p:cNvSpPr>
            <p:nvPr/>
          </p:nvSpPr>
          <p:spPr bwMode="auto">
            <a:xfrm>
              <a:off x="5365" y="2824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12" name="Freeform 7372"/>
            <p:cNvSpPr>
              <a:spLocks/>
            </p:cNvSpPr>
            <p:nvPr/>
          </p:nvSpPr>
          <p:spPr bwMode="auto">
            <a:xfrm>
              <a:off x="5379" y="2866"/>
              <a:ext cx="7" cy="8"/>
            </a:xfrm>
            <a:custGeom>
              <a:avLst/>
              <a:gdLst>
                <a:gd name="T0" fmla="*/ 0 w 6"/>
                <a:gd name="T1" fmla="*/ 7 h 7"/>
                <a:gd name="T2" fmla="*/ 0 w 6"/>
                <a:gd name="T3" fmla="*/ 7 h 7"/>
                <a:gd name="T4" fmla="*/ 6 w 6"/>
                <a:gd name="T5" fmla="*/ 7 h 7"/>
                <a:gd name="T6" fmla="*/ 4 w 6"/>
                <a:gd name="T7" fmla="*/ 0 h 7"/>
                <a:gd name="T8" fmla="*/ 0 w 6"/>
                <a:gd name="T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">
                  <a:moveTo>
                    <a:pt x="0" y="7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5"/>
                    <a:pt x="5" y="2"/>
                    <a:pt x="4" y="0"/>
                  </a:cubicBezTo>
                  <a:cubicBezTo>
                    <a:pt x="2" y="3"/>
                    <a:pt x="0" y="6"/>
                    <a:pt x="0" y="7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13" name="Freeform 7373"/>
            <p:cNvSpPr>
              <a:spLocks/>
            </p:cNvSpPr>
            <p:nvPr/>
          </p:nvSpPr>
          <p:spPr bwMode="auto">
            <a:xfrm>
              <a:off x="5383" y="2847"/>
              <a:ext cx="6" cy="9"/>
            </a:xfrm>
            <a:custGeom>
              <a:avLst/>
              <a:gdLst>
                <a:gd name="T0" fmla="*/ 5 w 5"/>
                <a:gd name="T1" fmla="*/ 0 h 7"/>
                <a:gd name="T2" fmla="*/ 0 w 5"/>
                <a:gd name="T3" fmla="*/ 4 h 7"/>
                <a:gd name="T4" fmla="*/ 0 w 5"/>
                <a:gd name="T5" fmla="*/ 4 h 7"/>
                <a:gd name="T6" fmla="*/ 0 w 5"/>
                <a:gd name="T7" fmla="*/ 4 h 7"/>
                <a:gd name="T8" fmla="*/ 0 w 5"/>
                <a:gd name="T9" fmla="*/ 4 h 7"/>
                <a:gd name="T10" fmla="*/ 3 w 5"/>
                <a:gd name="T11" fmla="*/ 7 h 7"/>
                <a:gd name="T12" fmla="*/ 4 w 5"/>
                <a:gd name="T13" fmla="*/ 6 h 7"/>
                <a:gd name="T14" fmla="*/ 5 w 5"/>
                <a:gd name="T1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" h="7">
                  <a:moveTo>
                    <a:pt x="5" y="0"/>
                  </a:moveTo>
                  <a:cubicBezTo>
                    <a:pt x="3" y="1"/>
                    <a:pt x="2" y="2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5"/>
                    <a:pt x="2" y="6"/>
                    <a:pt x="3" y="7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4"/>
                    <a:pt x="5" y="2"/>
                    <a:pt x="5" y="0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14" name="Freeform 7374"/>
            <p:cNvSpPr>
              <a:spLocks/>
            </p:cNvSpPr>
            <p:nvPr/>
          </p:nvSpPr>
          <p:spPr bwMode="auto">
            <a:xfrm>
              <a:off x="5384" y="2838"/>
              <a:ext cx="6" cy="9"/>
            </a:xfrm>
            <a:custGeom>
              <a:avLst/>
              <a:gdLst>
                <a:gd name="T0" fmla="*/ 4 w 5"/>
                <a:gd name="T1" fmla="*/ 6 h 8"/>
                <a:gd name="T2" fmla="*/ 5 w 5"/>
                <a:gd name="T3" fmla="*/ 3 h 8"/>
                <a:gd name="T4" fmla="*/ 2 w 5"/>
                <a:gd name="T5" fmla="*/ 0 h 8"/>
                <a:gd name="T6" fmla="*/ 0 w 5"/>
                <a:gd name="T7" fmla="*/ 8 h 8"/>
                <a:gd name="T8" fmla="*/ 4 w 5"/>
                <a:gd name="T9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">
                  <a:moveTo>
                    <a:pt x="4" y="6"/>
                  </a:moveTo>
                  <a:cubicBezTo>
                    <a:pt x="5" y="5"/>
                    <a:pt x="5" y="4"/>
                    <a:pt x="5" y="3"/>
                  </a:cubicBezTo>
                  <a:cubicBezTo>
                    <a:pt x="4" y="2"/>
                    <a:pt x="3" y="1"/>
                    <a:pt x="2" y="0"/>
                  </a:cubicBezTo>
                  <a:cubicBezTo>
                    <a:pt x="1" y="3"/>
                    <a:pt x="1" y="6"/>
                    <a:pt x="0" y="8"/>
                  </a:cubicBezTo>
                  <a:cubicBezTo>
                    <a:pt x="2" y="7"/>
                    <a:pt x="3" y="6"/>
                    <a:pt x="4" y="6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15" name="Freeform 7375"/>
            <p:cNvSpPr>
              <a:spLocks/>
            </p:cNvSpPr>
            <p:nvPr/>
          </p:nvSpPr>
          <p:spPr bwMode="auto">
            <a:xfrm>
              <a:off x="5374" y="2832"/>
              <a:ext cx="9" cy="19"/>
            </a:xfrm>
            <a:custGeom>
              <a:avLst/>
              <a:gdLst>
                <a:gd name="T0" fmla="*/ 7 w 7"/>
                <a:gd name="T1" fmla="*/ 14 h 16"/>
                <a:gd name="T2" fmla="*/ 5 w 7"/>
                <a:gd name="T3" fmla="*/ 16 h 16"/>
                <a:gd name="T4" fmla="*/ 4 w 7"/>
                <a:gd name="T5" fmla="*/ 16 h 16"/>
                <a:gd name="T6" fmla="*/ 0 w 7"/>
                <a:gd name="T7" fmla="*/ 1 h 16"/>
                <a:gd name="T8" fmla="*/ 1 w 7"/>
                <a:gd name="T9" fmla="*/ 0 h 16"/>
                <a:gd name="T10" fmla="*/ 3 w 7"/>
                <a:gd name="T11" fmla="*/ 1 h 16"/>
                <a:gd name="T12" fmla="*/ 7 w 7"/>
                <a:gd name="T13" fmla="*/ 1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6">
                  <a:moveTo>
                    <a:pt x="7" y="14"/>
                  </a:moveTo>
                  <a:cubicBezTo>
                    <a:pt x="6" y="15"/>
                    <a:pt x="5" y="15"/>
                    <a:pt x="5" y="16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3" y="10"/>
                    <a:pt x="2" y="5"/>
                    <a:pt x="0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2" y="0"/>
                    <a:pt x="3" y="1"/>
                  </a:cubicBezTo>
                  <a:cubicBezTo>
                    <a:pt x="5" y="4"/>
                    <a:pt x="6" y="8"/>
                    <a:pt x="7" y="14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16" name="Freeform 7376"/>
            <p:cNvSpPr>
              <a:spLocks/>
            </p:cNvSpPr>
            <p:nvPr/>
          </p:nvSpPr>
          <p:spPr bwMode="auto">
            <a:xfrm>
              <a:off x="5400" y="2809"/>
              <a:ext cx="6" cy="2"/>
            </a:xfrm>
            <a:custGeom>
              <a:avLst/>
              <a:gdLst>
                <a:gd name="T0" fmla="*/ 5 w 5"/>
                <a:gd name="T1" fmla="*/ 1 h 2"/>
                <a:gd name="T2" fmla="*/ 0 w 5"/>
                <a:gd name="T3" fmla="*/ 1 h 2"/>
                <a:gd name="T4" fmla="*/ 2 w 5"/>
                <a:gd name="T5" fmla="*/ 2 h 2"/>
                <a:gd name="T6" fmla="*/ 5 w 5"/>
                <a:gd name="T7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2">
                  <a:moveTo>
                    <a:pt x="5" y="1"/>
                  </a:moveTo>
                  <a:cubicBezTo>
                    <a:pt x="3" y="0"/>
                    <a:pt x="2" y="0"/>
                    <a:pt x="0" y="1"/>
                  </a:cubicBezTo>
                  <a:cubicBezTo>
                    <a:pt x="1" y="2"/>
                    <a:pt x="1" y="2"/>
                    <a:pt x="2" y="2"/>
                  </a:cubicBezTo>
                  <a:cubicBezTo>
                    <a:pt x="4" y="0"/>
                    <a:pt x="5" y="1"/>
                    <a:pt x="5" y="1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17" name="Freeform 7377"/>
            <p:cNvSpPr>
              <a:spLocks/>
            </p:cNvSpPr>
            <p:nvPr/>
          </p:nvSpPr>
          <p:spPr bwMode="auto">
            <a:xfrm>
              <a:off x="5379" y="2851"/>
              <a:ext cx="1" cy="1"/>
            </a:xfrm>
            <a:custGeom>
              <a:avLst/>
              <a:gdLst>
                <a:gd name="T0" fmla="*/ 0 w 1"/>
                <a:gd name="T1" fmla="*/ 1 h 1"/>
                <a:gd name="T2" fmla="*/ 1 w 1"/>
                <a:gd name="T3" fmla="*/ 0 h 1"/>
                <a:gd name="T4" fmla="*/ 0 w 1"/>
                <a:gd name="T5" fmla="*/ 0 h 1"/>
                <a:gd name="T6" fmla="*/ 0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1"/>
                    <a:pt x="0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18" name="Freeform 7378"/>
            <p:cNvSpPr>
              <a:spLocks/>
            </p:cNvSpPr>
            <p:nvPr/>
          </p:nvSpPr>
          <p:spPr bwMode="auto">
            <a:xfrm>
              <a:off x="5389" y="2826"/>
              <a:ext cx="4" cy="12"/>
            </a:xfrm>
            <a:custGeom>
              <a:avLst/>
              <a:gdLst>
                <a:gd name="T0" fmla="*/ 2 w 3"/>
                <a:gd name="T1" fmla="*/ 6 h 10"/>
                <a:gd name="T2" fmla="*/ 1 w 3"/>
                <a:gd name="T3" fmla="*/ 7 h 10"/>
                <a:gd name="T4" fmla="*/ 2 w 3"/>
                <a:gd name="T5" fmla="*/ 6 h 10"/>
                <a:gd name="T6" fmla="*/ 3 w 3"/>
                <a:gd name="T7" fmla="*/ 3 h 10"/>
                <a:gd name="T8" fmla="*/ 2 w 3"/>
                <a:gd name="T9" fmla="*/ 0 h 10"/>
                <a:gd name="T10" fmla="*/ 0 w 3"/>
                <a:gd name="T11" fmla="*/ 4 h 10"/>
                <a:gd name="T12" fmla="*/ 1 w 3"/>
                <a:gd name="T13" fmla="*/ 10 h 10"/>
                <a:gd name="T14" fmla="*/ 2 w 3"/>
                <a:gd name="T15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" h="10">
                  <a:moveTo>
                    <a:pt x="2" y="6"/>
                  </a:moveTo>
                  <a:cubicBezTo>
                    <a:pt x="2" y="7"/>
                    <a:pt x="1" y="7"/>
                    <a:pt x="1" y="7"/>
                  </a:cubicBezTo>
                  <a:cubicBezTo>
                    <a:pt x="1" y="7"/>
                    <a:pt x="1" y="7"/>
                    <a:pt x="2" y="6"/>
                  </a:cubicBezTo>
                  <a:cubicBezTo>
                    <a:pt x="2" y="5"/>
                    <a:pt x="3" y="4"/>
                    <a:pt x="3" y="3"/>
                  </a:cubicBezTo>
                  <a:cubicBezTo>
                    <a:pt x="3" y="2"/>
                    <a:pt x="2" y="1"/>
                    <a:pt x="2" y="0"/>
                  </a:cubicBezTo>
                  <a:cubicBezTo>
                    <a:pt x="1" y="2"/>
                    <a:pt x="1" y="3"/>
                    <a:pt x="0" y="4"/>
                  </a:cubicBezTo>
                  <a:cubicBezTo>
                    <a:pt x="1" y="6"/>
                    <a:pt x="1" y="8"/>
                    <a:pt x="1" y="10"/>
                  </a:cubicBezTo>
                  <a:cubicBezTo>
                    <a:pt x="2" y="9"/>
                    <a:pt x="2" y="7"/>
                    <a:pt x="2" y="6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19" name="Freeform 7379"/>
            <p:cNvSpPr>
              <a:spLocks/>
            </p:cNvSpPr>
            <p:nvPr/>
          </p:nvSpPr>
          <p:spPr bwMode="auto">
            <a:xfrm>
              <a:off x="5395" y="2813"/>
              <a:ext cx="2" cy="5"/>
            </a:xfrm>
            <a:custGeom>
              <a:avLst/>
              <a:gdLst>
                <a:gd name="T0" fmla="*/ 2 w 2"/>
                <a:gd name="T1" fmla="*/ 1 h 4"/>
                <a:gd name="T2" fmla="*/ 2 w 2"/>
                <a:gd name="T3" fmla="*/ 0 h 4"/>
                <a:gd name="T4" fmla="*/ 0 w 2"/>
                <a:gd name="T5" fmla="*/ 2 h 4"/>
                <a:gd name="T6" fmla="*/ 1 w 2"/>
                <a:gd name="T7" fmla="*/ 4 h 4"/>
                <a:gd name="T8" fmla="*/ 2 w 2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2" y="1"/>
                  </a:moveTo>
                  <a:cubicBezTo>
                    <a:pt x="2" y="1"/>
                    <a:pt x="2" y="1"/>
                    <a:pt x="2" y="0"/>
                  </a:cubicBezTo>
                  <a:cubicBezTo>
                    <a:pt x="1" y="1"/>
                    <a:pt x="1" y="1"/>
                    <a:pt x="0" y="2"/>
                  </a:cubicBezTo>
                  <a:cubicBezTo>
                    <a:pt x="1" y="3"/>
                    <a:pt x="1" y="3"/>
                    <a:pt x="1" y="4"/>
                  </a:cubicBezTo>
                  <a:cubicBezTo>
                    <a:pt x="2" y="3"/>
                    <a:pt x="2" y="2"/>
                    <a:pt x="2" y="1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20" name="Freeform 7380"/>
            <p:cNvSpPr>
              <a:spLocks/>
            </p:cNvSpPr>
            <p:nvPr/>
          </p:nvSpPr>
          <p:spPr bwMode="auto">
            <a:xfrm>
              <a:off x="5380" y="2852"/>
              <a:ext cx="6" cy="5"/>
            </a:xfrm>
            <a:custGeom>
              <a:avLst/>
              <a:gdLst>
                <a:gd name="T0" fmla="*/ 5 w 5"/>
                <a:gd name="T1" fmla="*/ 3 h 4"/>
                <a:gd name="T2" fmla="*/ 3 w 5"/>
                <a:gd name="T3" fmla="*/ 4 h 4"/>
                <a:gd name="T4" fmla="*/ 0 w 5"/>
                <a:gd name="T5" fmla="*/ 3 h 4"/>
                <a:gd name="T6" fmla="*/ 2 w 5"/>
                <a:gd name="T7" fmla="*/ 0 h 4"/>
                <a:gd name="T8" fmla="*/ 5 w 5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4">
                  <a:moveTo>
                    <a:pt x="5" y="3"/>
                  </a:moveTo>
                  <a:cubicBezTo>
                    <a:pt x="5" y="3"/>
                    <a:pt x="4" y="3"/>
                    <a:pt x="3" y="4"/>
                  </a:cubicBezTo>
                  <a:cubicBezTo>
                    <a:pt x="2" y="4"/>
                    <a:pt x="1" y="3"/>
                    <a:pt x="0" y="3"/>
                  </a:cubicBezTo>
                  <a:cubicBezTo>
                    <a:pt x="1" y="2"/>
                    <a:pt x="1" y="1"/>
                    <a:pt x="2" y="0"/>
                  </a:cubicBezTo>
                  <a:cubicBezTo>
                    <a:pt x="3" y="1"/>
                    <a:pt x="4" y="2"/>
                    <a:pt x="5" y="3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21" name="Freeform 7381"/>
            <p:cNvSpPr>
              <a:spLocks/>
            </p:cNvSpPr>
            <p:nvPr/>
          </p:nvSpPr>
          <p:spPr bwMode="auto">
            <a:xfrm>
              <a:off x="5384" y="2862"/>
              <a:ext cx="4" cy="12"/>
            </a:xfrm>
            <a:custGeom>
              <a:avLst/>
              <a:gdLst>
                <a:gd name="T0" fmla="*/ 0 w 3"/>
                <a:gd name="T1" fmla="*/ 3 h 10"/>
                <a:gd name="T2" fmla="*/ 2 w 3"/>
                <a:gd name="T3" fmla="*/ 10 h 10"/>
                <a:gd name="T4" fmla="*/ 2 w 3"/>
                <a:gd name="T5" fmla="*/ 10 h 10"/>
                <a:gd name="T6" fmla="*/ 3 w 3"/>
                <a:gd name="T7" fmla="*/ 0 h 10"/>
                <a:gd name="T8" fmla="*/ 0 w 3"/>
                <a:gd name="T9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10">
                  <a:moveTo>
                    <a:pt x="0" y="3"/>
                  </a:moveTo>
                  <a:cubicBezTo>
                    <a:pt x="1" y="5"/>
                    <a:pt x="2" y="8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6"/>
                    <a:pt x="3" y="3"/>
                    <a:pt x="3" y="0"/>
                  </a:cubicBezTo>
                  <a:cubicBezTo>
                    <a:pt x="2" y="1"/>
                    <a:pt x="1" y="2"/>
                    <a:pt x="0" y="3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22" name="Freeform 7382"/>
            <p:cNvSpPr>
              <a:spLocks/>
            </p:cNvSpPr>
            <p:nvPr/>
          </p:nvSpPr>
          <p:spPr bwMode="auto">
            <a:xfrm>
              <a:off x="5379" y="2856"/>
              <a:ext cx="4" cy="4"/>
            </a:xfrm>
            <a:custGeom>
              <a:avLst/>
              <a:gdLst>
                <a:gd name="T0" fmla="*/ 3 w 3"/>
                <a:gd name="T1" fmla="*/ 1 h 3"/>
                <a:gd name="T2" fmla="*/ 2 w 3"/>
                <a:gd name="T3" fmla="*/ 3 h 3"/>
                <a:gd name="T4" fmla="*/ 0 w 3"/>
                <a:gd name="T5" fmla="*/ 1 h 3"/>
                <a:gd name="T6" fmla="*/ 1 w 3"/>
                <a:gd name="T7" fmla="*/ 0 h 3"/>
                <a:gd name="T8" fmla="*/ 3 w 3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3" y="1"/>
                  </a:moveTo>
                  <a:cubicBezTo>
                    <a:pt x="3" y="2"/>
                    <a:pt x="2" y="2"/>
                    <a:pt x="2" y="3"/>
                  </a:cubicBezTo>
                  <a:cubicBezTo>
                    <a:pt x="1" y="2"/>
                    <a:pt x="1" y="1"/>
                    <a:pt x="0" y="1"/>
                  </a:cubicBezTo>
                  <a:cubicBezTo>
                    <a:pt x="1" y="1"/>
                    <a:pt x="1" y="1"/>
                    <a:pt x="1" y="0"/>
                  </a:cubicBezTo>
                  <a:cubicBezTo>
                    <a:pt x="2" y="1"/>
                    <a:pt x="2" y="1"/>
                    <a:pt x="3" y="1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23" name="Freeform 7383"/>
            <p:cNvSpPr>
              <a:spLocks/>
            </p:cNvSpPr>
            <p:nvPr/>
          </p:nvSpPr>
          <p:spPr bwMode="auto">
            <a:xfrm>
              <a:off x="5386" y="2835"/>
              <a:ext cx="4" cy="6"/>
            </a:xfrm>
            <a:custGeom>
              <a:avLst/>
              <a:gdLst>
                <a:gd name="T0" fmla="*/ 3 w 3"/>
                <a:gd name="T1" fmla="*/ 5 h 5"/>
                <a:gd name="T2" fmla="*/ 3 w 3"/>
                <a:gd name="T3" fmla="*/ 2 h 5"/>
                <a:gd name="T4" fmla="*/ 1 w 3"/>
                <a:gd name="T5" fmla="*/ 0 h 5"/>
                <a:gd name="T6" fmla="*/ 0 w 3"/>
                <a:gd name="T7" fmla="*/ 2 h 5"/>
                <a:gd name="T8" fmla="*/ 3 w 3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5">
                  <a:moveTo>
                    <a:pt x="3" y="5"/>
                  </a:moveTo>
                  <a:cubicBezTo>
                    <a:pt x="3" y="4"/>
                    <a:pt x="3" y="3"/>
                    <a:pt x="3" y="2"/>
                  </a:cubicBezTo>
                  <a:cubicBezTo>
                    <a:pt x="2" y="2"/>
                    <a:pt x="2" y="1"/>
                    <a:pt x="1" y="0"/>
                  </a:cubicBezTo>
                  <a:cubicBezTo>
                    <a:pt x="1" y="1"/>
                    <a:pt x="0" y="2"/>
                    <a:pt x="0" y="2"/>
                  </a:cubicBezTo>
                  <a:cubicBezTo>
                    <a:pt x="1" y="3"/>
                    <a:pt x="2" y="4"/>
                    <a:pt x="3" y="5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24" name="Freeform 7384"/>
            <p:cNvSpPr>
              <a:spLocks/>
            </p:cNvSpPr>
            <p:nvPr/>
          </p:nvSpPr>
          <p:spPr bwMode="auto">
            <a:xfrm>
              <a:off x="5376" y="2830"/>
              <a:ext cx="2" cy="3"/>
            </a:xfrm>
            <a:custGeom>
              <a:avLst/>
              <a:gdLst>
                <a:gd name="T0" fmla="*/ 2 w 2"/>
                <a:gd name="T1" fmla="*/ 2 h 2"/>
                <a:gd name="T2" fmla="*/ 0 w 2"/>
                <a:gd name="T3" fmla="*/ 1 h 2"/>
                <a:gd name="T4" fmla="*/ 0 w 2"/>
                <a:gd name="T5" fmla="*/ 0 h 2"/>
                <a:gd name="T6" fmla="*/ 1 w 2"/>
                <a:gd name="T7" fmla="*/ 1 h 2"/>
                <a:gd name="T8" fmla="*/ 2 w 2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cubicBezTo>
                    <a:pt x="1" y="1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0" y="0"/>
                    <a:pt x="1" y="0"/>
                    <a:pt x="1" y="1"/>
                  </a:cubicBezTo>
                  <a:cubicBezTo>
                    <a:pt x="2" y="1"/>
                    <a:pt x="2" y="1"/>
                    <a:pt x="2" y="2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25" name="Freeform 7385"/>
            <p:cNvSpPr>
              <a:spLocks/>
            </p:cNvSpPr>
            <p:nvPr/>
          </p:nvSpPr>
          <p:spPr bwMode="auto">
            <a:xfrm>
              <a:off x="5365" y="2824"/>
              <a:ext cx="3" cy="2"/>
            </a:xfrm>
            <a:custGeom>
              <a:avLst/>
              <a:gdLst>
                <a:gd name="T0" fmla="*/ 3 w 3"/>
                <a:gd name="T1" fmla="*/ 0 h 1"/>
                <a:gd name="T2" fmla="*/ 0 w 3"/>
                <a:gd name="T3" fmla="*/ 0 h 1"/>
                <a:gd name="T4" fmla="*/ 0 w 3"/>
                <a:gd name="T5" fmla="*/ 0 h 1"/>
                <a:gd name="T6" fmla="*/ 3 w 3"/>
                <a:gd name="T7" fmla="*/ 1 h 1"/>
                <a:gd name="T8" fmla="*/ 3 w 3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1">
                  <a:moveTo>
                    <a:pt x="3" y="0"/>
                  </a:move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2" y="0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26" name="Freeform 7386"/>
            <p:cNvSpPr>
              <a:spLocks/>
            </p:cNvSpPr>
            <p:nvPr/>
          </p:nvSpPr>
          <p:spPr bwMode="auto">
            <a:xfrm>
              <a:off x="5388" y="2854"/>
              <a:ext cx="3" cy="4"/>
            </a:xfrm>
            <a:custGeom>
              <a:avLst/>
              <a:gdLst>
                <a:gd name="T0" fmla="*/ 0 w 3"/>
                <a:gd name="T1" fmla="*/ 2 h 4"/>
                <a:gd name="T2" fmla="*/ 3 w 3"/>
                <a:gd name="T3" fmla="*/ 4 h 4"/>
                <a:gd name="T4" fmla="*/ 3 w 3"/>
                <a:gd name="T5" fmla="*/ 0 h 4"/>
                <a:gd name="T6" fmla="*/ 0 w 3"/>
                <a:gd name="T7" fmla="*/ 1 h 4"/>
                <a:gd name="T8" fmla="*/ 0 w 3"/>
                <a:gd name="T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0" y="2"/>
                  </a:moveTo>
                  <a:cubicBezTo>
                    <a:pt x="2" y="3"/>
                    <a:pt x="3" y="4"/>
                    <a:pt x="3" y="4"/>
                  </a:cubicBezTo>
                  <a:cubicBezTo>
                    <a:pt x="3" y="3"/>
                    <a:pt x="3" y="2"/>
                    <a:pt x="3" y="0"/>
                  </a:cubicBezTo>
                  <a:cubicBezTo>
                    <a:pt x="2" y="1"/>
                    <a:pt x="1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27" name="Freeform 7387"/>
            <p:cNvSpPr>
              <a:spLocks/>
            </p:cNvSpPr>
            <p:nvPr/>
          </p:nvSpPr>
          <p:spPr bwMode="auto">
            <a:xfrm>
              <a:off x="5373" y="2858"/>
              <a:ext cx="6" cy="16"/>
            </a:xfrm>
            <a:custGeom>
              <a:avLst/>
              <a:gdLst>
                <a:gd name="T0" fmla="*/ 5 w 5"/>
                <a:gd name="T1" fmla="*/ 2 h 13"/>
                <a:gd name="T2" fmla="*/ 5 w 5"/>
                <a:gd name="T3" fmla="*/ 2 h 13"/>
                <a:gd name="T4" fmla="*/ 5 w 5"/>
                <a:gd name="T5" fmla="*/ 0 h 13"/>
                <a:gd name="T6" fmla="*/ 4 w 5"/>
                <a:gd name="T7" fmla="*/ 2 h 13"/>
                <a:gd name="T8" fmla="*/ 4 w 5"/>
                <a:gd name="T9" fmla="*/ 5 h 13"/>
                <a:gd name="T10" fmla="*/ 3 w 5"/>
                <a:gd name="T11" fmla="*/ 3 h 13"/>
                <a:gd name="T12" fmla="*/ 0 w 5"/>
                <a:gd name="T13" fmla="*/ 13 h 13"/>
                <a:gd name="T14" fmla="*/ 5 w 5"/>
                <a:gd name="T15" fmla="*/ 13 h 13"/>
                <a:gd name="T16" fmla="*/ 5 w 5"/>
                <a:gd name="T17" fmla="*/ 13 h 13"/>
                <a:gd name="T18" fmla="*/ 5 w 5"/>
                <a:gd name="T19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" h="13">
                  <a:moveTo>
                    <a:pt x="5" y="2"/>
                  </a:moveTo>
                  <a:cubicBezTo>
                    <a:pt x="5" y="2"/>
                    <a:pt x="5" y="2"/>
                    <a:pt x="5" y="2"/>
                  </a:cubicBezTo>
                  <a:cubicBezTo>
                    <a:pt x="5" y="2"/>
                    <a:pt x="5" y="1"/>
                    <a:pt x="5" y="0"/>
                  </a:cubicBezTo>
                  <a:cubicBezTo>
                    <a:pt x="4" y="1"/>
                    <a:pt x="4" y="2"/>
                    <a:pt x="4" y="2"/>
                  </a:cubicBezTo>
                  <a:cubicBezTo>
                    <a:pt x="4" y="4"/>
                    <a:pt x="4" y="5"/>
                    <a:pt x="4" y="5"/>
                  </a:cubicBezTo>
                  <a:cubicBezTo>
                    <a:pt x="4" y="4"/>
                    <a:pt x="4" y="3"/>
                    <a:pt x="3" y="3"/>
                  </a:cubicBezTo>
                  <a:cubicBezTo>
                    <a:pt x="1" y="8"/>
                    <a:pt x="0" y="13"/>
                    <a:pt x="0" y="1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12"/>
                    <a:pt x="5" y="8"/>
                    <a:pt x="5" y="2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28" name="Freeform 7388"/>
            <p:cNvSpPr>
              <a:spLocks/>
            </p:cNvSpPr>
            <p:nvPr/>
          </p:nvSpPr>
          <p:spPr bwMode="auto">
            <a:xfrm>
              <a:off x="5371" y="2830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29" name="Freeform 7389"/>
            <p:cNvSpPr>
              <a:spLocks/>
            </p:cNvSpPr>
            <p:nvPr/>
          </p:nvSpPr>
          <p:spPr bwMode="auto">
            <a:xfrm>
              <a:off x="5368" y="2826"/>
              <a:ext cx="4" cy="4"/>
            </a:xfrm>
            <a:custGeom>
              <a:avLst/>
              <a:gdLst>
                <a:gd name="T0" fmla="*/ 3 w 3"/>
                <a:gd name="T1" fmla="*/ 2 h 4"/>
                <a:gd name="T2" fmla="*/ 2 w 3"/>
                <a:gd name="T3" fmla="*/ 4 h 4"/>
                <a:gd name="T4" fmla="*/ 1 w 3"/>
                <a:gd name="T5" fmla="*/ 4 h 4"/>
                <a:gd name="T6" fmla="*/ 0 w 3"/>
                <a:gd name="T7" fmla="*/ 1 h 4"/>
                <a:gd name="T8" fmla="*/ 0 w 3"/>
                <a:gd name="T9" fmla="*/ 0 h 4"/>
                <a:gd name="T10" fmla="*/ 3 w 3"/>
                <a:gd name="T11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4">
                  <a:moveTo>
                    <a:pt x="3" y="2"/>
                  </a:moveTo>
                  <a:cubicBezTo>
                    <a:pt x="2" y="3"/>
                    <a:pt x="2" y="3"/>
                    <a:pt x="2" y="4"/>
                  </a:cubicBezTo>
                  <a:cubicBezTo>
                    <a:pt x="2" y="4"/>
                    <a:pt x="2" y="4"/>
                    <a:pt x="1" y="4"/>
                  </a:cubicBezTo>
                  <a:cubicBezTo>
                    <a:pt x="1" y="3"/>
                    <a:pt x="0" y="2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1" y="1"/>
                    <a:pt x="2" y="1"/>
                    <a:pt x="3" y="2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30" name="Freeform 7390"/>
            <p:cNvSpPr>
              <a:spLocks/>
            </p:cNvSpPr>
            <p:nvPr/>
          </p:nvSpPr>
          <p:spPr bwMode="auto">
            <a:xfrm>
              <a:off x="5373" y="2833"/>
              <a:ext cx="6" cy="18"/>
            </a:xfrm>
            <a:custGeom>
              <a:avLst/>
              <a:gdLst>
                <a:gd name="T0" fmla="*/ 5 w 5"/>
                <a:gd name="T1" fmla="*/ 15 h 15"/>
                <a:gd name="T2" fmla="*/ 4 w 5"/>
                <a:gd name="T3" fmla="*/ 14 h 15"/>
                <a:gd name="T4" fmla="*/ 0 w 5"/>
                <a:gd name="T5" fmla="*/ 5 h 15"/>
                <a:gd name="T6" fmla="*/ 0 w 5"/>
                <a:gd name="T7" fmla="*/ 4 h 15"/>
                <a:gd name="T8" fmla="*/ 1 w 5"/>
                <a:gd name="T9" fmla="*/ 0 h 15"/>
                <a:gd name="T10" fmla="*/ 5 w 5"/>
                <a:gd name="T11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15">
                  <a:moveTo>
                    <a:pt x="5" y="15"/>
                  </a:moveTo>
                  <a:cubicBezTo>
                    <a:pt x="5" y="15"/>
                    <a:pt x="4" y="15"/>
                    <a:pt x="4" y="14"/>
                  </a:cubicBezTo>
                  <a:cubicBezTo>
                    <a:pt x="4" y="12"/>
                    <a:pt x="2" y="9"/>
                    <a:pt x="0" y="5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0" y="3"/>
                    <a:pt x="1" y="2"/>
                    <a:pt x="1" y="0"/>
                  </a:cubicBezTo>
                  <a:cubicBezTo>
                    <a:pt x="3" y="5"/>
                    <a:pt x="4" y="10"/>
                    <a:pt x="5" y="15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31" name="Freeform 7391"/>
            <p:cNvSpPr>
              <a:spLocks/>
            </p:cNvSpPr>
            <p:nvPr/>
          </p:nvSpPr>
          <p:spPr bwMode="auto">
            <a:xfrm>
              <a:off x="5399" y="2855"/>
              <a:ext cx="1" cy="2"/>
            </a:xfrm>
            <a:custGeom>
              <a:avLst/>
              <a:gdLst>
                <a:gd name="T0" fmla="*/ 0 w 1"/>
                <a:gd name="T1" fmla="*/ 0 h 2"/>
                <a:gd name="T2" fmla="*/ 1 w 1"/>
                <a:gd name="T3" fmla="*/ 2 h 2"/>
                <a:gd name="T4" fmla="*/ 1 w 1"/>
                <a:gd name="T5" fmla="*/ 2 h 2"/>
                <a:gd name="T6" fmla="*/ 1 w 1"/>
                <a:gd name="T7" fmla="*/ 0 h 2"/>
                <a:gd name="T8" fmla="*/ 0 w 1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2">
                  <a:moveTo>
                    <a:pt x="0" y="0"/>
                  </a:moveTo>
                  <a:cubicBezTo>
                    <a:pt x="0" y="0"/>
                    <a:pt x="0" y="1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32" name="Freeform 7392"/>
            <p:cNvSpPr>
              <a:spLocks/>
            </p:cNvSpPr>
            <p:nvPr/>
          </p:nvSpPr>
          <p:spPr bwMode="auto">
            <a:xfrm>
              <a:off x="5378" y="2850"/>
              <a:ext cx="1" cy="2"/>
            </a:xfrm>
            <a:custGeom>
              <a:avLst/>
              <a:gdLst>
                <a:gd name="T0" fmla="*/ 0 w 1"/>
                <a:gd name="T1" fmla="*/ 0 h 2"/>
                <a:gd name="T2" fmla="*/ 1 w 1"/>
                <a:gd name="T3" fmla="*/ 2 h 2"/>
                <a:gd name="T4" fmla="*/ 1 w 1"/>
                <a:gd name="T5" fmla="*/ 1 h 2"/>
                <a:gd name="T6" fmla="*/ 0 w 1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2">
                  <a:moveTo>
                    <a:pt x="0" y="0"/>
                  </a:moveTo>
                  <a:cubicBezTo>
                    <a:pt x="0" y="1"/>
                    <a:pt x="1" y="1"/>
                    <a:pt x="1" y="2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0" y="1"/>
                    <a:pt x="0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33" name="Freeform 7393"/>
            <p:cNvSpPr>
              <a:spLocks/>
            </p:cNvSpPr>
            <p:nvPr/>
          </p:nvSpPr>
          <p:spPr bwMode="auto">
            <a:xfrm>
              <a:off x="5400" y="2855"/>
              <a:ext cx="1" cy="2"/>
            </a:xfrm>
            <a:custGeom>
              <a:avLst/>
              <a:gdLst>
                <a:gd name="T0" fmla="*/ 0 w 1"/>
                <a:gd name="T1" fmla="*/ 0 h 2"/>
                <a:gd name="T2" fmla="*/ 0 w 1"/>
                <a:gd name="T3" fmla="*/ 2 h 2"/>
                <a:gd name="T4" fmla="*/ 1 w 1"/>
                <a:gd name="T5" fmla="*/ 2 h 2"/>
                <a:gd name="T6" fmla="*/ 0 w 1"/>
                <a:gd name="T7" fmla="*/ 0 h 2"/>
                <a:gd name="T8" fmla="*/ 0 w 1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2">
                  <a:moveTo>
                    <a:pt x="0" y="0"/>
                  </a:moveTo>
                  <a:cubicBezTo>
                    <a:pt x="0" y="0"/>
                    <a:pt x="0" y="1"/>
                    <a:pt x="0" y="2"/>
                  </a:cubicBezTo>
                  <a:cubicBezTo>
                    <a:pt x="0" y="2"/>
                    <a:pt x="1" y="2"/>
                    <a:pt x="1" y="2"/>
                  </a:cubicBezTo>
                  <a:cubicBezTo>
                    <a:pt x="1" y="1"/>
                    <a:pt x="1" y="1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34" name="Freeform 7394"/>
            <p:cNvSpPr>
              <a:spLocks/>
            </p:cNvSpPr>
            <p:nvPr/>
          </p:nvSpPr>
          <p:spPr bwMode="auto">
            <a:xfrm>
              <a:off x="5388" y="2854"/>
              <a:ext cx="12" cy="8"/>
            </a:xfrm>
            <a:custGeom>
              <a:avLst/>
              <a:gdLst>
                <a:gd name="T0" fmla="*/ 5 w 10"/>
                <a:gd name="T1" fmla="*/ 0 h 7"/>
                <a:gd name="T2" fmla="*/ 4 w 10"/>
                <a:gd name="T3" fmla="*/ 2 h 7"/>
                <a:gd name="T4" fmla="*/ 5 w 10"/>
                <a:gd name="T5" fmla="*/ 0 h 7"/>
                <a:gd name="T6" fmla="*/ 3 w 10"/>
                <a:gd name="T7" fmla="*/ 0 h 7"/>
                <a:gd name="T8" fmla="*/ 3 w 10"/>
                <a:gd name="T9" fmla="*/ 4 h 7"/>
                <a:gd name="T10" fmla="*/ 0 w 10"/>
                <a:gd name="T11" fmla="*/ 2 h 7"/>
                <a:gd name="T12" fmla="*/ 0 w 10"/>
                <a:gd name="T13" fmla="*/ 7 h 7"/>
                <a:gd name="T14" fmla="*/ 10 w 10"/>
                <a:gd name="T15" fmla="*/ 3 h 7"/>
                <a:gd name="T16" fmla="*/ 9 w 10"/>
                <a:gd name="T17" fmla="*/ 1 h 7"/>
                <a:gd name="T18" fmla="*/ 5 w 10"/>
                <a:gd name="T1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7">
                  <a:moveTo>
                    <a:pt x="5" y="0"/>
                  </a:moveTo>
                  <a:cubicBezTo>
                    <a:pt x="5" y="1"/>
                    <a:pt x="4" y="2"/>
                    <a:pt x="4" y="2"/>
                  </a:cubicBezTo>
                  <a:cubicBezTo>
                    <a:pt x="5" y="1"/>
                    <a:pt x="5" y="1"/>
                    <a:pt x="5" y="0"/>
                  </a:cubicBezTo>
                  <a:cubicBezTo>
                    <a:pt x="4" y="0"/>
                    <a:pt x="4" y="0"/>
                    <a:pt x="3" y="0"/>
                  </a:cubicBezTo>
                  <a:cubicBezTo>
                    <a:pt x="3" y="2"/>
                    <a:pt x="3" y="3"/>
                    <a:pt x="3" y="4"/>
                  </a:cubicBezTo>
                  <a:cubicBezTo>
                    <a:pt x="3" y="4"/>
                    <a:pt x="2" y="3"/>
                    <a:pt x="0" y="2"/>
                  </a:cubicBezTo>
                  <a:cubicBezTo>
                    <a:pt x="0" y="4"/>
                    <a:pt x="0" y="5"/>
                    <a:pt x="0" y="7"/>
                  </a:cubicBezTo>
                  <a:cubicBezTo>
                    <a:pt x="3" y="4"/>
                    <a:pt x="6" y="3"/>
                    <a:pt x="10" y="3"/>
                  </a:cubicBezTo>
                  <a:cubicBezTo>
                    <a:pt x="9" y="2"/>
                    <a:pt x="9" y="1"/>
                    <a:pt x="9" y="1"/>
                  </a:cubicBezTo>
                  <a:cubicBezTo>
                    <a:pt x="8" y="0"/>
                    <a:pt x="7" y="0"/>
                    <a:pt x="5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35" name="Freeform 7395"/>
            <p:cNvSpPr>
              <a:spLocks/>
            </p:cNvSpPr>
            <p:nvPr/>
          </p:nvSpPr>
          <p:spPr bwMode="auto">
            <a:xfrm>
              <a:off x="5369" y="2830"/>
              <a:ext cx="2" cy="0"/>
            </a:xfrm>
            <a:custGeom>
              <a:avLst/>
              <a:gdLst>
                <a:gd name="T0" fmla="*/ 1 w 1"/>
                <a:gd name="T1" fmla="*/ 1 w 1"/>
                <a:gd name="T2" fmla="*/ 1 w 1"/>
                <a:gd name="T3" fmla="*/ 0 w 1"/>
                <a:gd name="T4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36" name="Freeform 7396"/>
            <p:cNvSpPr>
              <a:spLocks/>
            </p:cNvSpPr>
            <p:nvPr/>
          </p:nvSpPr>
          <p:spPr bwMode="auto">
            <a:xfrm>
              <a:off x="5400" y="2855"/>
              <a:ext cx="5" cy="3"/>
            </a:xfrm>
            <a:custGeom>
              <a:avLst/>
              <a:gdLst>
                <a:gd name="T0" fmla="*/ 4 w 4"/>
                <a:gd name="T1" fmla="*/ 3 h 3"/>
                <a:gd name="T2" fmla="*/ 4 w 4"/>
                <a:gd name="T3" fmla="*/ 2 h 3"/>
                <a:gd name="T4" fmla="*/ 0 w 4"/>
                <a:gd name="T5" fmla="*/ 0 h 3"/>
                <a:gd name="T6" fmla="*/ 1 w 4"/>
                <a:gd name="T7" fmla="*/ 2 h 3"/>
                <a:gd name="T8" fmla="*/ 4 w 4"/>
                <a:gd name="T9" fmla="*/ 3 h 3"/>
                <a:gd name="T10" fmla="*/ 4 w 4"/>
                <a:gd name="T11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3">
                  <a:moveTo>
                    <a:pt x="4" y="3"/>
                  </a:moveTo>
                  <a:cubicBezTo>
                    <a:pt x="4" y="3"/>
                    <a:pt x="4" y="2"/>
                    <a:pt x="4" y="2"/>
                  </a:cubicBezTo>
                  <a:cubicBezTo>
                    <a:pt x="3" y="1"/>
                    <a:pt x="2" y="0"/>
                    <a:pt x="0" y="0"/>
                  </a:cubicBezTo>
                  <a:cubicBezTo>
                    <a:pt x="1" y="1"/>
                    <a:pt x="1" y="1"/>
                    <a:pt x="1" y="2"/>
                  </a:cubicBezTo>
                  <a:cubicBezTo>
                    <a:pt x="2" y="2"/>
                    <a:pt x="3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37" name="Freeform 7397"/>
            <p:cNvSpPr>
              <a:spLocks/>
            </p:cNvSpPr>
            <p:nvPr/>
          </p:nvSpPr>
          <p:spPr bwMode="auto">
            <a:xfrm>
              <a:off x="5407" y="2860"/>
              <a:ext cx="5" cy="4"/>
            </a:xfrm>
            <a:custGeom>
              <a:avLst/>
              <a:gdLst>
                <a:gd name="T0" fmla="*/ 1 w 4"/>
                <a:gd name="T1" fmla="*/ 0 h 4"/>
                <a:gd name="T2" fmla="*/ 0 w 4"/>
                <a:gd name="T3" fmla="*/ 0 h 4"/>
                <a:gd name="T4" fmla="*/ 4 w 4"/>
                <a:gd name="T5" fmla="*/ 4 h 4"/>
                <a:gd name="T6" fmla="*/ 4 w 4"/>
                <a:gd name="T7" fmla="*/ 4 h 4"/>
                <a:gd name="T8" fmla="*/ 1 w 4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1"/>
                    <a:pt x="2" y="2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3" y="3"/>
                    <a:pt x="2" y="1"/>
                    <a:pt x="1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38" name="Freeform 7398"/>
            <p:cNvSpPr>
              <a:spLocks/>
            </p:cNvSpPr>
            <p:nvPr/>
          </p:nvSpPr>
          <p:spPr bwMode="auto">
            <a:xfrm>
              <a:off x="5367" y="2824"/>
              <a:ext cx="1" cy="3"/>
            </a:xfrm>
            <a:custGeom>
              <a:avLst/>
              <a:gdLst>
                <a:gd name="T0" fmla="*/ 0 w 1"/>
                <a:gd name="T1" fmla="*/ 0 h 2"/>
                <a:gd name="T2" fmla="*/ 1 w 1"/>
                <a:gd name="T3" fmla="*/ 2 h 2"/>
                <a:gd name="T4" fmla="*/ 1 w 1"/>
                <a:gd name="T5" fmla="*/ 1 h 2"/>
                <a:gd name="T6" fmla="*/ 0 w 1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2">
                  <a:moveTo>
                    <a:pt x="0" y="0"/>
                  </a:moveTo>
                  <a:cubicBezTo>
                    <a:pt x="0" y="0"/>
                    <a:pt x="0" y="1"/>
                    <a:pt x="1" y="2"/>
                  </a:cubicBezTo>
                  <a:cubicBezTo>
                    <a:pt x="1" y="2"/>
                    <a:pt x="1" y="1"/>
                    <a:pt x="1" y="1"/>
                  </a:cubicBezTo>
                  <a:cubicBezTo>
                    <a:pt x="0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39" name="Freeform 7399"/>
            <p:cNvSpPr>
              <a:spLocks/>
            </p:cNvSpPr>
            <p:nvPr/>
          </p:nvSpPr>
          <p:spPr bwMode="auto">
            <a:xfrm>
              <a:off x="5386" y="2855"/>
              <a:ext cx="2" cy="1"/>
            </a:xfrm>
            <a:custGeom>
              <a:avLst/>
              <a:gdLst>
                <a:gd name="T0" fmla="*/ 0 w 1"/>
                <a:gd name="T1" fmla="*/ 1 h 1"/>
                <a:gd name="T2" fmla="*/ 1 w 1"/>
                <a:gd name="T3" fmla="*/ 1 h 1"/>
                <a:gd name="T4" fmla="*/ 1 w 1"/>
                <a:gd name="T5" fmla="*/ 0 h 1"/>
                <a:gd name="T6" fmla="*/ 0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0"/>
                  </a:cubicBezTo>
                  <a:cubicBezTo>
                    <a:pt x="1" y="0"/>
                    <a:pt x="1" y="0"/>
                    <a:pt x="0" y="1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40" name="Freeform 7400"/>
            <p:cNvSpPr>
              <a:spLocks/>
            </p:cNvSpPr>
            <p:nvPr/>
          </p:nvSpPr>
          <p:spPr bwMode="auto">
            <a:xfrm>
              <a:off x="5379" y="2860"/>
              <a:ext cx="5" cy="14"/>
            </a:xfrm>
            <a:custGeom>
              <a:avLst/>
              <a:gdLst>
                <a:gd name="T0" fmla="*/ 2 w 4"/>
                <a:gd name="T1" fmla="*/ 0 h 12"/>
                <a:gd name="T2" fmla="*/ 0 w 4"/>
                <a:gd name="T3" fmla="*/ 1 h 12"/>
                <a:gd name="T4" fmla="*/ 0 w 4"/>
                <a:gd name="T5" fmla="*/ 12 h 12"/>
                <a:gd name="T6" fmla="*/ 4 w 4"/>
                <a:gd name="T7" fmla="*/ 5 h 12"/>
                <a:gd name="T8" fmla="*/ 2 w 4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2">
                  <a:moveTo>
                    <a:pt x="2" y="0"/>
                  </a:moveTo>
                  <a:cubicBezTo>
                    <a:pt x="1" y="0"/>
                    <a:pt x="1" y="0"/>
                    <a:pt x="0" y="1"/>
                  </a:cubicBezTo>
                  <a:cubicBezTo>
                    <a:pt x="0" y="7"/>
                    <a:pt x="0" y="11"/>
                    <a:pt x="0" y="12"/>
                  </a:cubicBezTo>
                  <a:cubicBezTo>
                    <a:pt x="0" y="11"/>
                    <a:pt x="2" y="8"/>
                    <a:pt x="4" y="5"/>
                  </a:cubicBezTo>
                  <a:cubicBezTo>
                    <a:pt x="3" y="3"/>
                    <a:pt x="2" y="1"/>
                    <a:pt x="2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41" name="Freeform 7401"/>
            <p:cNvSpPr>
              <a:spLocks/>
            </p:cNvSpPr>
            <p:nvPr/>
          </p:nvSpPr>
          <p:spPr bwMode="auto">
            <a:xfrm>
              <a:off x="5382" y="2856"/>
              <a:ext cx="6" cy="10"/>
            </a:xfrm>
            <a:custGeom>
              <a:avLst/>
              <a:gdLst>
                <a:gd name="T0" fmla="*/ 5 w 5"/>
                <a:gd name="T1" fmla="*/ 0 h 8"/>
                <a:gd name="T2" fmla="*/ 5 w 5"/>
                <a:gd name="T3" fmla="*/ 5 h 8"/>
                <a:gd name="T4" fmla="*/ 2 w 5"/>
                <a:gd name="T5" fmla="*/ 8 h 8"/>
                <a:gd name="T6" fmla="*/ 0 w 5"/>
                <a:gd name="T7" fmla="*/ 3 h 8"/>
                <a:gd name="T8" fmla="*/ 1 w 5"/>
                <a:gd name="T9" fmla="*/ 1 h 8"/>
                <a:gd name="T10" fmla="*/ 5 w 5"/>
                <a:gd name="T11" fmla="*/ 4 h 8"/>
                <a:gd name="T12" fmla="*/ 2 w 5"/>
                <a:gd name="T13" fmla="*/ 1 h 8"/>
                <a:gd name="T14" fmla="*/ 4 w 5"/>
                <a:gd name="T15" fmla="*/ 0 h 8"/>
                <a:gd name="T16" fmla="*/ 5 w 5"/>
                <a:gd name="T1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" h="8">
                  <a:moveTo>
                    <a:pt x="5" y="0"/>
                  </a:moveTo>
                  <a:cubicBezTo>
                    <a:pt x="5" y="2"/>
                    <a:pt x="5" y="3"/>
                    <a:pt x="5" y="5"/>
                  </a:cubicBezTo>
                  <a:cubicBezTo>
                    <a:pt x="4" y="6"/>
                    <a:pt x="3" y="7"/>
                    <a:pt x="2" y="8"/>
                  </a:cubicBezTo>
                  <a:cubicBezTo>
                    <a:pt x="1" y="6"/>
                    <a:pt x="0" y="4"/>
                    <a:pt x="0" y="3"/>
                  </a:cubicBezTo>
                  <a:cubicBezTo>
                    <a:pt x="0" y="2"/>
                    <a:pt x="1" y="2"/>
                    <a:pt x="1" y="1"/>
                  </a:cubicBezTo>
                  <a:cubicBezTo>
                    <a:pt x="2" y="2"/>
                    <a:pt x="3" y="3"/>
                    <a:pt x="5" y="4"/>
                  </a:cubicBezTo>
                  <a:cubicBezTo>
                    <a:pt x="5" y="4"/>
                    <a:pt x="3" y="2"/>
                    <a:pt x="2" y="1"/>
                  </a:cubicBezTo>
                  <a:cubicBezTo>
                    <a:pt x="3" y="0"/>
                    <a:pt x="4" y="0"/>
                    <a:pt x="4" y="0"/>
                  </a:cubicBezTo>
                  <a:cubicBezTo>
                    <a:pt x="5" y="0"/>
                    <a:pt x="5" y="0"/>
                    <a:pt x="5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42" name="Freeform 7402"/>
            <p:cNvSpPr>
              <a:spLocks/>
            </p:cNvSpPr>
            <p:nvPr/>
          </p:nvSpPr>
          <p:spPr bwMode="auto">
            <a:xfrm>
              <a:off x="5352" y="2822"/>
              <a:ext cx="3" cy="1"/>
            </a:xfrm>
            <a:custGeom>
              <a:avLst/>
              <a:gdLst>
                <a:gd name="T0" fmla="*/ 2 w 2"/>
                <a:gd name="T1" fmla="*/ 1 h 1"/>
                <a:gd name="T2" fmla="*/ 0 w 2"/>
                <a:gd name="T3" fmla="*/ 0 h 1"/>
                <a:gd name="T4" fmla="*/ 2 w 2"/>
                <a:gd name="T5" fmla="*/ 0 h 1"/>
                <a:gd name="T6" fmla="*/ 2 w 2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2" y="1"/>
                  </a:moveTo>
                  <a:cubicBezTo>
                    <a:pt x="1" y="0"/>
                    <a:pt x="0" y="0"/>
                    <a:pt x="0" y="0"/>
                  </a:cubicBezTo>
                  <a:cubicBezTo>
                    <a:pt x="1" y="0"/>
                    <a:pt x="1" y="0"/>
                    <a:pt x="2" y="0"/>
                  </a:cubicBezTo>
                  <a:cubicBezTo>
                    <a:pt x="2" y="1"/>
                    <a:pt x="2" y="1"/>
                    <a:pt x="2" y="1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43" name="Freeform 7403"/>
            <p:cNvSpPr>
              <a:spLocks/>
            </p:cNvSpPr>
            <p:nvPr/>
          </p:nvSpPr>
          <p:spPr bwMode="auto">
            <a:xfrm>
              <a:off x="5361" y="2826"/>
              <a:ext cx="4" cy="4"/>
            </a:xfrm>
            <a:custGeom>
              <a:avLst/>
              <a:gdLst>
                <a:gd name="T0" fmla="*/ 3 w 3"/>
                <a:gd name="T1" fmla="*/ 2 h 4"/>
                <a:gd name="T2" fmla="*/ 3 w 3"/>
                <a:gd name="T3" fmla="*/ 4 h 4"/>
                <a:gd name="T4" fmla="*/ 1 w 3"/>
                <a:gd name="T5" fmla="*/ 2 h 4"/>
                <a:gd name="T6" fmla="*/ 0 w 3"/>
                <a:gd name="T7" fmla="*/ 0 h 4"/>
                <a:gd name="T8" fmla="*/ 3 w 3"/>
                <a:gd name="T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3" y="2"/>
                  </a:moveTo>
                  <a:cubicBezTo>
                    <a:pt x="3" y="2"/>
                    <a:pt x="3" y="3"/>
                    <a:pt x="3" y="4"/>
                  </a:cubicBezTo>
                  <a:cubicBezTo>
                    <a:pt x="2" y="3"/>
                    <a:pt x="2" y="2"/>
                    <a:pt x="1" y="2"/>
                  </a:cubicBezTo>
                  <a:cubicBezTo>
                    <a:pt x="1" y="1"/>
                    <a:pt x="1" y="0"/>
                    <a:pt x="0" y="0"/>
                  </a:cubicBezTo>
                  <a:cubicBezTo>
                    <a:pt x="1" y="0"/>
                    <a:pt x="2" y="1"/>
                    <a:pt x="3" y="2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44" name="Freeform 7404"/>
            <p:cNvSpPr>
              <a:spLocks/>
            </p:cNvSpPr>
            <p:nvPr/>
          </p:nvSpPr>
          <p:spPr bwMode="auto">
            <a:xfrm>
              <a:off x="5379" y="2856"/>
              <a:ext cx="0" cy="2"/>
            </a:xfrm>
            <a:custGeom>
              <a:avLst/>
              <a:gdLst>
                <a:gd name="T0" fmla="*/ 0 h 2"/>
                <a:gd name="T1" fmla="*/ 0 h 2"/>
                <a:gd name="T2" fmla="*/ 0 h 2"/>
                <a:gd name="T3" fmla="*/ 2 h 2"/>
                <a:gd name="T4" fmla="*/ 1 h 2"/>
                <a:gd name="T5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1"/>
                    <a:pt x="0" y="1"/>
                    <a:pt x="0" y="0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45" name="Freeform 7405"/>
            <p:cNvSpPr>
              <a:spLocks/>
            </p:cNvSpPr>
            <p:nvPr/>
          </p:nvSpPr>
          <p:spPr bwMode="auto">
            <a:xfrm>
              <a:off x="5366" y="2861"/>
              <a:ext cx="2" cy="13"/>
            </a:xfrm>
            <a:custGeom>
              <a:avLst/>
              <a:gdLst>
                <a:gd name="T0" fmla="*/ 2 w 2"/>
                <a:gd name="T1" fmla="*/ 11 h 11"/>
                <a:gd name="T2" fmla="*/ 0 w 2"/>
                <a:gd name="T3" fmla="*/ 11 h 11"/>
                <a:gd name="T4" fmla="*/ 0 w 2"/>
                <a:gd name="T5" fmla="*/ 11 h 11"/>
                <a:gd name="T6" fmla="*/ 2 w 2"/>
                <a:gd name="T7" fmla="*/ 0 h 11"/>
                <a:gd name="T8" fmla="*/ 2 w 2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11">
                  <a:moveTo>
                    <a:pt x="2" y="11"/>
                  </a:move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0"/>
                    <a:pt x="1" y="6"/>
                    <a:pt x="2" y="0"/>
                  </a:cubicBezTo>
                  <a:cubicBezTo>
                    <a:pt x="2" y="3"/>
                    <a:pt x="2" y="7"/>
                    <a:pt x="2" y="11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46" name="Freeform 7406"/>
            <p:cNvSpPr>
              <a:spLocks/>
            </p:cNvSpPr>
            <p:nvPr/>
          </p:nvSpPr>
          <p:spPr bwMode="auto">
            <a:xfrm>
              <a:off x="5369" y="2851"/>
              <a:ext cx="4" cy="3"/>
            </a:xfrm>
            <a:custGeom>
              <a:avLst/>
              <a:gdLst>
                <a:gd name="T0" fmla="*/ 3 w 3"/>
                <a:gd name="T1" fmla="*/ 2 h 2"/>
                <a:gd name="T2" fmla="*/ 0 w 3"/>
                <a:gd name="T3" fmla="*/ 2 h 2"/>
                <a:gd name="T4" fmla="*/ 0 w 3"/>
                <a:gd name="T5" fmla="*/ 0 h 2"/>
                <a:gd name="T6" fmla="*/ 2 w 3"/>
                <a:gd name="T7" fmla="*/ 0 h 2"/>
                <a:gd name="T8" fmla="*/ 3 w 3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2">
                  <a:moveTo>
                    <a:pt x="3" y="2"/>
                  </a:moveTo>
                  <a:cubicBezTo>
                    <a:pt x="2" y="1"/>
                    <a:pt x="1" y="1"/>
                    <a:pt x="0" y="2"/>
                  </a:cubicBezTo>
                  <a:cubicBezTo>
                    <a:pt x="0" y="1"/>
                    <a:pt x="0" y="1"/>
                    <a:pt x="0" y="0"/>
                  </a:cubicBezTo>
                  <a:cubicBezTo>
                    <a:pt x="1" y="0"/>
                    <a:pt x="2" y="0"/>
                    <a:pt x="2" y="0"/>
                  </a:cubicBezTo>
                  <a:cubicBezTo>
                    <a:pt x="3" y="1"/>
                    <a:pt x="3" y="1"/>
                    <a:pt x="3" y="2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47" name="Freeform 7407"/>
            <p:cNvSpPr>
              <a:spLocks/>
            </p:cNvSpPr>
            <p:nvPr/>
          </p:nvSpPr>
          <p:spPr bwMode="auto">
            <a:xfrm>
              <a:off x="5383" y="2847"/>
              <a:ext cx="1" cy="5"/>
            </a:xfrm>
            <a:custGeom>
              <a:avLst/>
              <a:gdLst>
                <a:gd name="T0" fmla="*/ 0 w 1"/>
                <a:gd name="T1" fmla="*/ 1 h 4"/>
                <a:gd name="T2" fmla="*/ 0 w 1"/>
                <a:gd name="T3" fmla="*/ 4 h 4"/>
                <a:gd name="T4" fmla="*/ 0 w 1"/>
                <a:gd name="T5" fmla="*/ 4 h 4"/>
                <a:gd name="T6" fmla="*/ 1 w 1"/>
                <a:gd name="T7" fmla="*/ 0 h 4"/>
                <a:gd name="T8" fmla="*/ 0 w 1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4">
                  <a:moveTo>
                    <a:pt x="0" y="1"/>
                  </a:moveTo>
                  <a:cubicBezTo>
                    <a:pt x="0" y="2"/>
                    <a:pt x="0" y="3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3"/>
                    <a:pt x="1" y="2"/>
                    <a:pt x="1" y="0"/>
                  </a:cubicBezTo>
                  <a:cubicBezTo>
                    <a:pt x="1" y="0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48" name="Freeform 7408"/>
            <p:cNvSpPr>
              <a:spLocks/>
            </p:cNvSpPr>
            <p:nvPr/>
          </p:nvSpPr>
          <p:spPr bwMode="auto">
            <a:xfrm>
              <a:off x="5356" y="2845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49" name="Freeform 7409"/>
            <p:cNvSpPr>
              <a:spLocks/>
            </p:cNvSpPr>
            <p:nvPr/>
          </p:nvSpPr>
          <p:spPr bwMode="auto">
            <a:xfrm>
              <a:off x="5397" y="2844"/>
              <a:ext cx="3" cy="0"/>
            </a:xfrm>
            <a:custGeom>
              <a:avLst/>
              <a:gdLst>
                <a:gd name="T0" fmla="*/ 0 w 2"/>
                <a:gd name="T1" fmla="*/ 1 w 2"/>
                <a:gd name="T2" fmla="*/ 2 w 2"/>
                <a:gd name="T3" fmla="*/ 0 w 2"/>
                <a:gd name="T4" fmla="*/ 0 w 2"/>
                <a:gd name="T5" fmla="*/ 0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2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50" name="Freeform 7410"/>
            <p:cNvSpPr>
              <a:spLocks/>
            </p:cNvSpPr>
            <p:nvPr/>
          </p:nvSpPr>
          <p:spPr bwMode="auto">
            <a:xfrm>
              <a:off x="5374" y="2852"/>
              <a:ext cx="0" cy="2"/>
            </a:xfrm>
            <a:custGeom>
              <a:avLst/>
              <a:gdLst>
                <a:gd name="T0" fmla="*/ 0 h 1"/>
                <a:gd name="T1" fmla="*/ 1 h 1"/>
                <a:gd name="T2" fmla="*/ 1 h 1"/>
                <a:gd name="T3" fmla="*/ 0 h 1"/>
                <a:gd name="T4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51" name="Freeform 7411"/>
            <p:cNvSpPr>
              <a:spLocks/>
            </p:cNvSpPr>
            <p:nvPr/>
          </p:nvSpPr>
          <p:spPr bwMode="auto">
            <a:xfrm>
              <a:off x="5371" y="2838"/>
              <a:ext cx="3" cy="12"/>
            </a:xfrm>
            <a:custGeom>
              <a:avLst/>
              <a:gdLst>
                <a:gd name="T0" fmla="*/ 3 w 3"/>
                <a:gd name="T1" fmla="*/ 10 h 10"/>
                <a:gd name="T2" fmla="*/ 1 w 3"/>
                <a:gd name="T3" fmla="*/ 9 h 10"/>
                <a:gd name="T4" fmla="*/ 0 w 3"/>
                <a:gd name="T5" fmla="*/ 7 h 10"/>
                <a:gd name="T6" fmla="*/ 2 w 3"/>
                <a:gd name="T7" fmla="*/ 0 h 10"/>
                <a:gd name="T8" fmla="*/ 2 w 3"/>
                <a:gd name="T9" fmla="*/ 1 h 10"/>
                <a:gd name="T10" fmla="*/ 3 w 3"/>
                <a:gd name="T11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10">
                  <a:moveTo>
                    <a:pt x="3" y="10"/>
                  </a:moveTo>
                  <a:cubicBezTo>
                    <a:pt x="3" y="9"/>
                    <a:pt x="2" y="9"/>
                    <a:pt x="1" y="9"/>
                  </a:cubicBezTo>
                  <a:cubicBezTo>
                    <a:pt x="1" y="9"/>
                    <a:pt x="1" y="8"/>
                    <a:pt x="0" y="7"/>
                  </a:cubicBezTo>
                  <a:cubicBezTo>
                    <a:pt x="1" y="5"/>
                    <a:pt x="1" y="3"/>
                    <a:pt x="2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3" y="3"/>
                    <a:pt x="3" y="6"/>
                    <a:pt x="3" y="10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52" name="Freeform 7412"/>
            <p:cNvSpPr>
              <a:spLocks/>
            </p:cNvSpPr>
            <p:nvPr/>
          </p:nvSpPr>
          <p:spPr bwMode="auto">
            <a:xfrm>
              <a:off x="5371" y="2849"/>
              <a:ext cx="0" cy="1"/>
            </a:xfrm>
            <a:custGeom>
              <a:avLst/>
              <a:gdLst>
                <a:gd name="T0" fmla="*/ 0 h 1"/>
                <a:gd name="T1" fmla="*/ 1 h 1"/>
                <a:gd name="T2" fmla="*/ 0 h 1"/>
                <a:gd name="T3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53" name="Freeform 7413"/>
            <p:cNvSpPr>
              <a:spLocks/>
            </p:cNvSpPr>
            <p:nvPr/>
          </p:nvSpPr>
          <p:spPr bwMode="auto">
            <a:xfrm>
              <a:off x="5368" y="2832"/>
              <a:ext cx="1" cy="4"/>
            </a:xfrm>
            <a:custGeom>
              <a:avLst/>
              <a:gdLst>
                <a:gd name="T0" fmla="*/ 0 w 1"/>
                <a:gd name="T1" fmla="*/ 4 h 4"/>
                <a:gd name="T2" fmla="*/ 0 w 1"/>
                <a:gd name="T3" fmla="*/ 0 h 4"/>
                <a:gd name="T4" fmla="*/ 1 w 1"/>
                <a:gd name="T5" fmla="*/ 1 h 4"/>
                <a:gd name="T6" fmla="*/ 0 w 1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4">
                  <a:moveTo>
                    <a:pt x="0" y="4"/>
                  </a:moveTo>
                  <a:cubicBezTo>
                    <a:pt x="0" y="3"/>
                    <a:pt x="0" y="1"/>
                    <a:pt x="0" y="0"/>
                  </a:cubicBezTo>
                  <a:cubicBezTo>
                    <a:pt x="1" y="0"/>
                    <a:pt x="1" y="1"/>
                    <a:pt x="1" y="1"/>
                  </a:cubicBezTo>
                  <a:cubicBezTo>
                    <a:pt x="1" y="2"/>
                    <a:pt x="1" y="3"/>
                    <a:pt x="0" y="4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54" name="Freeform 7414"/>
            <p:cNvSpPr>
              <a:spLocks/>
            </p:cNvSpPr>
            <p:nvPr/>
          </p:nvSpPr>
          <p:spPr bwMode="auto">
            <a:xfrm>
              <a:off x="5369" y="2855"/>
              <a:ext cx="5" cy="11"/>
            </a:xfrm>
            <a:custGeom>
              <a:avLst/>
              <a:gdLst>
                <a:gd name="T0" fmla="*/ 4 w 4"/>
                <a:gd name="T1" fmla="*/ 0 h 9"/>
                <a:gd name="T2" fmla="*/ 3 w 4"/>
                <a:gd name="T3" fmla="*/ 9 h 9"/>
                <a:gd name="T4" fmla="*/ 0 w 4"/>
                <a:gd name="T5" fmla="*/ 1 h 9"/>
                <a:gd name="T6" fmla="*/ 4 w 4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9">
                  <a:moveTo>
                    <a:pt x="4" y="0"/>
                  </a:moveTo>
                  <a:cubicBezTo>
                    <a:pt x="4" y="3"/>
                    <a:pt x="3" y="6"/>
                    <a:pt x="3" y="9"/>
                  </a:cubicBezTo>
                  <a:cubicBezTo>
                    <a:pt x="3" y="9"/>
                    <a:pt x="2" y="5"/>
                    <a:pt x="0" y="1"/>
                  </a:cubicBezTo>
                  <a:cubicBezTo>
                    <a:pt x="1" y="1"/>
                    <a:pt x="3" y="0"/>
                    <a:pt x="4" y="0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55" name="Freeform 7415"/>
            <p:cNvSpPr>
              <a:spLocks/>
            </p:cNvSpPr>
            <p:nvPr/>
          </p:nvSpPr>
          <p:spPr bwMode="auto">
            <a:xfrm>
              <a:off x="5389" y="2844"/>
              <a:ext cx="2" cy="3"/>
            </a:xfrm>
            <a:custGeom>
              <a:avLst/>
              <a:gdLst>
                <a:gd name="T0" fmla="*/ 0 w 2"/>
                <a:gd name="T1" fmla="*/ 1 h 3"/>
                <a:gd name="T2" fmla="*/ 0 w 2"/>
                <a:gd name="T3" fmla="*/ 3 h 3"/>
                <a:gd name="T4" fmla="*/ 2 w 2"/>
                <a:gd name="T5" fmla="*/ 2 h 3"/>
                <a:gd name="T6" fmla="*/ 2 w 2"/>
                <a:gd name="T7" fmla="*/ 0 h 3"/>
                <a:gd name="T8" fmla="*/ 0 w 2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3">
                  <a:moveTo>
                    <a:pt x="0" y="1"/>
                  </a:moveTo>
                  <a:cubicBezTo>
                    <a:pt x="0" y="1"/>
                    <a:pt x="0" y="2"/>
                    <a:pt x="0" y="3"/>
                  </a:cubicBezTo>
                  <a:cubicBezTo>
                    <a:pt x="1" y="2"/>
                    <a:pt x="1" y="2"/>
                    <a:pt x="2" y="2"/>
                  </a:cubicBezTo>
                  <a:cubicBezTo>
                    <a:pt x="2" y="1"/>
                    <a:pt x="2" y="1"/>
                    <a:pt x="2" y="0"/>
                  </a:cubicBezTo>
                  <a:cubicBezTo>
                    <a:pt x="1" y="0"/>
                    <a:pt x="1" y="1"/>
                    <a:pt x="0" y="1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56" name="Freeform 7416"/>
            <p:cNvSpPr>
              <a:spLocks/>
            </p:cNvSpPr>
            <p:nvPr/>
          </p:nvSpPr>
          <p:spPr bwMode="auto">
            <a:xfrm>
              <a:off x="5397" y="2844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57" name="Freeform 7417"/>
            <p:cNvSpPr>
              <a:spLocks/>
            </p:cNvSpPr>
            <p:nvPr/>
          </p:nvSpPr>
          <p:spPr bwMode="auto">
            <a:xfrm>
              <a:off x="5402" y="2845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58" name="Freeform 7418"/>
            <p:cNvSpPr>
              <a:spLocks/>
            </p:cNvSpPr>
            <p:nvPr/>
          </p:nvSpPr>
          <p:spPr bwMode="auto">
            <a:xfrm>
              <a:off x="5369" y="2849"/>
              <a:ext cx="3" cy="2"/>
            </a:xfrm>
            <a:custGeom>
              <a:avLst/>
              <a:gdLst>
                <a:gd name="T0" fmla="*/ 2 w 2"/>
                <a:gd name="T1" fmla="*/ 2 h 2"/>
                <a:gd name="T2" fmla="*/ 0 w 2"/>
                <a:gd name="T3" fmla="*/ 2 h 2"/>
                <a:gd name="T4" fmla="*/ 1 w 2"/>
                <a:gd name="T5" fmla="*/ 1 h 2"/>
                <a:gd name="T6" fmla="*/ 1 w 2"/>
                <a:gd name="T7" fmla="*/ 0 h 2"/>
                <a:gd name="T8" fmla="*/ 2 w 2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cubicBezTo>
                    <a:pt x="2" y="2"/>
                    <a:pt x="1" y="2"/>
                    <a:pt x="0" y="2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2" y="2"/>
                    <a:pt x="2" y="2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59" name="Freeform 7419"/>
            <p:cNvSpPr>
              <a:spLocks/>
            </p:cNvSpPr>
            <p:nvPr/>
          </p:nvSpPr>
          <p:spPr bwMode="auto">
            <a:xfrm>
              <a:off x="5379" y="2852"/>
              <a:ext cx="0" cy="3"/>
            </a:xfrm>
            <a:custGeom>
              <a:avLst/>
              <a:gdLst>
                <a:gd name="T0" fmla="*/ 2 h 2"/>
                <a:gd name="T1" fmla="*/ 2 h 2"/>
                <a:gd name="T2" fmla="*/ 0 h 2"/>
                <a:gd name="T3" fmla="*/ 0 h 2"/>
                <a:gd name="T4" fmla="*/ 0 h 2"/>
                <a:gd name="T5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60" name="Freeform 7420"/>
            <p:cNvSpPr>
              <a:spLocks/>
            </p:cNvSpPr>
            <p:nvPr/>
          </p:nvSpPr>
          <p:spPr bwMode="auto">
            <a:xfrm>
              <a:off x="5372" y="2849"/>
              <a:ext cx="2" cy="3"/>
            </a:xfrm>
            <a:custGeom>
              <a:avLst/>
              <a:gdLst>
                <a:gd name="T0" fmla="*/ 2 w 2"/>
                <a:gd name="T1" fmla="*/ 3 h 3"/>
                <a:gd name="T2" fmla="*/ 2 w 2"/>
                <a:gd name="T3" fmla="*/ 3 h 3"/>
                <a:gd name="T4" fmla="*/ 0 w 2"/>
                <a:gd name="T5" fmla="*/ 0 h 3"/>
                <a:gd name="T6" fmla="*/ 2 w 2"/>
                <a:gd name="T7" fmla="*/ 1 h 3"/>
                <a:gd name="T8" fmla="*/ 2 w 2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3">
                  <a:moveTo>
                    <a:pt x="2" y="3"/>
                  </a:moveTo>
                  <a:cubicBezTo>
                    <a:pt x="2" y="3"/>
                    <a:pt x="2" y="3"/>
                    <a:pt x="2" y="3"/>
                  </a:cubicBezTo>
                  <a:cubicBezTo>
                    <a:pt x="1" y="2"/>
                    <a:pt x="1" y="1"/>
                    <a:pt x="0" y="0"/>
                  </a:cubicBezTo>
                  <a:cubicBezTo>
                    <a:pt x="1" y="0"/>
                    <a:pt x="2" y="0"/>
                    <a:pt x="2" y="1"/>
                  </a:cubicBezTo>
                  <a:cubicBezTo>
                    <a:pt x="2" y="1"/>
                    <a:pt x="2" y="2"/>
                    <a:pt x="2" y="3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61" name="Freeform 7421"/>
            <p:cNvSpPr>
              <a:spLocks/>
            </p:cNvSpPr>
            <p:nvPr/>
          </p:nvSpPr>
          <p:spPr bwMode="auto">
            <a:xfrm>
              <a:off x="5379" y="2856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62" name="Freeform 7422"/>
            <p:cNvSpPr>
              <a:spLocks/>
            </p:cNvSpPr>
            <p:nvPr/>
          </p:nvSpPr>
          <p:spPr bwMode="auto">
            <a:xfrm>
              <a:off x="5391" y="2844"/>
              <a:ext cx="3" cy="2"/>
            </a:xfrm>
            <a:custGeom>
              <a:avLst/>
              <a:gdLst>
                <a:gd name="T0" fmla="*/ 0 w 2"/>
                <a:gd name="T1" fmla="*/ 0 h 2"/>
                <a:gd name="T2" fmla="*/ 0 w 2"/>
                <a:gd name="T3" fmla="*/ 2 h 2"/>
                <a:gd name="T4" fmla="*/ 2 w 2"/>
                <a:gd name="T5" fmla="*/ 1 h 2"/>
                <a:gd name="T6" fmla="*/ 1 w 2"/>
                <a:gd name="T7" fmla="*/ 0 h 2"/>
                <a:gd name="T8" fmla="*/ 0 w 2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cubicBezTo>
                    <a:pt x="0" y="1"/>
                    <a:pt x="0" y="1"/>
                    <a:pt x="0" y="2"/>
                  </a:cubicBezTo>
                  <a:cubicBezTo>
                    <a:pt x="1" y="1"/>
                    <a:pt x="1" y="1"/>
                    <a:pt x="2" y="1"/>
                  </a:cubicBezTo>
                  <a:cubicBezTo>
                    <a:pt x="2" y="1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63" name="Freeform 7423"/>
            <p:cNvSpPr>
              <a:spLocks/>
            </p:cNvSpPr>
            <p:nvPr/>
          </p:nvSpPr>
          <p:spPr bwMode="auto">
            <a:xfrm>
              <a:off x="5397" y="2844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64" name="Freeform 7424"/>
            <p:cNvSpPr>
              <a:spLocks/>
            </p:cNvSpPr>
            <p:nvPr/>
          </p:nvSpPr>
          <p:spPr bwMode="auto">
            <a:xfrm>
              <a:off x="5402" y="2844"/>
              <a:ext cx="1" cy="1"/>
            </a:xfrm>
            <a:custGeom>
              <a:avLst/>
              <a:gdLst>
                <a:gd name="T0" fmla="*/ 0 w 1"/>
                <a:gd name="T1" fmla="*/ 1 h 1"/>
                <a:gd name="T2" fmla="*/ 1 w 1"/>
                <a:gd name="T3" fmla="*/ 1 h 1"/>
                <a:gd name="T4" fmla="*/ 0 w 1"/>
                <a:gd name="T5" fmla="*/ 0 h 1"/>
                <a:gd name="T6" fmla="*/ 0 w 1"/>
                <a:gd name="T7" fmla="*/ 1 h 1"/>
                <a:gd name="T8" fmla="*/ 0 w 1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1"/>
                    <a:pt x="1" y="1"/>
                    <a:pt x="1" y="1"/>
                  </a:cubicBezTo>
                  <a:cubicBezTo>
                    <a:pt x="1" y="1"/>
                    <a:pt x="1" y="1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65" name="Freeform 7425"/>
            <p:cNvSpPr>
              <a:spLocks/>
            </p:cNvSpPr>
            <p:nvPr/>
          </p:nvSpPr>
          <p:spPr bwMode="auto">
            <a:xfrm>
              <a:off x="5393" y="2844"/>
              <a:ext cx="4" cy="1"/>
            </a:xfrm>
            <a:custGeom>
              <a:avLst/>
              <a:gdLst>
                <a:gd name="T0" fmla="*/ 4 w 4"/>
                <a:gd name="T1" fmla="*/ 0 h 1"/>
                <a:gd name="T2" fmla="*/ 4 w 4"/>
                <a:gd name="T3" fmla="*/ 0 h 1"/>
                <a:gd name="T4" fmla="*/ 0 w 4"/>
                <a:gd name="T5" fmla="*/ 0 h 1"/>
                <a:gd name="T6" fmla="*/ 1 w 4"/>
                <a:gd name="T7" fmla="*/ 1 h 1"/>
                <a:gd name="T8" fmla="*/ 4 w 4"/>
                <a:gd name="T9" fmla="*/ 0 h 1"/>
                <a:gd name="T10" fmla="*/ 4 w 4"/>
                <a:gd name="T11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1"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1" y="0"/>
                    <a:pt x="0" y="0"/>
                  </a:cubicBezTo>
                  <a:cubicBezTo>
                    <a:pt x="0" y="0"/>
                    <a:pt x="1" y="1"/>
                    <a:pt x="1" y="1"/>
                  </a:cubicBezTo>
                  <a:cubicBezTo>
                    <a:pt x="2" y="1"/>
                    <a:pt x="3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66" name="Oval 7426"/>
            <p:cNvSpPr>
              <a:spLocks noChangeArrowheads="1"/>
            </p:cNvSpPr>
            <p:nvPr/>
          </p:nvSpPr>
          <p:spPr bwMode="auto">
            <a:xfrm>
              <a:off x="5365" y="2828"/>
              <a:ext cx="2" cy="2"/>
            </a:xfrm>
            <a:prstGeom prst="ellipse">
              <a:avLst/>
            </a:pr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67" name="Freeform 7427"/>
            <p:cNvSpPr>
              <a:spLocks/>
            </p:cNvSpPr>
            <p:nvPr/>
          </p:nvSpPr>
          <p:spPr bwMode="auto">
            <a:xfrm>
              <a:off x="5366" y="2830"/>
              <a:ext cx="2" cy="8"/>
            </a:xfrm>
            <a:custGeom>
              <a:avLst/>
              <a:gdLst>
                <a:gd name="T0" fmla="*/ 2 w 2"/>
                <a:gd name="T1" fmla="*/ 1 h 6"/>
                <a:gd name="T2" fmla="*/ 2 w 2"/>
                <a:gd name="T3" fmla="*/ 0 h 6"/>
                <a:gd name="T4" fmla="*/ 0 w 2"/>
                <a:gd name="T5" fmla="*/ 1 h 6"/>
                <a:gd name="T6" fmla="*/ 2 w 2"/>
                <a:gd name="T7" fmla="*/ 6 h 6"/>
                <a:gd name="T8" fmla="*/ 2 w 2"/>
                <a:gd name="T9" fmla="*/ 5 h 6"/>
                <a:gd name="T10" fmla="*/ 2 w 2"/>
                <a:gd name="T11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6">
                  <a:moveTo>
                    <a:pt x="2" y="1"/>
                  </a:moveTo>
                  <a:cubicBezTo>
                    <a:pt x="2" y="1"/>
                    <a:pt x="2" y="0"/>
                    <a:pt x="2" y="0"/>
                  </a:cubicBezTo>
                  <a:cubicBezTo>
                    <a:pt x="1" y="0"/>
                    <a:pt x="0" y="0"/>
                    <a:pt x="0" y="1"/>
                  </a:cubicBezTo>
                  <a:cubicBezTo>
                    <a:pt x="1" y="2"/>
                    <a:pt x="2" y="4"/>
                    <a:pt x="2" y="6"/>
                  </a:cubicBezTo>
                  <a:cubicBezTo>
                    <a:pt x="2" y="6"/>
                    <a:pt x="2" y="5"/>
                    <a:pt x="2" y="5"/>
                  </a:cubicBezTo>
                  <a:cubicBezTo>
                    <a:pt x="2" y="4"/>
                    <a:pt x="2" y="2"/>
                    <a:pt x="2" y="1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68" name="Freeform 7428"/>
            <p:cNvSpPr>
              <a:spLocks/>
            </p:cNvSpPr>
            <p:nvPr/>
          </p:nvSpPr>
          <p:spPr bwMode="auto">
            <a:xfrm>
              <a:off x="5365" y="2830"/>
              <a:ext cx="3" cy="2"/>
            </a:xfrm>
            <a:custGeom>
              <a:avLst/>
              <a:gdLst>
                <a:gd name="T0" fmla="*/ 3 w 3"/>
                <a:gd name="T1" fmla="*/ 0 h 1"/>
                <a:gd name="T2" fmla="*/ 2 w 3"/>
                <a:gd name="T3" fmla="*/ 0 h 1"/>
                <a:gd name="T4" fmla="*/ 0 w 3"/>
                <a:gd name="T5" fmla="*/ 0 h 1"/>
                <a:gd name="T6" fmla="*/ 1 w 3"/>
                <a:gd name="T7" fmla="*/ 1 h 1"/>
                <a:gd name="T8" fmla="*/ 3 w 3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1">
                  <a:moveTo>
                    <a:pt x="3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1" y="0"/>
                    <a:pt x="0" y="0"/>
                  </a:cubicBezTo>
                  <a:cubicBezTo>
                    <a:pt x="0" y="0"/>
                    <a:pt x="1" y="0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69" name="Freeform 7429"/>
            <p:cNvSpPr>
              <a:spLocks/>
            </p:cNvSpPr>
            <p:nvPr/>
          </p:nvSpPr>
          <p:spPr bwMode="auto">
            <a:xfrm>
              <a:off x="5380" y="2849"/>
              <a:ext cx="3" cy="3"/>
            </a:xfrm>
            <a:custGeom>
              <a:avLst/>
              <a:gdLst>
                <a:gd name="T0" fmla="*/ 0 w 2"/>
                <a:gd name="T1" fmla="*/ 2 h 3"/>
                <a:gd name="T2" fmla="*/ 2 w 2"/>
                <a:gd name="T3" fmla="*/ 3 h 3"/>
                <a:gd name="T4" fmla="*/ 2 w 2"/>
                <a:gd name="T5" fmla="*/ 3 h 3"/>
                <a:gd name="T6" fmla="*/ 2 w 2"/>
                <a:gd name="T7" fmla="*/ 0 h 3"/>
                <a:gd name="T8" fmla="*/ 0 w 2"/>
                <a:gd name="T9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3">
                  <a:moveTo>
                    <a:pt x="0" y="2"/>
                  </a:moveTo>
                  <a:cubicBezTo>
                    <a:pt x="1" y="2"/>
                    <a:pt x="1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2"/>
                    <a:pt x="2" y="1"/>
                    <a:pt x="2" y="0"/>
                  </a:cubicBezTo>
                  <a:cubicBezTo>
                    <a:pt x="1" y="1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70" name="Freeform 7430"/>
            <p:cNvSpPr>
              <a:spLocks/>
            </p:cNvSpPr>
            <p:nvPr/>
          </p:nvSpPr>
          <p:spPr bwMode="auto">
            <a:xfrm>
              <a:off x="5383" y="2845"/>
              <a:ext cx="6" cy="7"/>
            </a:xfrm>
            <a:custGeom>
              <a:avLst/>
              <a:gdLst>
                <a:gd name="T0" fmla="*/ 1 w 5"/>
                <a:gd name="T1" fmla="*/ 2 h 6"/>
                <a:gd name="T2" fmla="*/ 0 w 5"/>
                <a:gd name="T3" fmla="*/ 6 h 6"/>
                <a:gd name="T4" fmla="*/ 5 w 5"/>
                <a:gd name="T5" fmla="*/ 2 h 6"/>
                <a:gd name="T6" fmla="*/ 5 w 5"/>
                <a:gd name="T7" fmla="*/ 0 h 6"/>
                <a:gd name="T8" fmla="*/ 1 w 5"/>
                <a:gd name="T9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6">
                  <a:moveTo>
                    <a:pt x="1" y="2"/>
                  </a:moveTo>
                  <a:cubicBezTo>
                    <a:pt x="1" y="4"/>
                    <a:pt x="1" y="5"/>
                    <a:pt x="0" y="6"/>
                  </a:cubicBezTo>
                  <a:cubicBezTo>
                    <a:pt x="2" y="4"/>
                    <a:pt x="3" y="3"/>
                    <a:pt x="5" y="2"/>
                  </a:cubicBezTo>
                  <a:cubicBezTo>
                    <a:pt x="5" y="1"/>
                    <a:pt x="5" y="0"/>
                    <a:pt x="5" y="0"/>
                  </a:cubicBezTo>
                  <a:cubicBezTo>
                    <a:pt x="4" y="0"/>
                    <a:pt x="3" y="1"/>
                    <a:pt x="1" y="2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71" name="Freeform 7431"/>
            <p:cNvSpPr>
              <a:spLocks/>
            </p:cNvSpPr>
            <p:nvPr/>
          </p:nvSpPr>
          <p:spPr bwMode="auto">
            <a:xfrm>
              <a:off x="5379" y="2856"/>
              <a:ext cx="0" cy="1"/>
            </a:xfrm>
            <a:custGeom>
              <a:avLst/>
              <a:gdLst>
                <a:gd name="T0" fmla="*/ 1 h 1"/>
                <a:gd name="T1" fmla="*/ 1 h 1"/>
                <a:gd name="T2" fmla="*/ 0 h 1"/>
                <a:gd name="T3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72" name="Freeform 7432"/>
            <p:cNvSpPr>
              <a:spLocks/>
            </p:cNvSpPr>
            <p:nvPr/>
          </p:nvSpPr>
          <p:spPr bwMode="auto">
            <a:xfrm>
              <a:off x="5379" y="2856"/>
              <a:ext cx="1" cy="1"/>
            </a:xfrm>
            <a:custGeom>
              <a:avLst/>
              <a:gdLst>
                <a:gd name="T0" fmla="*/ 1 w 1"/>
                <a:gd name="T1" fmla="*/ 0 h 1"/>
                <a:gd name="T2" fmla="*/ 0 w 1"/>
                <a:gd name="T3" fmla="*/ 1 h 1"/>
                <a:gd name="T4" fmla="*/ 0 w 1"/>
                <a:gd name="T5" fmla="*/ 0 h 1"/>
                <a:gd name="T6" fmla="*/ 0 w 1"/>
                <a:gd name="T7" fmla="*/ 0 h 1"/>
                <a:gd name="T8" fmla="*/ 1 w 1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1" y="1"/>
                    <a:pt x="1" y="1"/>
                    <a:pt x="0" y="1"/>
                  </a:cubicBezTo>
                  <a:cubicBezTo>
                    <a:pt x="0" y="1"/>
                    <a:pt x="0" y="1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73" name="Freeform 7433"/>
            <p:cNvSpPr>
              <a:spLocks/>
            </p:cNvSpPr>
            <p:nvPr/>
          </p:nvSpPr>
          <p:spPr bwMode="auto">
            <a:xfrm>
              <a:off x="5379" y="2851"/>
              <a:ext cx="4" cy="5"/>
            </a:xfrm>
            <a:custGeom>
              <a:avLst/>
              <a:gdLst>
                <a:gd name="T0" fmla="*/ 3 w 3"/>
                <a:gd name="T1" fmla="*/ 1 h 4"/>
                <a:gd name="T2" fmla="*/ 1 w 3"/>
                <a:gd name="T3" fmla="*/ 4 h 4"/>
                <a:gd name="T4" fmla="*/ 0 w 3"/>
                <a:gd name="T5" fmla="*/ 3 h 4"/>
                <a:gd name="T6" fmla="*/ 0 w 3"/>
                <a:gd name="T7" fmla="*/ 1 h 4"/>
                <a:gd name="T8" fmla="*/ 1 w 3"/>
                <a:gd name="T9" fmla="*/ 0 h 4"/>
                <a:gd name="T10" fmla="*/ 3 w 3"/>
                <a:gd name="T11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4">
                  <a:moveTo>
                    <a:pt x="3" y="1"/>
                  </a:moveTo>
                  <a:cubicBezTo>
                    <a:pt x="2" y="2"/>
                    <a:pt x="2" y="3"/>
                    <a:pt x="1" y="4"/>
                  </a:cubicBezTo>
                  <a:cubicBezTo>
                    <a:pt x="1" y="3"/>
                    <a:pt x="1" y="3"/>
                    <a:pt x="0" y="3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2" y="0"/>
                    <a:pt x="2" y="1"/>
                    <a:pt x="3" y="1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9313" name="Group 7635"/>
          <p:cNvGrpSpPr>
            <a:grpSpLocks/>
          </p:cNvGrpSpPr>
          <p:nvPr/>
        </p:nvGrpSpPr>
        <p:grpSpPr bwMode="auto">
          <a:xfrm>
            <a:off x="8493126" y="4424363"/>
            <a:ext cx="171450" cy="138113"/>
            <a:chOff x="5350" y="2787"/>
            <a:chExt cx="108" cy="87"/>
          </a:xfrm>
        </p:grpSpPr>
        <p:sp>
          <p:nvSpPr>
            <p:cNvPr id="10274" name="Freeform 7435"/>
            <p:cNvSpPr>
              <a:spLocks/>
            </p:cNvSpPr>
            <p:nvPr/>
          </p:nvSpPr>
          <p:spPr bwMode="auto">
            <a:xfrm>
              <a:off x="5374" y="2852"/>
              <a:ext cx="3" cy="2"/>
            </a:xfrm>
            <a:custGeom>
              <a:avLst/>
              <a:gdLst>
                <a:gd name="T0" fmla="*/ 2 w 2"/>
                <a:gd name="T1" fmla="*/ 1 h 1"/>
                <a:gd name="T2" fmla="*/ 0 w 2"/>
                <a:gd name="T3" fmla="*/ 1 h 1"/>
                <a:gd name="T4" fmla="*/ 0 w 2"/>
                <a:gd name="T5" fmla="*/ 0 h 1"/>
                <a:gd name="T6" fmla="*/ 2 w 2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2" y="1"/>
                  </a:moveTo>
                  <a:cubicBezTo>
                    <a:pt x="2" y="1"/>
                    <a:pt x="1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1"/>
                    <a:pt x="2" y="1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75" name="Freeform 7436"/>
            <p:cNvSpPr>
              <a:spLocks/>
            </p:cNvSpPr>
            <p:nvPr/>
          </p:nvSpPr>
          <p:spPr bwMode="auto">
            <a:xfrm>
              <a:off x="5368" y="2855"/>
              <a:ext cx="9" cy="19"/>
            </a:xfrm>
            <a:custGeom>
              <a:avLst/>
              <a:gdLst>
                <a:gd name="T0" fmla="*/ 7 w 7"/>
                <a:gd name="T1" fmla="*/ 6 h 16"/>
                <a:gd name="T2" fmla="*/ 4 w 7"/>
                <a:gd name="T3" fmla="*/ 16 h 16"/>
                <a:gd name="T4" fmla="*/ 0 w 7"/>
                <a:gd name="T5" fmla="*/ 16 h 16"/>
                <a:gd name="T6" fmla="*/ 0 w 7"/>
                <a:gd name="T7" fmla="*/ 5 h 16"/>
                <a:gd name="T8" fmla="*/ 0 w 7"/>
                <a:gd name="T9" fmla="*/ 1 h 16"/>
                <a:gd name="T10" fmla="*/ 1 w 7"/>
                <a:gd name="T11" fmla="*/ 1 h 16"/>
                <a:gd name="T12" fmla="*/ 4 w 7"/>
                <a:gd name="T13" fmla="*/ 9 h 16"/>
                <a:gd name="T14" fmla="*/ 5 w 7"/>
                <a:gd name="T15" fmla="*/ 0 h 16"/>
                <a:gd name="T16" fmla="*/ 5 w 7"/>
                <a:gd name="T17" fmla="*/ 0 h 16"/>
                <a:gd name="T18" fmla="*/ 7 w 7"/>
                <a:gd name="T19" fmla="*/ 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" h="16">
                  <a:moveTo>
                    <a:pt x="7" y="6"/>
                  </a:moveTo>
                  <a:cubicBezTo>
                    <a:pt x="5" y="11"/>
                    <a:pt x="4" y="16"/>
                    <a:pt x="4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2"/>
                    <a:pt x="0" y="8"/>
                    <a:pt x="0" y="5"/>
                  </a:cubicBezTo>
                  <a:cubicBezTo>
                    <a:pt x="0" y="4"/>
                    <a:pt x="0" y="3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3" y="5"/>
                    <a:pt x="4" y="9"/>
                    <a:pt x="4" y="9"/>
                  </a:cubicBezTo>
                  <a:cubicBezTo>
                    <a:pt x="4" y="6"/>
                    <a:pt x="5" y="3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6" y="2"/>
                    <a:pt x="7" y="4"/>
                    <a:pt x="7" y="6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76" name="Freeform 7437"/>
            <p:cNvSpPr>
              <a:spLocks/>
            </p:cNvSpPr>
            <p:nvPr/>
          </p:nvSpPr>
          <p:spPr bwMode="auto">
            <a:xfrm>
              <a:off x="5376" y="2856"/>
              <a:ext cx="3" cy="5"/>
            </a:xfrm>
            <a:custGeom>
              <a:avLst/>
              <a:gdLst>
                <a:gd name="T0" fmla="*/ 3 w 3"/>
                <a:gd name="T1" fmla="*/ 2 h 4"/>
                <a:gd name="T2" fmla="*/ 2 w 3"/>
                <a:gd name="T3" fmla="*/ 4 h 4"/>
                <a:gd name="T4" fmla="*/ 0 w 3"/>
                <a:gd name="T5" fmla="*/ 0 h 4"/>
                <a:gd name="T6" fmla="*/ 3 w 3"/>
                <a:gd name="T7" fmla="*/ 0 h 4"/>
                <a:gd name="T8" fmla="*/ 3 w 3"/>
                <a:gd name="T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3" y="2"/>
                  </a:moveTo>
                  <a:cubicBezTo>
                    <a:pt x="2" y="3"/>
                    <a:pt x="2" y="4"/>
                    <a:pt x="2" y="4"/>
                  </a:cubicBezTo>
                  <a:cubicBezTo>
                    <a:pt x="1" y="3"/>
                    <a:pt x="1" y="1"/>
                    <a:pt x="0" y="0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3" y="1"/>
                    <a:pt x="3" y="1"/>
                    <a:pt x="3" y="2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77" name="Freeform 7438"/>
            <p:cNvSpPr>
              <a:spLocks/>
            </p:cNvSpPr>
            <p:nvPr/>
          </p:nvSpPr>
          <p:spPr bwMode="auto">
            <a:xfrm>
              <a:off x="5373" y="2839"/>
              <a:ext cx="5" cy="11"/>
            </a:xfrm>
            <a:custGeom>
              <a:avLst/>
              <a:gdLst>
                <a:gd name="T0" fmla="*/ 1 w 4"/>
                <a:gd name="T1" fmla="*/ 9 h 9"/>
                <a:gd name="T2" fmla="*/ 4 w 4"/>
                <a:gd name="T3" fmla="*/ 9 h 9"/>
                <a:gd name="T4" fmla="*/ 0 w 4"/>
                <a:gd name="T5" fmla="*/ 0 h 9"/>
                <a:gd name="T6" fmla="*/ 1 w 4"/>
                <a:gd name="T7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9">
                  <a:moveTo>
                    <a:pt x="1" y="9"/>
                  </a:moveTo>
                  <a:cubicBezTo>
                    <a:pt x="2" y="9"/>
                    <a:pt x="3" y="9"/>
                    <a:pt x="4" y="9"/>
                  </a:cubicBezTo>
                  <a:cubicBezTo>
                    <a:pt x="4" y="7"/>
                    <a:pt x="2" y="4"/>
                    <a:pt x="0" y="0"/>
                  </a:cubicBezTo>
                  <a:cubicBezTo>
                    <a:pt x="1" y="2"/>
                    <a:pt x="1" y="5"/>
                    <a:pt x="1" y="9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78" name="Freeform 7439"/>
            <p:cNvSpPr>
              <a:spLocks/>
            </p:cNvSpPr>
            <p:nvPr/>
          </p:nvSpPr>
          <p:spPr bwMode="auto">
            <a:xfrm>
              <a:off x="5374" y="2850"/>
              <a:ext cx="5" cy="5"/>
            </a:xfrm>
            <a:custGeom>
              <a:avLst/>
              <a:gdLst>
                <a:gd name="T0" fmla="*/ 4 w 4"/>
                <a:gd name="T1" fmla="*/ 4 h 4"/>
                <a:gd name="T2" fmla="*/ 2 w 4"/>
                <a:gd name="T3" fmla="*/ 3 h 4"/>
                <a:gd name="T4" fmla="*/ 0 w 4"/>
                <a:gd name="T5" fmla="*/ 2 h 4"/>
                <a:gd name="T6" fmla="*/ 0 w 4"/>
                <a:gd name="T7" fmla="*/ 0 h 4"/>
                <a:gd name="T8" fmla="*/ 3 w 4"/>
                <a:gd name="T9" fmla="*/ 0 h 4"/>
                <a:gd name="T10" fmla="*/ 4 w 4"/>
                <a:gd name="T11" fmla="*/ 2 h 4"/>
                <a:gd name="T12" fmla="*/ 4 w 4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4">
                  <a:moveTo>
                    <a:pt x="4" y="4"/>
                  </a:moveTo>
                  <a:cubicBezTo>
                    <a:pt x="3" y="4"/>
                    <a:pt x="3" y="3"/>
                    <a:pt x="2" y="3"/>
                  </a:cubicBezTo>
                  <a:cubicBezTo>
                    <a:pt x="1" y="3"/>
                    <a:pt x="1" y="2"/>
                    <a:pt x="0" y="2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3" y="1"/>
                    <a:pt x="4" y="1"/>
                    <a:pt x="4" y="2"/>
                  </a:cubicBezTo>
                  <a:cubicBezTo>
                    <a:pt x="4" y="2"/>
                    <a:pt x="4" y="3"/>
                    <a:pt x="4" y="4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79" name="Freeform 7440"/>
            <p:cNvSpPr>
              <a:spLocks/>
            </p:cNvSpPr>
            <p:nvPr/>
          </p:nvSpPr>
          <p:spPr bwMode="auto">
            <a:xfrm>
              <a:off x="5350" y="2817"/>
              <a:ext cx="5" cy="6"/>
            </a:xfrm>
            <a:custGeom>
              <a:avLst/>
              <a:gdLst>
                <a:gd name="T0" fmla="*/ 4 w 4"/>
                <a:gd name="T1" fmla="*/ 2 h 5"/>
                <a:gd name="T2" fmla="*/ 0 w 4"/>
                <a:gd name="T3" fmla="*/ 5 h 5"/>
                <a:gd name="T4" fmla="*/ 0 w 4"/>
                <a:gd name="T5" fmla="*/ 2 h 5"/>
                <a:gd name="T6" fmla="*/ 3 w 4"/>
                <a:gd name="T7" fmla="*/ 0 h 5"/>
                <a:gd name="T8" fmla="*/ 4 w 4"/>
                <a:gd name="T9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5">
                  <a:moveTo>
                    <a:pt x="4" y="2"/>
                  </a:moveTo>
                  <a:cubicBezTo>
                    <a:pt x="2" y="2"/>
                    <a:pt x="1" y="3"/>
                    <a:pt x="0" y="5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2"/>
                    <a:pt x="2" y="1"/>
                    <a:pt x="3" y="0"/>
                  </a:cubicBezTo>
                  <a:cubicBezTo>
                    <a:pt x="3" y="1"/>
                    <a:pt x="3" y="1"/>
                    <a:pt x="4" y="2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80" name="Freeform 7441"/>
            <p:cNvSpPr>
              <a:spLocks/>
            </p:cNvSpPr>
            <p:nvPr/>
          </p:nvSpPr>
          <p:spPr bwMode="auto">
            <a:xfrm>
              <a:off x="5365" y="2815"/>
              <a:ext cx="11" cy="4"/>
            </a:xfrm>
            <a:custGeom>
              <a:avLst/>
              <a:gdLst>
                <a:gd name="T0" fmla="*/ 9 w 9"/>
                <a:gd name="T1" fmla="*/ 4 h 4"/>
                <a:gd name="T2" fmla="*/ 9 w 9"/>
                <a:gd name="T3" fmla="*/ 4 h 4"/>
                <a:gd name="T4" fmla="*/ 1 w 9"/>
                <a:gd name="T5" fmla="*/ 1 h 4"/>
                <a:gd name="T6" fmla="*/ 0 w 9"/>
                <a:gd name="T7" fmla="*/ 0 h 4"/>
                <a:gd name="T8" fmla="*/ 9 w 9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4">
                  <a:moveTo>
                    <a:pt x="9" y="4"/>
                  </a:moveTo>
                  <a:cubicBezTo>
                    <a:pt x="9" y="4"/>
                    <a:pt x="9" y="4"/>
                    <a:pt x="9" y="4"/>
                  </a:cubicBezTo>
                  <a:cubicBezTo>
                    <a:pt x="6" y="2"/>
                    <a:pt x="3" y="1"/>
                    <a:pt x="1" y="1"/>
                  </a:cubicBezTo>
                  <a:cubicBezTo>
                    <a:pt x="1" y="1"/>
                    <a:pt x="0" y="1"/>
                    <a:pt x="0" y="0"/>
                  </a:cubicBezTo>
                  <a:cubicBezTo>
                    <a:pt x="4" y="1"/>
                    <a:pt x="7" y="2"/>
                    <a:pt x="9" y="4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81" name="Freeform 7442"/>
            <p:cNvSpPr>
              <a:spLocks/>
            </p:cNvSpPr>
            <p:nvPr/>
          </p:nvSpPr>
          <p:spPr bwMode="auto">
            <a:xfrm>
              <a:off x="5358" y="2815"/>
              <a:ext cx="5" cy="2"/>
            </a:xfrm>
            <a:custGeom>
              <a:avLst/>
              <a:gdLst>
                <a:gd name="T0" fmla="*/ 4 w 4"/>
                <a:gd name="T1" fmla="*/ 1 h 2"/>
                <a:gd name="T2" fmla="*/ 0 w 4"/>
                <a:gd name="T3" fmla="*/ 2 h 2"/>
                <a:gd name="T4" fmla="*/ 0 w 4"/>
                <a:gd name="T5" fmla="*/ 1 h 2"/>
                <a:gd name="T6" fmla="*/ 4 w 4"/>
                <a:gd name="T7" fmla="*/ 0 h 2"/>
                <a:gd name="T8" fmla="*/ 4 w 4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4" y="1"/>
                  </a:moveTo>
                  <a:cubicBezTo>
                    <a:pt x="3" y="1"/>
                    <a:pt x="1" y="1"/>
                    <a:pt x="0" y="2"/>
                  </a:cubicBezTo>
                  <a:cubicBezTo>
                    <a:pt x="0" y="2"/>
                    <a:pt x="0" y="1"/>
                    <a:pt x="0" y="1"/>
                  </a:cubicBezTo>
                  <a:cubicBezTo>
                    <a:pt x="1" y="1"/>
                    <a:pt x="3" y="0"/>
                    <a:pt x="4" y="0"/>
                  </a:cubicBezTo>
                  <a:cubicBezTo>
                    <a:pt x="4" y="0"/>
                    <a:pt x="4" y="1"/>
                    <a:pt x="4" y="1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82" name="Freeform 7443"/>
            <p:cNvSpPr>
              <a:spLocks/>
            </p:cNvSpPr>
            <p:nvPr/>
          </p:nvSpPr>
          <p:spPr bwMode="auto">
            <a:xfrm>
              <a:off x="5363" y="2815"/>
              <a:ext cx="3" cy="1"/>
            </a:xfrm>
            <a:custGeom>
              <a:avLst/>
              <a:gdLst>
                <a:gd name="T0" fmla="*/ 2 w 2"/>
                <a:gd name="T1" fmla="*/ 1 h 1"/>
                <a:gd name="T2" fmla="*/ 1 w 2"/>
                <a:gd name="T3" fmla="*/ 0 h 1"/>
                <a:gd name="T4" fmla="*/ 0 w 2"/>
                <a:gd name="T5" fmla="*/ 0 h 1"/>
                <a:gd name="T6" fmla="*/ 0 w 2"/>
                <a:gd name="T7" fmla="*/ 1 h 1"/>
                <a:gd name="T8" fmla="*/ 2 w 2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1">
                  <a:moveTo>
                    <a:pt x="2" y="1"/>
                  </a:moveTo>
                  <a:cubicBezTo>
                    <a:pt x="2" y="1"/>
                    <a:pt x="1" y="1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1" y="1"/>
                    <a:pt x="1" y="1"/>
                    <a:pt x="2" y="1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83" name="Freeform 7444"/>
            <p:cNvSpPr>
              <a:spLocks/>
            </p:cNvSpPr>
            <p:nvPr/>
          </p:nvSpPr>
          <p:spPr bwMode="auto">
            <a:xfrm>
              <a:off x="5384" y="2787"/>
              <a:ext cx="23" cy="17"/>
            </a:xfrm>
            <a:custGeom>
              <a:avLst/>
              <a:gdLst>
                <a:gd name="T0" fmla="*/ 19 w 19"/>
                <a:gd name="T1" fmla="*/ 3 h 14"/>
                <a:gd name="T2" fmla="*/ 0 w 19"/>
                <a:gd name="T3" fmla="*/ 13 h 14"/>
                <a:gd name="T4" fmla="*/ 3 w 19"/>
                <a:gd name="T5" fmla="*/ 14 h 14"/>
                <a:gd name="T6" fmla="*/ 19 w 19"/>
                <a:gd name="T7" fmla="*/ 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14">
                  <a:moveTo>
                    <a:pt x="19" y="3"/>
                  </a:moveTo>
                  <a:cubicBezTo>
                    <a:pt x="19" y="3"/>
                    <a:pt x="10" y="0"/>
                    <a:pt x="0" y="13"/>
                  </a:cubicBezTo>
                  <a:cubicBezTo>
                    <a:pt x="1" y="14"/>
                    <a:pt x="2" y="14"/>
                    <a:pt x="3" y="14"/>
                  </a:cubicBezTo>
                  <a:cubicBezTo>
                    <a:pt x="7" y="7"/>
                    <a:pt x="13" y="2"/>
                    <a:pt x="19" y="3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84" name="Freeform 7445"/>
            <p:cNvSpPr>
              <a:spLocks noEditPoints="1"/>
            </p:cNvSpPr>
            <p:nvPr/>
          </p:nvSpPr>
          <p:spPr bwMode="auto">
            <a:xfrm>
              <a:off x="5350" y="2795"/>
              <a:ext cx="36" cy="51"/>
            </a:xfrm>
            <a:custGeom>
              <a:avLst/>
              <a:gdLst>
                <a:gd name="T0" fmla="*/ 28 w 30"/>
                <a:gd name="T1" fmla="*/ 7 h 42"/>
                <a:gd name="T2" fmla="*/ 21 w 30"/>
                <a:gd name="T3" fmla="*/ 20 h 42"/>
                <a:gd name="T4" fmla="*/ 21 w 30"/>
                <a:gd name="T5" fmla="*/ 20 h 42"/>
                <a:gd name="T6" fmla="*/ 18 w 30"/>
                <a:gd name="T7" fmla="*/ 25 h 42"/>
                <a:gd name="T8" fmla="*/ 18 w 30"/>
                <a:gd name="T9" fmla="*/ 27 h 42"/>
                <a:gd name="T10" fmla="*/ 18 w 30"/>
                <a:gd name="T11" fmla="*/ 27 h 42"/>
                <a:gd name="T12" fmla="*/ 17 w 30"/>
                <a:gd name="T13" fmla="*/ 29 h 42"/>
                <a:gd name="T14" fmla="*/ 17 w 30"/>
                <a:gd name="T15" fmla="*/ 29 h 42"/>
                <a:gd name="T16" fmla="*/ 17 w 30"/>
                <a:gd name="T17" fmla="*/ 29 h 42"/>
                <a:gd name="T18" fmla="*/ 16 w 30"/>
                <a:gd name="T19" fmla="*/ 31 h 42"/>
                <a:gd name="T20" fmla="*/ 15 w 30"/>
                <a:gd name="T21" fmla="*/ 34 h 42"/>
                <a:gd name="T22" fmla="*/ 15 w 30"/>
                <a:gd name="T23" fmla="*/ 35 h 42"/>
                <a:gd name="T24" fmla="*/ 15 w 30"/>
                <a:gd name="T25" fmla="*/ 35 h 42"/>
                <a:gd name="T26" fmla="*/ 14 w 30"/>
                <a:gd name="T27" fmla="*/ 38 h 42"/>
                <a:gd name="T28" fmla="*/ 12 w 30"/>
                <a:gd name="T29" fmla="*/ 31 h 42"/>
                <a:gd name="T30" fmla="*/ 11 w 30"/>
                <a:gd name="T31" fmla="*/ 30 h 42"/>
                <a:gd name="T32" fmla="*/ 11 w 30"/>
                <a:gd name="T33" fmla="*/ 29 h 42"/>
                <a:gd name="T34" fmla="*/ 10 w 30"/>
                <a:gd name="T35" fmla="*/ 27 h 42"/>
                <a:gd name="T36" fmla="*/ 9 w 30"/>
                <a:gd name="T37" fmla="*/ 25 h 42"/>
                <a:gd name="T38" fmla="*/ 7 w 30"/>
                <a:gd name="T39" fmla="*/ 18 h 42"/>
                <a:gd name="T40" fmla="*/ 7 w 30"/>
                <a:gd name="T41" fmla="*/ 17 h 42"/>
                <a:gd name="T42" fmla="*/ 0 w 30"/>
                <a:gd name="T43" fmla="*/ 0 h 42"/>
                <a:gd name="T44" fmla="*/ 0 w 30"/>
                <a:gd name="T45" fmla="*/ 8 h 42"/>
                <a:gd name="T46" fmla="*/ 3 w 30"/>
                <a:gd name="T47" fmla="*/ 18 h 42"/>
                <a:gd name="T48" fmla="*/ 4 w 30"/>
                <a:gd name="T49" fmla="*/ 20 h 42"/>
                <a:gd name="T50" fmla="*/ 4 w 30"/>
                <a:gd name="T51" fmla="*/ 22 h 42"/>
                <a:gd name="T52" fmla="*/ 4 w 30"/>
                <a:gd name="T53" fmla="*/ 23 h 42"/>
                <a:gd name="T54" fmla="*/ 6 w 30"/>
                <a:gd name="T55" fmla="*/ 30 h 42"/>
                <a:gd name="T56" fmla="*/ 7 w 30"/>
                <a:gd name="T57" fmla="*/ 31 h 42"/>
                <a:gd name="T58" fmla="*/ 6 w 30"/>
                <a:gd name="T59" fmla="*/ 31 h 42"/>
                <a:gd name="T60" fmla="*/ 7 w 30"/>
                <a:gd name="T61" fmla="*/ 32 h 42"/>
                <a:gd name="T62" fmla="*/ 7 w 30"/>
                <a:gd name="T63" fmla="*/ 32 h 42"/>
                <a:gd name="T64" fmla="*/ 8 w 30"/>
                <a:gd name="T65" fmla="*/ 39 h 42"/>
                <a:gd name="T66" fmla="*/ 11 w 30"/>
                <a:gd name="T67" fmla="*/ 38 h 42"/>
                <a:gd name="T68" fmla="*/ 15 w 30"/>
                <a:gd name="T69" fmla="*/ 40 h 42"/>
                <a:gd name="T70" fmla="*/ 16 w 30"/>
                <a:gd name="T71" fmla="*/ 41 h 42"/>
                <a:gd name="T72" fmla="*/ 17 w 30"/>
                <a:gd name="T73" fmla="*/ 42 h 42"/>
                <a:gd name="T74" fmla="*/ 19 w 30"/>
                <a:gd name="T75" fmla="*/ 35 h 42"/>
                <a:gd name="T76" fmla="*/ 19 w 30"/>
                <a:gd name="T77" fmla="*/ 35 h 42"/>
                <a:gd name="T78" fmla="*/ 20 w 30"/>
                <a:gd name="T79" fmla="*/ 31 h 42"/>
                <a:gd name="T80" fmla="*/ 20 w 30"/>
                <a:gd name="T81" fmla="*/ 31 h 42"/>
                <a:gd name="T82" fmla="*/ 21 w 30"/>
                <a:gd name="T83" fmla="*/ 30 h 42"/>
                <a:gd name="T84" fmla="*/ 21 w 30"/>
                <a:gd name="T85" fmla="*/ 29 h 42"/>
                <a:gd name="T86" fmla="*/ 21 w 30"/>
                <a:gd name="T87" fmla="*/ 28 h 42"/>
                <a:gd name="T88" fmla="*/ 24 w 30"/>
                <a:gd name="T89" fmla="*/ 22 h 42"/>
                <a:gd name="T90" fmla="*/ 24 w 30"/>
                <a:gd name="T91" fmla="*/ 21 h 42"/>
                <a:gd name="T92" fmla="*/ 30 w 30"/>
                <a:gd name="T93" fmla="*/ 8 h 42"/>
                <a:gd name="T94" fmla="*/ 28 w 30"/>
                <a:gd name="T95" fmla="*/ 7 h 42"/>
                <a:gd name="T96" fmla="*/ 22 w 30"/>
                <a:gd name="T97" fmla="*/ 21 h 42"/>
                <a:gd name="T98" fmla="*/ 22 w 30"/>
                <a:gd name="T99" fmla="*/ 21 h 42"/>
                <a:gd name="T100" fmla="*/ 23 w 30"/>
                <a:gd name="T101" fmla="*/ 21 h 42"/>
                <a:gd name="T102" fmla="*/ 22 w 30"/>
                <a:gd name="T103" fmla="*/ 2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0" h="42">
                  <a:moveTo>
                    <a:pt x="28" y="7"/>
                  </a:moveTo>
                  <a:cubicBezTo>
                    <a:pt x="26" y="10"/>
                    <a:pt x="23" y="14"/>
                    <a:pt x="21" y="20"/>
                  </a:cubicBezTo>
                  <a:cubicBezTo>
                    <a:pt x="21" y="20"/>
                    <a:pt x="21" y="20"/>
                    <a:pt x="21" y="20"/>
                  </a:cubicBezTo>
                  <a:cubicBezTo>
                    <a:pt x="20" y="22"/>
                    <a:pt x="19" y="23"/>
                    <a:pt x="18" y="25"/>
                  </a:cubicBezTo>
                  <a:cubicBezTo>
                    <a:pt x="18" y="26"/>
                    <a:pt x="18" y="26"/>
                    <a:pt x="18" y="27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17" y="28"/>
                    <a:pt x="17" y="28"/>
                    <a:pt x="17" y="29"/>
                  </a:cubicBezTo>
                  <a:cubicBezTo>
                    <a:pt x="17" y="29"/>
                    <a:pt x="17" y="29"/>
                    <a:pt x="17" y="29"/>
                  </a:cubicBezTo>
                  <a:cubicBezTo>
                    <a:pt x="17" y="29"/>
                    <a:pt x="17" y="29"/>
                    <a:pt x="17" y="29"/>
                  </a:cubicBezTo>
                  <a:cubicBezTo>
                    <a:pt x="17" y="30"/>
                    <a:pt x="16" y="31"/>
                    <a:pt x="16" y="31"/>
                  </a:cubicBezTo>
                  <a:cubicBezTo>
                    <a:pt x="16" y="32"/>
                    <a:pt x="16" y="33"/>
                    <a:pt x="15" y="34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5" y="36"/>
                    <a:pt x="14" y="37"/>
                    <a:pt x="14" y="38"/>
                  </a:cubicBezTo>
                  <a:cubicBezTo>
                    <a:pt x="14" y="38"/>
                    <a:pt x="13" y="35"/>
                    <a:pt x="12" y="31"/>
                  </a:cubicBezTo>
                  <a:cubicBezTo>
                    <a:pt x="12" y="31"/>
                    <a:pt x="11" y="30"/>
                    <a:pt x="11" y="30"/>
                  </a:cubicBezTo>
                  <a:cubicBezTo>
                    <a:pt x="11" y="30"/>
                    <a:pt x="11" y="30"/>
                    <a:pt x="11" y="29"/>
                  </a:cubicBezTo>
                  <a:cubicBezTo>
                    <a:pt x="11" y="29"/>
                    <a:pt x="10" y="28"/>
                    <a:pt x="10" y="27"/>
                  </a:cubicBezTo>
                  <a:cubicBezTo>
                    <a:pt x="10" y="26"/>
                    <a:pt x="10" y="25"/>
                    <a:pt x="9" y="25"/>
                  </a:cubicBezTo>
                  <a:cubicBezTo>
                    <a:pt x="9" y="23"/>
                    <a:pt x="8" y="20"/>
                    <a:pt x="7" y="18"/>
                  </a:cubicBezTo>
                  <a:cubicBezTo>
                    <a:pt x="7" y="18"/>
                    <a:pt x="7" y="17"/>
                    <a:pt x="7" y="17"/>
                  </a:cubicBezTo>
                  <a:cubicBezTo>
                    <a:pt x="4" y="12"/>
                    <a:pt x="2" y="6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1" y="11"/>
                    <a:pt x="2" y="15"/>
                    <a:pt x="3" y="18"/>
                  </a:cubicBezTo>
                  <a:cubicBezTo>
                    <a:pt x="3" y="19"/>
                    <a:pt x="3" y="19"/>
                    <a:pt x="4" y="20"/>
                  </a:cubicBezTo>
                  <a:cubicBezTo>
                    <a:pt x="4" y="21"/>
                    <a:pt x="4" y="22"/>
                    <a:pt x="4" y="22"/>
                  </a:cubicBezTo>
                  <a:cubicBezTo>
                    <a:pt x="4" y="23"/>
                    <a:pt x="4" y="23"/>
                    <a:pt x="4" y="23"/>
                  </a:cubicBezTo>
                  <a:cubicBezTo>
                    <a:pt x="5" y="26"/>
                    <a:pt x="6" y="28"/>
                    <a:pt x="6" y="30"/>
                  </a:cubicBezTo>
                  <a:cubicBezTo>
                    <a:pt x="7" y="30"/>
                    <a:pt x="7" y="31"/>
                    <a:pt x="7" y="31"/>
                  </a:cubicBezTo>
                  <a:cubicBezTo>
                    <a:pt x="7" y="31"/>
                    <a:pt x="7" y="31"/>
                    <a:pt x="6" y="31"/>
                  </a:cubicBezTo>
                  <a:cubicBezTo>
                    <a:pt x="6" y="31"/>
                    <a:pt x="6" y="31"/>
                    <a:pt x="7" y="32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7" y="34"/>
                    <a:pt x="8" y="37"/>
                    <a:pt x="8" y="39"/>
                  </a:cubicBezTo>
                  <a:cubicBezTo>
                    <a:pt x="9" y="38"/>
                    <a:pt x="10" y="38"/>
                    <a:pt x="11" y="38"/>
                  </a:cubicBezTo>
                  <a:cubicBezTo>
                    <a:pt x="12" y="38"/>
                    <a:pt x="14" y="39"/>
                    <a:pt x="15" y="40"/>
                  </a:cubicBezTo>
                  <a:cubicBezTo>
                    <a:pt x="15" y="40"/>
                    <a:pt x="15" y="40"/>
                    <a:pt x="16" y="41"/>
                  </a:cubicBezTo>
                  <a:cubicBezTo>
                    <a:pt x="16" y="41"/>
                    <a:pt x="17" y="42"/>
                    <a:pt x="17" y="42"/>
                  </a:cubicBezTo>
                  <a:cubicBezTo>
                    <a:pt x="18" y="40"/>
                    <a:pt x="18" y="38"/>
                    <a:pt x="19" y="35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34"/>
                    <a:pt x="20" y="33"/>
                    <a:pt x="20" y="31"/>
                  </a:cubicBezTo>
                  <a:cubicBezTo>
                    <a:pt x="20" y="31"/>
                    <a:pt x="20" y="31"/>
                    <a:pt x="20" y="31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1" y="30"/>
                    <a:pt x="21" y="29"/>
                    <a:pt x="21" y="29"/>
                  </a:cubicBezTo>
                  <a:cubicBezTo>
                    <a:pt x="21" y="29"/>
                    <a:pt x="21" y="28"/>
                    <a:pt x="21" y="28"/>
                  </a:cubicBezTo>
                  <a:cubicBezTo>
                    <a:pt x="22" y="26"/>
                    <a:pt x="23" y="24"/>
                    <a:pt x="24" y="22"/>
                  </a:cubicBezTo>
                  <a:cubicBezTo>
                    <a:pt x="24" y="21"/>
                    <a:pt x="24" y="21"/>
                    <a:pt x="24" y="21"/>
                  </a:cubicBezTo>
                  <a:cubicBezTo>
                    <a:pt x="26" y="16"/>
                    <a:pt x="28" y="11"/>
                    <a:pt x="30" y="8"/>
                  </a:cubicBezTo>
                  <a:cubicBezTo>
                    <a:pt x="29" y="7"/>
                    <a:pt x="29" y="7"/>
                    <a:pt x="28" y="7"/>
                  </a:cubicBezTo>
                  <a:close/>
                  <a:moveTo>
                    <a:pt x="22" y="21"/>
                  </a:moveTo>
                  <a:cubicBezTo>
                    <a:pt x="22" y="21"/>
                    <a:pt x="22" y="21"/>
                    <a:pt x="22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2" y="21"/>
                    <a:pt x="22" y="21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85" name="Freeform 7446"/>
            <p:cNvSpPr>
              <a:spLocks/>
            </p:cNvSpPr>
            <p:nvPr/>
          </p:nvSpPr>
          <p:spPr bwMode="auto">
            <a:xfrm>
              <a:off x="5384" y="2802"/>
              <a:ext cx="4" cy="3"/>
            </a:xfrm>
            <a:custGeom>
              <a:avLst/>
              <a:gdLst>
                <a:gd name="T0" fmla="*/ 3 w 3"/>
                <a:gd name="T1" fmla="*/ 1 h 2"/>
                <a:gd name="T2" fmla="*/ 2 w 3"/>
                <a:gd name="T3" fmla="*/ 2 h 2"/>
                <a:gd name="T4" fmla="*/ 0 w 3"/>
                <a:gd name="T5" fmla="*/ 1 h 2"/>
                <a:gd name="T6" fmla="*/ 0 w 3"/>
                <a:gd name="T7" fmla="*/ 0 h 2"/>
                <a:gd name="T8" fmla="*/ 3 w 3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2">
                  <a:moveTo>
                    <a:pt x="3" y="1"/>
                  </a:moveTo>
                  <a:cubicBezTo>
                    <a:pt x="2" y="1"/>
                    <a:pt x="2" y="1"/>
                    <a:pt x="2" y="2"/>
                  </a:cubicBezTo>
                  <a:cubicBezTo>
                    <a:pt x="1" y="1"/>
                    <a:pt x="1" y="1"/>
                    <a:pt x="0" y="1"/>
                  </a:cubicBezTo>
                  <a:cubicBezTo>
                    <a:pt x="0" y="1"/>
                    <a:pt x="0" y="1"/>
                    <a:pt x="0" y="0"/>
                  </a:cubicBezTo>
                  <a:cubicBezTo>
                    <a:pt x="1" y="1"/>
                    <a:pt x="2" y="1"/>
                    <a:pt x="3" y="1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86" name="Freeform 7447"/>
            <p:cNvSpPr>
              <a:spLocks/>
            </p:cNvSpPr>
            <p:nvPr/>
          </p:nvSpPr>
          <p:spPr bwMode="auto">
            <a:xfrm>
              <a:off x="5358" y="2856"/>
              <a:ext cx="10" cy="18"/>
            </a:xfrm>
            <a:custGeom>
              <a:avLst/>
              <a:gdLst>
                <a:gd name="T0" fmla="*/ 8 w 8"/>
                <a:gd name="T1" fmla="*/ 0 h 15"/>
                <a:gd name="T2" fmla="*/ 8 w 8"/>
                <a:gd name="T3" fmla="*/ 4 h 15"/>
                <a:gd name="T4" fmla="*/ 6 w 8"/>
                <a:gd name="T5" fmla="*/ 15 h 15"/>
                <a:gd name="T6" fmla="*/ 6 w 8"/>
                <a:gd name="T7" fmla="*/ 15 h 15"/>
                <a:gd name="T8" fmla="*/ 0 w 8"/>
                <a:gd name="T9" fmla="*/ 15 h 15"/>
                <a:gd name="T10" fmla="*/ 2 w 8"/>
                <a:gd name="T11" fmla="*/ 6 h 15"/>
                <a:gd name="T12" fmla="*/ 4 w 8"/>
                <a:gd name="T13" fmla="*/ 4 h 15"/>
                <a:gd name="T14" fmla="*/ 4 w 8"/>
                <a:gd name="T15" fmla="*/ 3 h 15"/>
                <a:gd name="T16" fmla="*/ 4 w 8"/>
                <a:gd name="T17" fmla="*/ 3 h 15"/>
                <a:gd name="T18" fmla="*/ 7 w 8"/>
                <a:gd name="T19" fmla="*/ 1 h 15"/>
                <a:gd name="T20" fmla="*/ 7 w 8"/>
                <a:gd name="T21" fmla="*/ 1 h 15"/>
                <a:gd name="T22" fmla="*/ 8 w 8"/>
                <a:gd name="T23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" h="15">
                  <a:moveTo>
                    <a:pt x="8" y="0"/>
                  </a:moveTo>
                  <a:cubicBezTo>
                    <a:pt x="8" y="2"/>
                    <a:pt x="8" y="3"/>
                    <a:pt x="8" y="4"/>
                  </a:cubicBezTo>
                  <a:cubicBezTo>
                    <a:pt x="7" y="10"/>
                    <a:pt x="6" y="14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" y="12"/>
                    <a:pt x="2" y="9"/>
                    <a:pt x="2" y="6"/>
                  </a:cubicBezTo>
                  <a:cubicBezTo>
                    <a:pt x="3" y="5"/>
                    <a:pt x="3" y="4"/>
                    <a:pt x="4" y="4"/>
                  </a:cubicBezTo>
                  <a:cubicBezTo>
                    <a:pt x="4" y="4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2"/>
                    <a:pt x="6" y="2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8" y="1"/>
                    <a:pt x="8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87" name="Freeform 7448"/>
            <p:cNvSpPr>
              <a:spLocks/>
            </p:cNvSpPr>
            <p:nvPr/>
          </p:nvSpPr>
          <p:spPr bwMode="auto">
            <a:xfrm>
              <a:off x="5357" y="2832"/>
              <a:ext cx="1" cy="1"/>
            </a:xfrm>
            <a:custGeom>
              <a:avLst/>
              <a:gdLst>
                <a:gd name="T0" fmla="*/ 1 w 1"/>
                <a:gd name="T1" fmla="*/ 1 h 1"/>
                <a:gd name="T2" fmla="*/ 0 w 1"/>
                <a:gd name="T3" fmla="*/ 1 h 1"/>
                <a:gd name="T4" fmla="*/ 0 w 1"/>
                <a:gd name="T5" fmla="*/ 0 h 1"/>
                <a:gd name="T6" fmla="*/ 1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1" y="1"/>
                    <a:pt x="1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1" y="0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88" name="Freeform 7449"/>
            <p:cNvSpPr>
              <a:spLocks/>
            </p:cNvSpPr>
            <p:nvPr/>
          </p:nvSpPr>
          <p:spPr bwMode="auto">
            <a:xfrm>
              <a:off x="5368" y="2836"/>
              <a:ext cx="0" cy="2"/>
            </a:xfrm>
            <a:custGeom>
              <a:avLst/>
              <a:gdLst>
                <a:gd name="T0" fmla="*/ 0 h 1"/>
                <a:gd name="T1" fmla="*/ 1 h 1"/>
                <a:gd name="T2" fmla="*/ 1 h 1"/>
                <a:gd name="T3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89" name="Freeform 7450"/>
            <p:cNvSpPr>
              <a:spLocks/>
            </p:cNvSpPr>
            <p:nvPr/>
          </p:nvSpPr>
          <p:spPr bwMode="auto">
            <a:xfrm>
              <a:off x="5377" y="2821"/>
              <a:ext cx="1" cy="0"/>
            </a:xfrm>
            <a:custGeom>
              <a:avLst/>
              <a:gdLst>
                <a:gd name="T0" fmla="*/ 1 w 1"/>
                <a:gd name="T1" fmla="*/ 0 w 1"/>
                <a:gd name="T2" fmla="*/ 0 w 1"/>
                <a:gd name="T3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90" name="Rectangle 7451"/>
            <p:cNvSpPr>
              <a:spLocks noChangeArrowheads="1"/>
            </p:cNvSpPr>
            <p:nvPr/>
          </p:nvSpPr>
          <p:spPr bwMode="auto">
            <a:xfrm>
              <a:off x="5350" y="2845"/>
              <a:ext cx="1" cy="1"/>
            </a:xfrm>
            <a:prstGeom prst="rect">
              <a:avLst/>
            </a:prstGeom>
            <a:solidFill>
              <a:srgbClr val="4DA0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91" name="Freeform 7452"/>
            <p:cNvSpPr>
              <a:spLocks noEditPoints="1"/>
            </p:cNvSpPr>
            <p:nvPr/>
          </p:nvSpPr>
          <p:spPr bwMode="auto">
            <a:xfrm>
              <a:off x="5350" y="2826"/>
              <a:ext cx="38" cy="48"/>
            </a:xfrm>
            <a:custGeom>
              <a:avLst/>
              <a:gdLst>
                <a:gd name="T0" fmla="*/ 25 w 31"/>
                <a:gd name="T1" fmla="*/ 25 h 40"/>
                <a:gd name="T2" fmla="*/ 24 w 31"/>
                <a:gd name="T3" fmla="*/ 24 h 40"/>
                <a:gd name="T4" fmla="*/ 20 w 31"/>
                <a:gd name="T5" fmla="*/ 23 h 40"/>
                <a:gd name="T6" fmla="*/ 20 w 31"/>
                <a:gd name="T7" fmla="*/ 23 h 40"/>
                <a:gd name="T8" fmla="*/ 18 w 31"/>
                <a:gd name="T9" fmla="*/ 19 h 40"/>
                <a:gd name="T10" fmla="*/ 16 w 31"/>
                <a:gd name="T11" fmla="*/ 16 h 40"/>
                <a:gd name="T12" fmla="*/ 11 w 31"/>
                <a:gd name="T13" fmla="*/ 13 h 40"/>
                <a:gd name="T14" fmla="*/ 5 w 31"/>
                <a:gd name="T15" fmla="*/ 16 h 40"/>
                <a:gd name="T16" fmla="*/ 5 w 31"/>
                <a:gd name="T17" fmla="*/ 16 h 40"/>
                <a:gd name="T18" fmla="*/ 4 w 31"/>
                <a:gd name="T19" fmla="*/ 6 h 40"/>
                <a:gd name="T20" fmla="*/ 0 w 31"/>
                <a:gd name="T21" fmla="*/ 16 h 40"/>
                <a:gd name="T22" fmla="*/ 0 w 31"/>
                <a:gd name="T23" fmla="*/ 16 h 40"/>
                <a:gd name="T24" fmla="*/ 0 w 31"/>
                <a:gd name="T25" fmla="*/ 20 h 40"/>
                <a:gd name="T26" fmla="*/ 0 w 31"/>
                <a:gd name="T27" fmla="*/ 20 h 40"/>
                <a:gd name="T28" fmla="*/ 0 w 31"/>
                <a:gd name="T29" fmla="*/ 20 h 40"/>
                <a:gd name="T30" fmla="*/ 4 w 31"/>
                <a:gd name="T31" fmla="*/ 40 h 40"/>
                <a:gd name="T32" fmla="*/ 11 w 31"/>
                <a:gd name="T33" fmla="*/ 29 h 40"/>
                <a:gd name="T34" fmla="*/ 11 w 31"/>
                <a:gd name="T35" fmla="*/ 28 h 40"/>
                <a:gd name="T36" fmla="*/ 14 w 31"/>
                <a:gd name="T37" fmla="*/ 26 h 40"/>
                <a:gd name="T38" fmla="*/ 16 w 31"/>
                <a:gd name="T39" fmla="*/ 25 h 40"/>
                <a:gd name="T40" fmla="*/ 20 w 31"/>
                <a:gd name="T41" fmla="*/ 24 h 40"/>
                <a:gd name="T42" fmla="*/ 21 w 31"/>
                <a:gd name="T43" fmla="*/ 25 h 40"/>
                <a:gd name="T44" fmla="*/ 24 w 31"/>
                <a:gd name="T45" fmla="*/ 25 h 40"/>
                <a:gd name="T46" fmla="*/ 24 w 31"/>
                <a:gd name="T47" fmla="*/ 25 h 40"/>
                <a:gd name="T48" fmla="*/ 27 w 31"/>
                <a:gd name="T49" fmla="*/ 26 h 40"/>
                <a:gd name="T50" fmla="*/ 28 w 31"/>
                <a:gd name="T51" fmla="*/ 26 h 40"/>
                <a:gd name="T52" fmla="*/ 0 w 31"/>
                <a:gd name="T53" fmla="*/ 16 h 40"/>
                <a:gd name="T54" fmla="*/ 0 w 31"/>
                <a:gd name="T55" fmla="*/ 16 h 40"/>
                <a:gd name="T56" fmla="*/ 14 w 31"/>
                <a:gd name="T57" fmla="*/ 23 h 40"/>
                <a:gd name="T58" fmla="*/ 14 w 31"/>
                <a:gd name="T59" fmla="*/ 23 h 40"/>
                <a:gd name="T60" fmla="*/ 13 w 31"/>
                <a:gd name="T61" fmla="*/ 23 h 40"/>
                <a:gd name="T62" fmla="*/ 12 w 31"/>
                <a:gd name="T63" fmla="*/ 24 h 40"/>
                <a:gd name="T64" fmla="*/ 10 w 31"/>
                <a:gd name="T65" fmla="*/ 25 h 40"/>
                <a:gd name="T66" fmla="*/ 9 w 31"/>
                <a:gd name="T67" fmla="*/ 25 h 40"/>
                <a:gd name="T68" fmla="*/ 7 w 31"/>
                <a:gd name="T69" fmla="*/ 27 h 40"/>
                <a:gd name="T70" fmla="*/ 5 w 31"/>
                <a:gd name="T71" fmla="*/ 29 h 40"/>
                <a:gd name="T72" fmla="*/ 6 w 31"/>
                <a:gd name="T73" fmla="*/ 24 h 40"/>
                <a:gd name="T74" fmla="*/ 7 w 31"/>
                <a:gd name="T75" fmla="*/ 23 h 40"/>
                <a:gd name="T76" fmla="*/ 8 w 31"/>
                <a:gd name="T77" fmla="*/ 20 h 40"/>
                <a:gd name="T78" fmla="*/ 9 w 31"/>
                <a:gd name="T79" fmla="*/ 19 h 40"/>
                <a:gd name="T80" fmla="*/ 10 w 31"/>
                <a:gd name="T81" fmla="*/ 18 h 40"/>
                <a:gd name="T82" fmla="*/ 15 w 31"/>
                <a:gd name="T83" fmla="*/ 17 h 40"/>
                <a:gd name="T84" fmla="*/ 17 w 31"/>
                <a:gd name="T85" fmla="*/ 19 h 40"/>
                <a:gd name="T86" fmla="*/ 18 w 31"/>
                <a:gd name="T87" fmla="*/ 21 h 40"/>
                <a:gd name="T88" fmla="*/ 16 w 31"/>
                <a:gd name="T89" fmla="*/ 23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1" h="40">
                  <a:moveTo>
                    <a:pt x="28" y="26"/>
                  </a:moveTo>
                  <a:cubicBezTo>
                    <a:pt x="27" y="26"/>
                    <a:pt x="26" y="25"/>
                    <a:pt x="25" y="25"/>
                  </a:cubicBezTo>
                  <a:cubicBezTo>
                    <a:pt x="25" y="24"/>
                    <a:pt x="25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3" y="24"/>
                    <a:pt x="23" y="23"/>
                    <a:pt x="22" y="23"/>
                  </a:cubicBezTo>
                  <a:cubicBezTo>
                    <a:pt x="22" y="23"/>
                    <a:pt x="21" y="23"/>
                    <a:pt x="20" y="23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19" y="21"/>
                    <a:pt x="19" y="20"/>
                    <a:pt x="18" y="19"/>
                  </a:cubicBezTo>
                  <a:cubicBezTo>
                    <a:pt x="18" y="19"/>
                    <a:pt x="18" y="18"/>
                    <a:pt x="17" y="17"/>
                  </a:cubicBezTo>
                  <a:cubicBezTo>
                    <a:pt x="17" y="17"/>
                    <a:pt x="16" y="16"/>
                    <a:pt x="16" y="16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4" y="14"/>
                    <a:pt x="12" y="13"/>
                    <a:pt x="11" y="13"/>
                  </a:cubicBezTo>
                  <a:cubicBezTo>
                    <a:pt x="10" y="13"/>
                    <a:pt x="9" y="13"/>
                    <a:pt x="8" y="14"/>
                  </a:cubicBezTo>
                  <a:cubicBezTo>
                    <a:pt x="7" y="14"/>
                    <a:pt x="6" y="15"/>
                    <a:pt x="5" y="16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5" y="14"/>
                    <a:pt x="5" y="10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3" y="4"/>
                    <a:pt x="2" y="2"/>
                    <a:pt x="0" y="0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4" y="40"/>
                    <a:pt x="4" y="40"/>
                    <a:pt x="4" y="40"/>
                  </a:cubicBezTo>
                  <a:cubicBezTo>
                    <a:pt x="4" y="40"/>
                    <a:pt x="6" y="35"/>
                    <a:pt x="9" y="31"/>
                  </a:cubicBezTo>
                  <a:cubicBezTo>
                    <a:pt x="10" y="30"/>
                    <a:pt x="10" y="29"/>
                    <a:pt x="11" y="29"/>
                  </a:cubicBezTo>
                  <a:cubicBezTo>
                    <a:pt x="11" y="29"/>
                    <a:pt x="11" y="28"/>
                    <a:pt x="11" y="28"/>
                  </a:cubicBezTo>
                  <a:cubicBezTo>
                    <a:pt x="11" y="28"/>
                    <a:pt x="11" y="28"/>
                    <a:pt x="11" y="28"/>
                  </a:cubicBezTo>
                  <a:cubicBezTo>
                    <a:pt x="12" y="27"/>
                    <a:pt x="13" y="27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5" y="26"/>
                    <a:pt x="15" y="25"/>
                  </a:cubicBezTo>
                  <a:cubicBezTo>
                    <a:pt x="16" y="25"/>
                    <a:pt x="16" y="25"/>
                    <a:pt x="16" y="25"/>
                  </a:cubicBezTo>
                  <a:cubicBezTo>
                    <a:pt x="17" y="25"/>
                    <a:pt x="19" y="24"/>
                    <a:pt x="20" y="24"/>
                  </a:cubicBezTo>
                  <a:cubicBezTo>
                    <a:pt x="20" y="24"/>
                    <a:pt x="20" y="24"/>
                    <a:pt x="20" y="24"/>
                  </a:cubicBezTo>
                  <a:cubicBezTo>
                    <a:pt x="20" y="24"/>
                    <a:pt x="20" y="24"/>
                    <a:pt x="20" y="24"/>
                  </a:cubicBezTo>
                  <a:cubicBezTo>
                    <a:pt x="20" y="24"/>
                    <a:pt x="21" y="24"/>
                    <a:pt x="21" y="25"/>
                  </a:cubicBezTo>
                  <a:cubicBezTo>
                    <a:pt x="22" y="25"/>
                    <a:pt x="23" y="25"/>
                    <a:pt x="24" y="25"/>
                  </a:cubicBezTo>
                  <a:cubicBezTo>
                    <a:pt x="24" y="25"/>
                    <a:pt x="24" y="25"/>
                    <a:pt x="24" y="25"/>
                  </a:cubicBezTo>
                  <a:cubicBezTo>
                    <a:pt x="24" y="25"/>
                    <a:pt x="24" y="25"/>
                    <a:pt x="24" y="25"/>
                  </a:cubicBezTo>
                  <a:cubicBezTo>
                    <a:pt x="24" y="25"/>
                    <a:pt x="24" y="25"/>
                    <a:pt x="24" y="25"/>
                  </a:cubicBezTo>
                  <a:cubicBezTo>
                    <a:pt x="24" y="25"/>
                    <a:pt x="25" y="25"/>
                    <a:pt x="25" y="25"/>
                  </a:cubicBezTo>
                  <a:cubicBezTo>
                    <a:pt x="26" y="26"/>
                    <a:pt x="26" y="26"/>
                    <a:pt x="27" y="26"/>
                  </a:cubicBezTo>
                  <a:cubicBezTo>
                    <a:pt x="28" y="27"/>
                    <a:pt x="29" y="28"/>
                    <a:pt x="31" y="29"/>
                  </a:cubicBezTo>
                  <a:cubicBezTo>
                    <a:pt x="31" y="29"/>
                    <a:pt x="29" y="27"/>
                    <a:pt x="28" y="26"/>
                  </a:cubicBezTo>
                  <a:close/>
                  <a:moveTo>
                    <a:pt x="0" y="16"/>
                  </a:move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6"/>
                    <a:pt x="0" y="16"/>
                  </a:cubicBezTo>
                  <a:close/>
                  <a:moveTo>
                    <a:pt x="16" y="23"/>
                  </a:moveTo>
                  <a:cubicBezTo>
                    <a:pt x="16" y="23"/>
                    <a:pt x="15" y="23"/>
                    <a:pt x="14" y="23"/>
                  </a:cubicBezTo>
                  <a:cubicBezTo>
                    <a:pt x="14" y="23"/>
                    <a:pt x="14" y="23"/>
                    <a:pt x="14" y="23"/>
                  </a:cubicBezTo>
                  <a:cubicBezTo>
                    <a:pt x="14" y="23"/>
                    <a:pt x="14" y="23"/>
                    <a:pt x="14" y="23"/>
                  </a:cubicBezTo>
                  <a:cubicBezTo>
                    <a:pt x="14" y="23"/>
                    <a:pt x="14" y="23"/>
                    <a:pt x="14" y="23"/>
                  </a:cubicBezTo>
                  <a:cubicBezTo>
                    <a:pt x="14" y="23"/>
                    <a:pt x="14" y="23"/>
                    <a:pt x="13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23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1" y="24"/>
                    <a:pt x="11" y="24"/>
                    <a:pt x="10" y="25"/>
                  </a:cubicBezTo>
                  <a:cubicBezTo>
                    <a:pt x="10" y="25"/>
                    <a:pt x="9" y="25"/>
                    <a:pt x="9" y="25"/>
                  </a:cubicBezTo>
                  <a:cubicBezTo>
                    <a:pt x="9" y="25"/>
                    <a:pt x="9" y="25"/>
                    <a:pt x="9" y="25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8" y="26"/>
                    <a:pt x="8" y="26"/>
                    <a:pt x="7" y="27"/>
                  </a:cubicBezTo>
                  <a:cubicBezTo>
                    <a:pt x="7" y="27"/>
                    <a:pt x="7" y="27"/>
                    <a:pt x="7" y="27"/>
                  </a:cubicBezTo>
                  <a:cubicBezTo>
                    <a:pt x="7" y="27"/>
                    <a:pt x="6" y="28"/>
                    <a:pt x="5" y="29"/>
                  </a:cubicBezTo>
                  <a:cubicBezTo>
                    <a:pt x="5" y="29"/>
                    <a:pt x="5" y="28"/>
                    <a:pt x="6" y="26"/>
                  </a:cubicBezTo>
                  <a:cubicBezTo>
                    <a:pt x="6" y="26"/>
                    <a:pt x="6" y="25"/>
                    <a:pt x="6" y="24"/>
                  </a:cubicBezTo>
                  <a:cubicBezTo>
                    <a:pt x="6" y="24"/>
                    <a:pt x="6" y="24"/>
                    <a:pt x="7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3"/>
                    <a:pt x="7" y="22"/>
                    <a:pt x="7" y="22"/>
                  </a:cubicBezTo>
                  <a:cubicBezTo>
                    <a:pt x="7" y="22"/>
                    <a:pt x="8" y="21"/>
                    <a:pt x="8" y="20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9" y="20"/>
                    <a:pt x="9" y="20"/>
                    <a:pt x="9" y="19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9" y="19"/>
                    <a:pt x="9" y="19"/>
                    <a:pt x="10" y="18"/>
                  </a:cubicBezTo>
                  <a:cubicBezTo>
                    <a:pt x="10" y="18"/>
                    <a:pt x="10" y="18"/>
                    <a:pt x="10" y="18"/>
                  </a:cubicBezTo>
                  <a:cubicBezTo>
                    <a:pt x="12" y="17"/>
                    <a:pt x="13" y="16"/>
                    <a:pt x="15" y="17"/>
                  </a:cubicBezTo>
                  <a:cubicBezTo>
                    <a:pt x="15" y="17"/>
                    <a:pt x="15" y="18"/>
                    <a:pt x="15" y="18"/>
                  </a:cubicBezTo>
                  <a:cubicBezTo>
                    <a:pt x="16" y="18"/>
                    <a:pt x="16" y="19"/>
                    <a:pt x="17" y="19"/>
                  </a:cubicBezTo>
                  <a:cubicBezTo>
                    <a:pt x="17" y="19"/>
                    <a:pt x="17" y="19"/>
                    <a:pt x="17" y="19"/>
                  </a:cubicBezTo>
                  <a:cubicBezTo>
                    <a:pt x="17" y="20"/>
                    <a:pt x="18" y="21"/>
                    <a:pt x="18" y="21"/>
                  </a:cubicBezTo>
                  <a:cubicBezTo>
                    <a:pt x="19" y="22"/>
                    <a:pt x="19" y="22"/>
                    <a:pt x="19" y="23"/>
                  </a:cubicBezTo>
                  <a:cubicBezTo>
                    <a:pt x="18" y="22"/>
                    <a:pt x="17" y="22"/>
                    <a:pt x="16" y="23"/>
                  </a:cubicBezTo>
                  <a:close/>
                </a:path>
              </a:pathLst>
            </a:custGeom>
            <a:solidFill>
              <a:srgbClr val="4DA0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92" name="Freeform 7453"/>
            <p:cNvSpPr>
              <a:spLocks/>
            </p:cNvSpPr>
            <p:nvPr/>
          </p:nvSpPr>
          <p:spPr bwMode="auto">
            <a:xfrm>
              <a:off x="5360" y="2845"/>
              <a:ext cx="11" cy="11"/>
            </a:xfrm>
            <a:custGeom>
              <a:avLst/>
              <a:gdLst>
                <a:gd name="T0" fmla="*/ 9 w 9"/>
                <a:gd name="T1" fmla="*/ 3 h 9"/>
                <a:gd name="T2" fmla="*/ 9 w 9"/>
                <a:gd name="T3" fmla="*/ 4 h 9"/>
                <a:gd name="T4" fmla="*/ 8 w 9"/>
                <a:gd name="T5" fmla="*/ 5 h 9"/>
                <a:gd name="T6" fmla="*/ 8 w 9"/>
                <a:gd name="T7" fmla="*/ 7 h 9"/>
                <a:gd name="T8" fmla="*/ 6 w 9"/>
                <a:gd name="T9" fmla="*/ 7 h 9"/>
                <a:gd name="T10" fmla="*/ 6 w 9"/>
                <a:gd name="T11" fmla="*/ 7 h 9"/>
                <a:gd name="T12" fmla="*/ 6 w 9"/>
                <a:gd name="T13" fmla="*/ 7 h 9"/>
                <a:gd name="T14" fmla="*/ 5 w 9"/>
                <a:gd name="T15" fmla="*/ 7 h 9"/>
                <a:gd name="T16" fmla="*/ 5 w 9"/>
                <a:gd name="T17" fmla="*/ 7 h 9"/>
                <a:gd name="T18" fmla="*/ 4 w 9"/>
                <a:gd name="T19" fmla="*/ 8 h 9"/>
                <a:gd name="T20" fmla="*/ 4 w 9"/>
                <a:gd name="T21" fmla="*/ 8 h 9"/>
                <a:gd name="T22" fmla="*/ 2 w 9"/>
                <a:gd name="T23" fmla="*/ 9 h 9"/>
                <a:gd name="T24" fmla="*/ 1 w 9"/>
                <a:gd name="T25" fmla="*/ 9 h 9"/>
                <a:gd name="T26" fmla="*/ 1 w 9"/>
                <a:gd name="T27" fmla="*/ 9 h 9"/>
                <a:gd name="T28" fmla="*/ 1 w 9"/>
                <a:gd name="T29" fmla="*/ 6 h 9"/>
                <a:gd name="T30" fmla="*/ 0 w 9"/>
                <a:gd name="T31" fmla="*/ 4 h 9"/>
                <a:gd name="T32" fmla="*/ 0 w 9"/>
                <a:gd name="T33" fmla="*/ 4 h 9"/>
                <a:gd name="T34" fmla="*/ 1 w 9"/>
                <a:gd name="T35" fmla="*/ 3 h 9"/>
                <a:gd name="T36" fmla="*/ 1 w 9"/>
                <a:gd name="T37" fmla="*/ 3 h 9"/>
                <a:gd name="T38" fmla="*/ 2 w 9"/>
                <a:gd name="T39" fmla="*/ 2 h 9"/>
                <a:gd name="T40" fmla="*/ 2 w 9"/>
                <a:gd name="T41" fmla="*/ 2 h 9"/>
                <a:gd name="T42" fmla="*/ 7 w 9"/>
                <a:gd name="T43" fmla="*/ 1 h 9"/>
                <a:gd name="T44" fmla="*/ 7 w 9"/>
                <a:gd name="T45" fmla="*/ 2 h 9"/>
                <a:gd name="T46" fmla="*/ 9 w 9"/>
                <a:gd name="T47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" h="9">
                  <a:moveTo>
                    <a:pt x="9" y="3"/>
                  </a:moveTo>
                  <a:cubicBezTo>
                    <a:pt x="9" y="3"/>
                    <a:pt x="9" y="3"/>
                    <a:pt x="9" y="4"/>
                  </a:cubicBezTo>
                  <a:cubicBezTo>
                    <a:pt x="9" y="4"/>
                    <a:pt x="8" y="5"/>
                    <a:pt x="8" y="5"/>
                  </a:cubicBezTo>
                  <a:cubicBezTo>
                    <a:pt x="8" y="6"/>
                    <a:pt x="8" y="6"/>
                    <a:pt x="8" y="7"/>
                  </a:cubicBezTo>
                  <a:cubicBezTo>
                    <a:pt x="8" y="7"/>
                    <a:pt x="7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7"/>
                    <a:pt x="4" y="8"/>
                    <a:pt x="4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3" y="8"/>
                    <a:pt x="3" y="8"/>
                    <a:pt x="2" y="9"/>
                  </a:cubicBezTo>
                  <a:cubicBezTo>
                    <a:pt x="2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8"/>
                    <a:pt x="1" y="7"/>
                    <a:pt x="1" y="6"/>
                  </a:cubicBezTo>
                  <a:cubicBezTo>
                    <a:pt x="1" y="5"/>
                    <a:pt x="0" y="5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4" y="1"/>
                    <a:pt x="5" y="0"/>
                    <a:pt x="7" y="1"/>
                  </a:cubicBezTo>
                  <a:cubicBezTo>
                    <a:pt x="7" y="1"/>
                    <a:pt x="7" y="2"/>
                    <a:pt x="7" y="2"/>
                  </a:cubicBezTo>
                  <a:cubicBezTo>
                    <a:pt x="8" y="2"/>
                    <a:pt x="8" y="3"/>
                    <a:pt x="9" y="3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93" name="Freeform 7454"/>
            <p:cNvSpPr>
              <a:spLocks/>
            </p:cNvSpPr>
            <p:nvPr/>
          </p:nvSpPr>
          <p:spPr bwMode="auto">
            <a:xfrm>
              <a:off x="5350" y="2850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4DA0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94" name="Freeform 7455"/>
            <p:cNvSpPr>
              <a:spLocks/>
            </p:cNvSpPr>
            <p:nvPr/>
          </p:nvSpPr>
          <p:spPr bwMode="auto">
            <a:xfrm>
              <a:off x="5350" y="2850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4DA0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95" name="Freeform 7456"/>
            <p:cNvSpPr>
              <a:spLocks/>
            </p:cNvSpPr>
            <p:nvPr/>
          </p:nvSpPr>
          <p:spPr bwMode="auto">
            <a:xfrm>
              <a:off x="5377" y="2861"/>
              <a:ext cx="1" cy="3"/>
            </a:xfrm>
            <a:custGeom>
              <a:avLst/>
              <a:gdLst>
                <a:gd name="T0" fmla="*/ 1 w 1"/>
                <a:gd name="T1" fmla="*/ 3 h 3"/>
                <a:gd name="T2" fmla="*/ 1 w 1"/>
                <a:gd name="T3" fmla="*/ 0 h 3"/>
                <a:gd name="T4" fmla="*/ 0 w 1"/>
                <a:gd name="T5" fmla="*/ 1 h 3"/>
                <a:gd name="T6" fmla="*/ 1 w 1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3">
                  <a:moveTo>
                    <a:pt x="1" y="3"/>
                  </a:moveTo>
                  <a:cubicBezTo>
                    <a:pt x="1" y="3"/>
                    <a:pt x="1" y="2"/>
                    <a:pt x="1" y="0"/>
                  </a:cubicBezTo>
                  <a:cubicBezTo>
                    <a:pt x="1" y="1"/>
                    <a:pt x="0" y="1"/>
                    <a:pt x="0" y="1"/>
                  </a:cubicBezTo>
                  <a:cubicBezTo>
                    <a:pt x="1" y="1"/>
                    <a:pt x="1" y="2"/>
                    <a:pt x="1" y="3"/>
                  </a:cubicBezTo>
                  <a:close/>
                </a:path>
              </a:pathLst>
            </a:custGeom>
            <a:solidFill>
              <a:srgbClr val="4DA0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96" name="Freeform 7457"/>
            <p:cNvSpPr>
              <a:spLocks/>
            </p:cNvSpPr>
            <p:nvPr/>
          </p:nvSpPr>
          <p:spPr bwMode="auto">
            <a:xfrm>
              <a:off x="5374" y="2854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4DA0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97" name="Freeform 7458"/>
            <p:cNvSpPr>
              <a:spLocks/>
            </p:cNvSpPr>
            <p:nvPr/>
          </p:nvSpPr>
          <p:spPr bwMode="auto">
            <a:xfrm>
              <a:off x="5379" y="2856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4DA0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98" name="Freeform 7459"/>
            <p:cNvSpPr>
              <a:spLocks/>
            </p:cNvSpPr>
            <p:nvPr/>
          </p:nvSpPr>
          <p:spPr bwMode="auto">
            <a:xfrm>
              <a:off x="5374" y="2855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4DA0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99" name="Freeform 7460"/>
            <p:cNvSpPr>
              <a:spLocks/>
            </p:cNvSpPr>
            <p:nvPr/>
          </p:nvSpPr>
          <p:spPr bwMode="auto">
            <a:xfrm>
              <a:off x="5374" y="2855"/>
              <a:ext cx="4" cy="7"/>
            </a:xfrm>
            <a:custGeom>
              <a:avLst/>
              <a:gdLst>
                <a:gd name="T0" fmla="*/ 3 w 3"/>
                <a:gd name="T1" fmla="*/ 5 h 6"/>
                <a:gd name="T2" fmla="*/ 2 w 3"/>
                <a:gd name="T3" fmla="*/ 6 h 6"/>
                <a:gd name="T4" fmla="*/ 0 w 3"/>
                <a:gd name="T5" fmla="*/ 0 h 6"/>
                <a:gd name="T6" fmla="*/ 1 w 3"/>
                <a:gd name="T7" fmla="*/ 1 h 6"/>
                <a:gd name="T8" fmla="*/ 3 w 3"/>
                <a:gd name="T9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6">
                  <a:moveTo>
                    <a:pt x="3" y="5"/>
                  </a:moveTo>
                  <a:cubicBezTo>
                    <a:pt x="3" y="6"/>
                    <a:pt x="2" y="6"/>
                    <a:pt x="2" y="6"/>
                  </a:cubicBezTo>
                  <a:cubicBezTo>
                    <a:pt x="2" y="4"/>
                    <a:pt x="1" y="2"/>
                    <a:pt x="0" y="0"/>
                  </a:cubicBezTo>
                  <a:cubicBezTo>
                    <a:pt x="0" y="0"/>
                    <a:pt x="1" y="0"/>
                    <a:pt x="1" y="1"/>
                  </a:cubicBezTo>
                  <a:cubicBezTo>
                    <a:pt x="2" y="2"/>
                    <a:pt x="2" y="4"/>
                    <a:pt x="3" y="5"/>
                  </a:cubicBezTo>
                  <a:close/>
                </a:path>
              </a:pathLst>
            </a:custGeom>
            <a:solidFill>
              <a:srgbClr val="4DA0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00" name="Freeform 7461"/>
            <p:cNvSpPr>
              <a:spLocks/>
            </p:cNvSpPr>
            <p:nvPr/>
          </p:nvSpPr>
          <p:spPr bwMode="auto">
            <a:xfrm>
              <a:off x="5366" y="2854"/>
              <a:ext cx="1" cy="0"/>
            </a:xfrm>
            <a:custGeom>
              <a:avLst/>
              <a:gdLst>
                <a:gd name="T0" fmla="*/ 1 w 1"/>
                <a:gd name="T1" fmla="*/ 1 w 1"/>
                <a:gd name="T2" fmla="*/ 0 w 1"/>
                <a:gd name="T3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4DA0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01" name="Freeform 7462"/>
            <p:cNvSpPr>
              <a:spLocks/>
            </p:cNvSpPr>
            <p:nvPr/>
          </p:nvSpPr>
          <p:spPr bwMode="auto">
            <a:xfrm>
              <a:off x="5410" y="2849"/>
              <a:ext cx="2" cy="3"/>
            </a:xfrm>
            <a:custGeom>
              <a:avLst/>
              <a:gdLst>
                <a:gd name="T0" fmla="*/ 0 w 2"/>
                <a:gd name="T1" fmla="*/ 1 h 3"/>
                <a:gd name="T2" fmla="*/ 1 w 2"/>
                <a:gd name="T3" fmla="*/ 3 h 3"/>
                <a:gd name="T4" fmla="*/ 2 w 2"/>
                <a:gd name="T5" fmla="*/ 0 h 3"/>
                <a:gd name="T6" fmla="*/ 0 w 2"/>
                <a:gd name="T7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">
                  <a:moveTo>
                    <a:pt x="0" y="1"/>
                  </a:moveTo>
                  <a:cubicBezTo>
                    <a:pt x="0" y="1"/>
                    <a:pt x="0" y="2"/>
                    <a:pt x="1" y="3"/>
                  </a:cubicBezTo>
                  <a:cubicBezTo>
                    <a:pt x="1" y="2"/>
                    <a:pt x="2" y="1"/>
                    <a:pt x="2" y="0"/>
                  </a:cubicBezTo>
                  <a:cubicBezTo>
                    <a:pt x="1" y="0"/>
                    <a:pt x="1" y="0"/>
                    <a:pt x="0" y="1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02" name="Freeform 7463"/>
            <p:cNvSpPr>
              <a:spLocks/>
            </p:cNvSpPr>
            <p:nvPr/>
          </p:nvSpPr>
          <p:spPr bwMode="auto">
            <a:xfrm>
              <a:off x="5412" y="2861"/>
              <a:ext cx="10" cy="13"/>
            </a:xfrm>
            <a:custGeom>
              <a:avLst/>
              <a:gdLst>
                <a:gd name="T0" fmla="*/ 1 w 8"/>
                <a:gd name="T1" fmla="*/ 0 h 11"/>
                <a:gd name="T2" fmla="*/ 1 w 8"/>
                <a:gd name="T3" fmla="*/ 1 h 11"/>
                <a:gd name="T4" fmla="*/ 1 w 8"/>
                <a:gd name="T5" fmla="*/ 11 h 11"/>
                <a:gd name="T6" fmla="*/ 8 w 8"/>
                <a:gd name="T7" fmla="*/ 11 h 11"/>
                <a:gd name="T8" fmla="*/ 7 w 8"/>
                <a:gd name="T9" fmla="*/ 5 h 11"/>
                <a:gd name="T10" fmla="*/ 1 w 8"/>
                <a:gd name="T11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11">
                  <a:moveTo>
                    <a:pt x="1" y="0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4"/>
                    <a:pt x="0" y="7"/>
                    <a:pt x="1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7" y="8"/>
                    <a:pt x="7" y="5"/>
                  </a:cubicBezTo>
                  <a:cubicBezTo>
                    <a:pt x="5" y="3"/>
                    <a:pt x="3" y="1"/>
                    <a:pt x="1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03" name="Freeform 7464"/>
            <p:cNvSpPr>
              <a:spLocks/>
            </p:cNvSpPr>
            <p:nvPr/>
          </p:nvSpPr>
          <p:spPr bwMode="auto">
            <a:xfrm>
              <a:off x="5421" y="2849"/>
              <a:ext cx="3" cy="7"/>
            </a:xfrm>
            <a:custGeom>
              <a:avLst/>
              <a:gdLst>
                <a:gd name="T0" fmla="*/ 0 w 3"/>
                <a:gd name="T1" fmla="*/ 0 h 6"/>
                <a:gd name="T2" fmla="*/ 0 w 3"/>
                <a:gd name="T3" fmla="*/ 0 h 6"/>
                <a:gd name="T4" fmla="*/ 0 w 3"/>
                <a:gd name="T5" fmla="*/ 0 h 6"/>
                <a:gd name="T6" fmla="*/ 2 w 3"/>
                <a:gd name="T7" fmla="*/ 5 h 6"/>
                <a:gd name="T8" fmla="*/ 3 w 3"/>
                <a:gd name="T9" fmla="*/ 6 h 6"/>
                <a:gd name="T10" fmla="*/ 0 w 3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6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1" y="3"/>
                    <a:pt x="2" y="5"/>
                  </a:cubicBezTo>
                  <a:cubicBezTo>
                    <a:pt x="2" y="6"/>
                    <a:pt x="2" y="6"/>
                    <a:pt x="3" y="6"/>
                  </a:cubicBezTo>
                  <a:cubicBezTo>
                    <a:pt x="3" y="6"/>
                    <a:pt x="2" y="3"/>
                    <a:pt x="0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04" name="Freeform 7465"/>
            <p:cNvSpPr>
              <a:spLocks/>
            </p:cNvSpPr>
            <p:nvPr/>
          </p:nvSpPr>
          <p:spPr bwMode="auto">
            <a:xfrm>
              <a:off x="5433" y="2843"/>
              <a:ext cx="0" cy="1"/>
            </a:xfrm>
            <a:custGeom>
              <a:avLst/>
              <a:gdLst>
                <a:gd name="T0" fmla="*/ 0 h 1"/>
                <a:gd name="T1" fmla="*/ 0 h 1"/>
                <a:gd name="T2" fmla="*/ 1 h 1"/>
                <a:gd name="T3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0" y="1"/>
                    <a:pt x="0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05" name="Freeform 7466"/>
            <p:cNvSpPr>
              <a:spLocks/>
            </p:cNvSpPr>
            <p:nvPr/>
          </p:nvSpPr>
          <p:spPr bwMode="auto">
            <a:xfrm>
              <a:off x="5423" y="2844"/>
              <a:ext cx="1" cy="2"/>
            </a:xfrm>
            <a:custGeom>
              <a:avLst/>
              <a:gdLst>
                <a:gd name="T0" fmla="*/ 0 w 1"/>
                <a:gd name="T1" fmla="*/ 1 h 2"/>
                <a:gd name="T2" fmla="*/ 0 w 1"/>
                <a:gd name="T3" fmla="*/ 2 h 2"/>
                <a:gd name="T4" fmla="*/ 1 w 1"/>
                <a:gd name="T5" fmla="*/ 2 h 2"/>
                <a:gd name="T6" fmla="*/ 1 w 1"/>
                <a:gd name="T7" fmla="*/ 0 h 2"/>
                <a:gd name="T8" fmla="*/ 0 w 1"/>
                <a:gd name="T9" fmla="*/ 0 h 2"/>
                <a:gd name="T10" fmla="*/ 0 w 1"/>
                <a:gd name="T11" fmla="*/ 1 h 2"/>
                <a:gd name="T12" fmla="*/ 0 w 1"/>
                <a:gd name="T13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" h="2">
                  <a:moveTo>
                    <a:pt x="0" y="1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1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06" name="Freeform 7467"/>
            <p:cNvSpPr>
              <a:spLocks/>
            </p:cNvSpPr>
            <p:nvPr/>
          </p:nvSpPr>
          <p:spPr bwMode="auto">
            <a:xfrm>
              <a:off x="5408" y="2823"/>
              <a:ext cx="14" cy="17"/>
            </a:xfrm>
            <a:custGeom>
              <a:avLst/>
              <a:gdLst>
                <a:gd name="T0" fmla="*/ 7 w 11"/>
                <a:gd name="T1" fmla="*/ 12 h 14"/>
                <a:gd name="T2" fmla="*/ 9 w 11"/>
                <a:gd name="T3" fmla="*/ 14 h 14"/>
                <a:gd name="T4" fmla="*/ 11 w 11"/>
                <a:gd name="T5" fmla="*/ 12 h 14"/>
                <a:gd name="T6" fmla="*/ 0 w 11"/>
                <a:gd name="T7" fmla="*/ 1 h 14"/>
                <a:gd name="T8" fmla="*/ 0 w 11"/>
                <a:gd name="T9" fmla="*/ 2 h 14"/>
                <a:gd name="T10" fmla="*/ 7 w 11"/>
                <a:gd name="T11" fmla="*/ 1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14">
                  <a:moveTo>
                    <a:pt x="7" y="12"/>
                  </a:moveTo>
                  <a:cubicBezTo>
                    <a:pt x="7" y="13"/>
                    <a:pt x="8" y="14"/>
                    <a:pt x="9" y="14"/>
                  </a:cubicBezTo>
                  <a:cubicBezTo>
                    <a:pt x="10" y="13"/>
                    <a:pt x="10" y="13"/>
                    <a:pt x="11" y="12"/>
                  </a:cubicBezTo>
                  <a:cubicBezTo>
                    <a:pt x="11" y="7"/>
                    <a:pt x="8" y="0"/>
                    <a:pt x="0" y="1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4" y="3"/>
                    <a:pt x="8" y="5"/>
                    <a:pt x="7" y="12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07" name="Freeform 7468"/>
            <p:cNvSpPr>
              <a:spLocks/>
            </p:cNvSpPr>
            <p:nvPr/>
          </p:nvSpPr>
          <p:spPr bwMode="auto">
            <a:xfrm>
              <a:off x="5400" y="2844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08" name="Freeform 7469"/>
            <p:cNvSpPr>
              <a:spLocks/>
            </p:cNvSpPr>
            <p:nvPr/>
          </p:nvSpPr>
          <p:spPr bwMode="auto">
            <a:xfrm>
              <a:off x="5416" y="2840"/>
              <a:ext cx="1" cy="3"/>
            </a:xfrm>
            <a:custGeom>
              <a:avLst/>
              <a:gdLst>
                <a:gd name="T0" fmla="*/ 1 w 1"/>
                <a:gd name="T1" fmla="*/ 2 h 2"/>
                <a:gd name="T2" fmla="*/ 0 w 1"/>
                <a:gd name="T3" fmla="*/ 0 h 2"/>
                <a:gd name="T4" fmla="*/ 0 w 1"/>
                <a:gd name="T5" fmla="*/ 1 h 2"/>
                <a:gd name="T6" fmla="*/ 1 w 1"/>
                <a:gd name="T7" fmla="*/ 2 h 2"/>
                <a:gd name="T8" fmla="*/ 1 w 1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2">
                  <a:moveTo>
                    <a:pt x="1" y="2"/>
                  </a:moveTo>
                  <a:cubicBezTo>
                    <a:pt x="1" y="1"/>
                    <a:pt x="1" y="1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09" name="Freeform 7470"/>
            <p:cNvSpPr>
              <a:spLocks/>
            </p:cNvSpPr>
            <p:nvPr/>
          </p:nvSpPr>
          <p:spPr bwMode="auto">
            <a:xfrm>
              <a:off x="5447" y="2856"/>
              <a:ext cx="2" cy="1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1 h 1"/>
                <a:gd name="T4" fmla="*/ 1 w 1"/>
                <a:gd name="T5" fmla="*/ 1 h 1"/>
                <a:gd name="T6" fmla="*/ 1 w 1"/>
                <a:gd name="T7" fmla="*/ 1 h 1"/>
                <a:gd name="T8" fmla="*/ 0 w 1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0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10" name="Freeform 7471"/>
            <p:cNvSpPr>
              <a:spLocks/>
            </p:cNvSpPr>
            <p:nvPr/>
          </p:nvSpPr>
          <p:spPr bwMode="auto">
            <a:xfrm>
              <a:off x="5414" y="2855"/>
              <a:ext cx="5" cy="6"/>
            </a:xfrm>
            <a:custGeom>
              <a:avLst/>
              <a:gdLst>
                <a:gd name="T0" fmla="*/ 0 w 4"/>
                <a:gd name="T1" fmla="*/ 3 h 5"/>
                <a:gd name="T2" fmla="*/ 4 w 4"/>
                <a:gd name="T3" fmla="*/ 5 h 5"/>
                <a:gd name="T4" fmla="*/ 3 w 4"/>
                <a:gd name="T5" fmla="*/ 3 h 5"/>
                <a:gd name="T6" fmla="*/ 2 w 4"/>
                <a:gd name="T7" fmla="*/ 0 h 5"/>
                <a:gd name="T8" fmla="*/ 0 w 4"/>
                <a:gd name="T9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5">
                  <a:moveTo>
                    <a:pt x="0" y="3"/>
                  </a:moveTo>
                  <a:cubicBezTo>
                    <a:pt x="1" y="4"/>
                    <a:pt x="2" y="4"/>
                    <a:pt x="4" y="5"/>
                  </a:cubicBezTo>
                  <a:cubicBezTo>
                    <a:pt x="4" y="4"/>
                    <a:pt x="3" y="4"/>
                    <a:pt x="3" y="3"/>
                  </a:cubicBezTo>
                  <a:cubicBezTo>
                    <a:pt x="3" y="2"/>
                    <a:pt x="2" y="1"/>
                    <a:pt x="2" y="0"/>
                  </a:cubicBezTo>
                  <a:cubicBezTo>
                    <a:pt x="1" y="1"/>
                    <a:pt x="1" y="2"/>
                    <a:pt x="0" y="3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11" name="Freeform 7472"/>
            <p:cNvSpPr>
              <a:spLocks/>
            </p:cNvSpPr>
            <p:nvPr/>
          </p:nvSpPr>
          <p:spPr bwMode="auto">
            <a:xfrm>
              <a:off x="5402" y="2824"/>
              <a:ext cx="4" cy="2"/>
            </a:xfrm>
            <a:custGeom>
              <a:avLst/>
              <a:gdLst>
                <a:gd name="T0" fmla="*/ 2 w 3"/>
                <a:gd name="T1" fmla="*/ 0 h 1"/>
                <a:gd name="T2" fmla="*/ 0 w 3"/>
                <a:gd name="T3" fmla="*/ 1 h 1"/>
                <a:gd name="T4" fmla="*/ 2 w 3"/>
                <a:gd name="T5" fmla="*/ 1 h 1"/>
                <a:gd name="T6" fmla="*/ 3 w 3"/>
                <a:gd name="T7" fmla="*/ 1 h 1"/>
                <a:gd name="T8" fmla="*/ 3 w 3"/>
                <a:gd name="T9" fmla="*/ 0 h 1"/>
                <a:gd name="T10" fmla="*/ 2 w 3"/>
                <a:gd name="T11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1">
                  <a:moveTo>
                    <a:pt x="2" y="0"/>
                  </a:moveTo>
                  <a:cubicBezTo>
                    <a:pt x="1" y="0"/>
                    <a:pt x="0" y="1"/>
                    <a:pt x="0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2" y="0"/>
                    <a:pt x="2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12" name="Freeform 7473"/>
            <p:cNvSpPr>
              <a:spLocks/>
            </p:cNvSpPr>
            <p:nvPr/>
          </p:nvSpPr>
          <p:spPr bwMode="auto">
            <a:xfrm>
              <a:off x="5399" y="2844"/>
              <a:ext cx="1" cy="2"/>
            </a:xfrm>
            <a:custGeom>
              <a:avLst/>
              <a:gdLst>
                <a:gd name="T0" fmla="*/ 0 w 1"/>
                <a:gd name="T1" fmla="*/ 1 h 2"/>
                <a:gd name="T2" fmla="*/ 1 w 1"/>
                <a:gd name="T3" fmla="*/ 2 h 2"/>
                <a:gd name="T4" fmla="*/ 1 w 1"/>
                <a:gd name="T5" fmla="*/ 0 h 2"/>
                <a:gd name="T6" fmla="*/ 0 w 1"/>
                <a:gd name="T7" fmla="*/ 0 h 2"/>
                <a:gd name="T8" fmla="*/ 0 w 1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2">
                  <a:moveTo>
                    <a:pt x="0" y="1"/>
                  </a:moveTo>
                  <a:cubicBezTo>
                    <a:pt x="0" y="1"/>
                    <a:pt x="1" y="2"/>
                    <a:pt x="1" y="2"/>
                  </a:cubicBezTo>
                  <a:cubicBezTo>
                    <a:pt x="1" y="1"/>
                    <a:pt x="1" y="1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13" name="Freeform 7474"/>
            <p:cNvSpPr>
              <a:spLocks/>
            </p:cNvSpPr>
            <p:nvPr/>
          </p:nvSpPr>
          <p:spPr bwMode="auto">
            <a:xfrm>
              <a:off x="5424" y="2847"/>
              <a:ext cx="0" cy="2"/>
            </a:xfrm>
            <a:custGeom>
              <a:avLst/>
              <a:gdLst>
                <a:gd name="T0" fmla="*/ 0 h 1"/>
                <a:gd name="T1" fmla="*/ 1 h 1"/>
                <a:gd name="T2" fmla="*/ 0 h 1"/>
                <a:gd name="T3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14" name="Freeform 7475"/>
            <p:cNvSpPr>
              <a:spLocks/>
            </p:cNvSpPr>
            <p:nvPr/>
          </p:nvSpPr>
          <p:spPr bwMode="auto">
            <a:xfrm>
              <a:off x="5408" y="2843"/>
              <a:ext cx="4" cy="2"/>
            </a:xfrm>
            <a:custGeom>
              <a:avLst/>
              <a:gdLst>
                <a:gd name="T0" fmla="*/ 3 w 3"/>
                <a:gd name="T1" fmla="*/ 2 h 2"/>
                <a:gd name="T2" fmla="*/ 0 w 3"/>
                <a:gd name="T3" fmla="*/ 0 h 2"/>
                <a:gd name="T4" fmla="*/ 0 w 3"/>
                <a:gd name="T5" fmla="*/ 2 h 2"/>
                <a:gd name="T6" fmla="*/ 3 w 3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2">
                  <a:moveTo>
                    <a:pt x="3" y="2"/>
                  </a:moveTo>
                  <a:cubicBezTo>
                    <a:pt x="2" y="1"/>
                    <a:pt x="1" y="0"/>
                    <a:pt x="0" y="0"/>
                  </a:cubicBezTo>
                  <a:cubicBezTo>
                    <a:pt x="0" y="0"/>
                    <a:pt x="0" y="1"/>
                    <a:pt x="0" y="2"/>
                  </a:cubicBezTo>
                  <a:cubicBezTo>
                    <a:pt x="1" y="1"/>
                    <a:pt x="2" y="1"/>
                    <a:pt x="3" y="2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15" name="Freeform 7476"/>
            <p:cNvSpPr>
              <a:spLocks/>
            </p:cNvSpPr>
            <p:nvPr/>
          </p:nvSpPr>
          <p:spPr bwMode="auto">
            <a:xfrm>
              <a:off x="5430" y="2841"/>
              <a:ext cx="4" cy="5"/>
            </a:xfrm>
            <a:custGeom>
              <a:avLst/>
              <a:gdLst>
                <a:gd name="T0" fmla="*/ 1 w 3"/>
                <a:gd name="T1" fmla="*/ 4 h 4"/>
                <a:gd name="T2" fmla="*/ 1 w 3"/>
                <a:gd name="T3" fmla="*/ 4 h 4"/>
                <a:gd name="T4" fmla="*/ 2 w 3"/>
                <a:gd name="T5" fmla="*/ 4 h 4"/>
                <a:gd name="T6" fmla="*/ 3 w 3"/>
                <a:gd name="T7" fmla="*/ 2 h 4"/>
                <a:gd name="T8" fmla="*/ 2 w 3"/>
                <a:gd name="T9" fmla="*/ 1 h 4"/>
                <a:gd name="T10" fmla="*/ 2 w 3"/>
                <a:gd name="T11" fmla="*/ 2 h 4"/>
                <a:gd name="T12" fmla="*/ 2 w 3"/>
                <a:gd name="T13" fmla="*/ 1 h 4"/>
                <a:gd name="T14" fmla="*/ 0 w 3"/>
                <a:gd name="T15" fmla="*/ 0 h 4"/>
                <a:gd name="T16" fmla="*/ 0 w 3"/>
                <a:gd name="T17" fmla="*/ 4 h 4"/>
                <a:gd name="T18" fmla="*/ 1 w 3"/>
                <a:gd name="T1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" h="4">
                  <a:moveTo>
                    <a:pt x="1" y="4"/>
                  </a:move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2" y="4"/>
                    <a:pt x="2" y="4"/>
                  </a:cubicBezTo>
                  <a:cubicBezTo>
                    <a:pt x="3" y="3"/>
                    <a:pt x="3" y="2"/>
                    <a:pt x="3" y="2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1"/>
                    <a:pt x="2" y="1"/>
                  </a:cubicBezTo>
                  <a:cubicBezTo>
                    <a:pt x="1" y="1"/>
                    <a:pt x="1" y="0"/>
                    <a:pt x="0" y="0"/>
                  </a:cubicBezTo>
                  <a:cubicBezTo>
                    <a:pt x="0" y="1"/>
                    <a:pt x="0" y="2"/>
                    <a:pt x="0" y="4"/>
                  </a:cubicBezTo>
                  <a:cubicBezTo>
                    <a:pt x="0" y="4"/>
                    <a:pt x="0" y="4"/>
                    <a:pt x="1" y="4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16" name="Freeform 7477"/>
            <p:cNvSpPr>
              <a:spLocks/>
            </p:cNvSpPr>
            <p:nvPr/>
          </p:nvSpPr>
          <p:spPr bwMode="auto">
            <a:xfrm>
              <a:off x="5434" y="2844"/>
              <a:ext cx="4" cy="3"/>
            </a:xfrm>
            <a:custGeom>
              <a:avLst/>
              <a:gdLst>
                <a:gd name="T0" fmla="*/ 3 w 3"/>
                <a:gd name="T1" fmla="*/ 3 h 3"/>
                <a:gd name="T2" fmla="*/ 3 w 3"/>
                <a:gd name="T3" fmla="*/ 2 h 3"/>
                <a:gd name="T4" fmla="*/ 1 w 3"/>
                <a:gd name="T5" fmla="*/ 0 h 3"/>
                <a:gd name="T6" fmla="*/ 0 w 3"/>
                <a:gd name="T7" fmla="*/ 2 h 3"/>
                <a:gd name="T8" fmla="*/ 0 w 3"/>
                <a:gd name="T9" fmla="*/ 2 h 3"/>
                <a:gd name="T10" fmla="*/ 3 w 3"/>
                <a:gd name="T11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3">
                  <a:moveTo>
                    <a:pt x="3" y="3"/>
                  </a:moveTo>
                  <a:cubicBezTo>
                    <a:pt x="3" y="3"/>
                    <a:pt x="3" y="2"/>
                    <a:pt x="3" y="2"/>
                  </a:cubicBezTo>
                  <a:cubicBezTo>
                    <a:pt x="2" y="2"/>
                    <a:pt x="2" y="1"/>
                    <a:pt x="1" y="0"/>
                  </a:cubicBezTo>
                  <a:cubicBezTo>
                    <a:pt x="1" y="1"/>
                    <a:pt x="0" y="1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2"/>
                    <a:pt x="2" y="2"/>
                    <a:pt x="3" y="3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17" name="Freeform 7478"/>
            <p:cNvSpPr>
              <a:spLocks/>
            </p:cNvSpPr>
            <p:nvPr/>
          </p:nvSpPr>
          <p:spPr bwMode="auto">
            <a:xfrm>
              <a:off x="5442" y="2855"/>
              <a:ext cx="2" cy="1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1 h 1"/>
                <a:gd name="T4" fmla="*/ 1 w 1"/>
                <a:gd name="T5" fmla="*/ 1 h 1"/>
                <a:gd name="T6" fmla="*/ 0 w 1"/>
                <a:gd name="T7" fmla="*/ 0 h 1"/>
                <a:gd name="T8" fmla="*/ 0 w 1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0" y="1"/>
                    <a:pt x="0" y="1"/>
                    <a:pt x="1" y="1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18" name="Freeform 7479"/>
            <p:cNvSpPr>
              <a:spLocks/>
            </p:cNvSpPr>
            <p:nvPr/>
          </p:nvSpPr>
          <p:spPr bwMode="auto">
            <a:xfrm>
              <a:off x="5441" y="2855"/>
              <a:ext cx="1" cy="1"/>
            </a:xfrm>
            <a:custGeom>
              <a:avLst/>
              <a:gdLst>
                <a:gd name="T0" fmla="*/ 1 w 1"/>
                <a:gd name="T1" fmla="*/ 1 h 1"/>
                <a:gd name="T2" fmla="*/ 1 w 1"/>
                <a:gd name="T3" fmla="*/ 0 h 1"/>
                <a:gd name="T4" fmla="*/ 0 w 1"/>
                <a:gd name="T5" fmla="*/ 0 h 1"/>
                <a:gd name="T6" fmla="*/ 1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19" name="Freeform 7480"/>
            <p:cNvSpPr>
              <a:spLocks/>
            </p:cNvSpPr>
            <p:nvPr/>
          </p:nvSpPr>
          <p:spPr bwMode="auto">
            <a:xfrm>
              <a:off x="5438" y="2849"/>
              <a:ext cx="3" cy="3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0 h 3"/>
                <a:gd name="T4" fmla="*/ 2 w 3"/>
                <a:gd name="T5" fmla="*/ 3 h 3"/>
                <a:gd name="T6" fmla="*/ 3 w 3"/>
                <a:gd name="T7" fmla="*/ 3 h 3"/>
                <a:gd name="T8" fmla="*/ 2 w 3"/>
                <a:gd name="T9" fmla="*/ 1 h 3"/>
                <a:gd name="T10" fmla="*/ 0 w 3"/>
                <a:gd name="T11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1" y="2"/>
                    <a:pt x="2" y="3"/>
                  </a:cubicBezTo>
                  <a:cubicBezTo>
                    <a:pt x="2" y="3"/>
                    <a:pt x="2" y="3"/>
                    <a:pt x="3" y="3"/>
                  </a:cubicBezTo>
                  <a:cubicBezTo>
                    <a:pt x="2" y="2"/>
                    <a:pt x="2" y="2"/>
                    <a:pt x="2" y="1"/>
                  </a:cubicBezTo>
                  <a:cubicBezTo>
                    <a:pt x="1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20" name="Freeform 7481"/>
            <p:cNvSpPr>
              <a:spLocks/>
            </p:cNvSpPr>
            <p:nvPr/>
          </p:nvSpPr>
          <p:spPr bwMode="auto">
            <a:xfrm>
              <a:off x="5433" y="2852"/>
              <a:ext cx="7" cy="5"/>
            </a:xfrm>
            <a:custGeom>
              <a:avLst/>
              <a:gdLst>
                <a:gd name="T0" fmla="*/ 6 w 6"/>
                <a:gd name="T1" fmla="*/ 0 h 4"/>
                <a:gd name="T2" fmla="*/ 2 w 6"/>
                <a:gd name="T3" fmla="*/ 1 h 4"/>
                <a:gd name="T4" fmla="*/ 0 w 6"/>
                <a:gd name="T5" fmla="*/ 4 h 4"/>
                <a:gd name="T6" fmla="*/ 2 w 6"/>
                <a:gd name="T7" fmla="*/ 3 h 4"/>
                <a:gd name="T8" fmla="*/ 6 w 6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4">
                  <a:moveTo>
                    <a:pt x="6" y="0"/>
                  </a:moveTo>
                  <a:cubicBezTo>
                    <a:pt x="4" y="0"/>
                    <a:pt x="3" y="0"/>
                    <a:pt x="2" y="1"/>
                  </a:cubicBezTo>
                  <a:cubicBezTo>
                    <a:pt x="1" y="2"/>
                    <a:pt x="1" y="3"/>
                    <a:pt x="0" y="4"/>
                  </a:cubicBezTo>
                  <a:cubicBezTo>
                    <a:pt x="1" y="4"/>
                    <a:pt x="2" y="4"/>
                    <a:pt x="2" y="3"/>
                  </a:cubicBezTo>
                  <a:cubicBezTo>
                    <a:pt x="3" y="2"/>
                    <a:pt x="4" y="1"/>
                    <a:pt x="6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21" name="Freeform 7482"/>
            <p:cNvSpPr>
              <a:spLocks/>
            </p:cNvSpPr>
            <p:nvPr/>
          </p:nvSpPr>
          <p:spPr bwMode="auto">
            <a:xfrm>
              <a:off x="5441" y="2855"/>
              <a:ext cx="3" cy="7"/>
            </a:xfrm>
            <a:custGeom>
              <a:avLst/>
              <a:gdLst>
                <a:gd name="T0" fmla="*/ 0 w 2"/>
                <a:gd name="T1" fmla="*/ 0 h 6"/>
                <a:gd name="T2" fmla="*/ 0 w 2"/>
                <a:gd name="T3" fmla="*/ 1 h 6"/>
                <a:gd name="T4" fmla="*/ 2 w 2"/>
                <a:gd name="T5" fmla="*/ 6 h 6"/>
                <a:gd name="T6" fmla="*/ 2 w 2"/>
                <a:gd name="T7" fmla="*/ 5 h 6"/>
                <a:gd name="T8" fmla="*/ 1 w 2"/>
                <a:gd name="T9" fmla="*/ 1 h 6"/>
                <a:gd name="T10" fmla="*/ 0 w 2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6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1" y="2"/>
                    <a:pt x="2" y="4"/>
                    <a:pt x="2" y="6"/>
                  </a:cubicBezTo>
                  <a:cubicBezTo>
                    <a:pt x="2" y="6"/>
                    <a:pt x="2" y="6"/>
                    <a:pt x="2" y="5"/>
                  </a:cubicBezTo>
                  <a:cubicBezTo>
                    <a:pt x="2" y="4"/>
                    <a:pt x="1" y="2"/>
                    <a:pt x="1" y="1"/>
                  </a:cubicBezTo>
                  <a:cubicBezTo>
                    <a:pt x="1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22" name="Freeform 7483"/>
            <p:cNvSpPr>
              <a:spLocks/>
            </p:cNvSpPr>
            <p:nvPr/>
          </p:nvSpPr>
          <p:spPr bwMode="auto">
            <a:xfrm>
              <a:off x="5400" y="2844"/>
              <a:ext cx="2" cy="2"/>
            </a:xfrm>
            <a:custGeom>
              <a:avLst/>
              <a:gdLst>
                <a:gd name="T0" fmla="*/ 0 w 2"/>
                <a:gd name="T1" fmla="*/ 0 h 2"/>
                <a:gd name="T2" fmla="*/ 0 w 2"/>
                <a:gd name="T3" fmla="*/ 2 h 2"/>
                <a:gd name="T4" fmla="*/ 0 w 2"/>
                <a:gd name="T5" fmla="*/ 2 h 2"/>
                <a:gd name="T6" fmla="*/ 2 w 2"/>
                <a:gd name="T7" fmla="*/ 1 h 2"/>
                <a:gd name="T8" fmla="*/ 0 w 2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cubicBezTo>
                    <a:pt x="0" y="1"/>
                    <a:pt x="0" y="1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1"/>
                    <a:pt x="1" y="1"/>
                    <a:pt x="2" y="1"/>
                  </a:cubicBezTo>
                  <a:cubicBezTo>
                    <a:pt x="1" y="0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23" name="Freeform 7484"/>
            <p:cNvSpPr>
              <a:spLocks/>
            </p:cNvSpPr>
            <p:nvPr/>
          </p:nvSpPr>
          <p:spPr bwMode="auto">
            <a:xfrm>
              <a:off x="5411" y="2849"/>
              <a:ext cx="2" cy="7"/>
            </a:xfrm>
            <a:custGeom>
              <a:avLst/>
              <a:gdLst>
                <a:gd name="T0" fmla="*/ 2 w 2"/>
                <a:gd name="T1" fmla="*/ 2 h 6"/>
                <a:gd name="T2" fmla="*/ 2 w 2"/>
                <a:gd name="T3" fmla="*/ 1 h 6"/>
                <a:gd name="T4" fmla="*/ 1 w 2"/>
                <a:gd name="T5" fmla="*/ 0 h 6"/>
                <a:gd name="T6" fmla="*/ 0 w 2"/>
                <a:gd name="T7" fmla="*/ 3 h 6"/>
                <a:gd name="T8" fmla="*/ 0 w 2"/>
                <a:gd name="T9" fmla="*/ 6 h 6"/>
                <a:gd name="T10" fmla="*/ 2 w 2"/>
                <a:gd name="T11" fmla="*/ 2 h 6"/>
                <a:gd name="T12" fmla="*/ 1 w 2"/>
                <a:gd name="T13" fmla="*/ 2 h 6"/>
                <a:gd name="T14" fmla="*/ 2 w 2"/>
                <a:gd name="T15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6">
                  <a:moveTo>
                    <a:pt x="2" y="2"/>
                  </a:move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0"/>
                    <a:pt x="1" y="0"/>
                  </a:cubicBezTo>
                  <a:cubicBezTo>
                    <a:pt x="1" y="1"/>
                    <a:pt x="0" y="2"/>
                    <a:pt x="0" y="3"/>
                  </a:cubicBezTo>
                  <a:cubicBezTo>
                    <a:pt x="0" y="4"/>
                    <a:pt x="0" y="5"/>
                    <a:pt x="0" y="6"/>
                  </a:cubicBezTo>
                  <a:cubicBezTo>
                    <a:pt x="0" y="5"/>
                    <a:pt x="1" y="3"/>
                    <a:pt x="2" y="2"/>
                  </a:cubicBezTo>
                  <a:cubicBezTo>
                    <a:pt x="2" y="2"/>
                    <a:pt x="1" y="2"/>
                    <a:pt x="1" y="2"/>
                  </a:cubicBezTo>
                  <a:cubicBezTo>
                    <a:pt x="1" y="2"/>
                    <a:pt x="1" y="2"/>
                    <a:pt x="2" y="2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24" name="Freeform 7485"/>
            <p:cNvSpPr>
              <a:spLocks/>
            </p:cNvSpPr>
            <p:nvPr/>
          </p:nvSpPr>
          <p:spPr bwMode="auto">
            <a:xfrm>
              <a:off x="5421" y="2849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25" name="Freeform 7486"/>
            <p:cNvSpPr>
              <a:spLocks/>
            </p:cNvSpPr>
            <p:nvPr/>
          </p:nvSpPr>
          <p:spPr bwMode="auto">
            <a:xfrm>
              <a:off x="5400" y="2841"/>
              <a:ext cx="2" cy="3"/>
            </a:xfrm>
            <a:custGeom>
              <a:avLst/>
              <a:gdLst>
                <a:gd name="T0" fmla="*/ 2 w 2"/>
                <a:gd name="T1" fmla="*/ 2 h 2"/>
                <a:gd name="T2" fmla="*/ 2 w 2"/>
                <a:gd name="T3" fmla="*/ 0 h 2"/>
                <a:gd name="T4" fmla="*/ 0 w 2"/>
                <a:gd name="T5" fmla="*/ 2 h 2"/>
                <a:gd name="T6" fmla="*/ 0 w 2"/>
                <a:gd name="T7" fmla="*/ 2 h 2"/>
                <a:gd name="T8" fmla="*/ 2 w 2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cubicBezTo>
                    <a:pt x="2" y="2"/>
                    <a:pt x="2" y="1"/>
                    <a:pt x="2" y="0"/>
                  </a:cubicBezTo>
                  <a:cubicBezTo>
                    <a:pt x="2" y="1"/>
                    <a:pt x="1" y="1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2"/>
                    <a:pt x="2" y="2"/>
                    <a:pt x="2" y="2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26" name="Freeform 7487"/>
            <p:cNvSpPr>
              <a:spLocks/>
            </p:cNvSpPr>
            <p:nvPr/>
          </p:nvSpPr>
          <p:spPr bwMode="auto">
            <a:xfrm>
              <a:off x="5413" y="2861"/>
              <a:ext cx="0" cy="1"/>
            </a:xfrm>
            <a:custGeom>
              <a:avLst/>
              <a:gdLst>
                <a:gd name="T0" fmla="*/ 1 h 1"/>
                <a:gd name="T1" fmla="*/ 0 h 1"/>
                <a:gd name="T2" fmla="*/ 0 h 1"/>
                <a:gd name="T3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cubicBezTo>
                    <a:pt x="0" y="1"/>
                    <a:pt x="0" y="1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27" name="Freeform 7488"/>
            <p:cNvSpPr>
              <a:spLocks/>
            </p:cNvSpPr>
            <p:nvPr/>
          </p:nvSpPr>
          <p:spPr bwMode="auto">
            <a:xfrm>
              <a:off x="5413" y="2852"/>
              <a:ext cx="4" cy="6"/>
            </a:xfrm>
            <a:custGeom>
              <a:avLst/>
              <a:gdLst>
                <a:gd name="T0" fmla="*/ 2 w 3"/>
                <a:gd name="T1" fmla="*/ 0 h 5"/>
                <a:gd name="T2" fmla="*/ 0 w 3"/>
                <a:gd name="T3" fmla="*/ 5 h 5"/>
                <a:gd name="T4" fmla="*/ 1 w 3"/>
                <a:gd name="T5" fmla="*/ 5 h 5"/>
                <a:gd name="T6" fmla="*/ 3 w 3"/>
                <a:gd name="T7" fmla="*/ 2 h 5"/>
                <a:gd name="T8" fmla="*/ 2 w 3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5">
                  <a:moveTo>
                    <a:pt x="2" y="0"/>
                  </a:moveTo>
                  <a:cubicBezTo>
                    <a:pt x="1" y="1"/>
                    <a:pt x="1" y="3"/>
                    <a:pt x="0" y="5"/>
                  </a:cubicBezTo>
                  <a:cubicBezTo>
                    <a:pt x="0" y="5"/>
                    <a:pt x="1" y="5"/>
                    <a:pt x="1" y="5"/>
                  </a:cubicBezTo>
                  <a:cubicBezTo>
                    <a:pt x="2" y="4"/>
                    <a:pt x="2" y="3"/>
                    <a:pt x="3" y="2"/>
                  </a:cubicBezTo>
                  <a:cubicBezTo>
                    <a:pt x="2" y="1"/>
                    <a:pt x="2" y="0"/>
                    <a:pt x="2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28" name="Freeform 7489"/>
            <p:cNvSpPr>
              <a:spLocks/>
            </p:cNvSpPr>
            <p:nvPr/>
          </p:nvSpPr>
          <p:spPr bwMode="auto">
            <a:xfrm>
              <a:off x="5419" y="2838"/>
              <a:ext cx="4" cy="6"/>
            </a:xfrm>
            <a:custGeom>
              <a:avLst/>
              <a:gdLst>
                <a:gd name="T0" fmla="*/ 1 w 3"/>
                <a:gd name="T1" fmla="*/ 5 h 5"/>
                <a:gd name="T2" fmla="*/ 3 w 3"/>
                <a:gd name="T3" fmla="*/ 4 h 5"/>
                <a:gd name="T4" fmla="*/ 2 w 3"/>
                <a:gd name="T5" fmla="*/ 0 h 5"/>
                <a:gd name="T6" fmla="*/ 0 w 3"/>
                <a:gd name="T7" fmla="*/ 2 h 5"/>
                <a:gd name="T8" fmla="*/ 1 w 3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5">
                  <a:moveTo>
                    <a:pt x="1" y="5"/>
                  </a:moveTo>
                  <a:cubicBezTo>
                    <a:pt x="2" y="4"/>
                    <a:pt x="2" y="4"/>
                    <a:pt x="3" y="4"/>
                  </a:cubicBezTo>
                  <a:cubicBezTo>
                    <a:pt x="3" y="3"/>
                    <a:pt x="3" y="2"/>
                    <a:pt x="2" y="0"/>
                  </a:cubicBezTo>
                  <a:cubicBezTo>
                    <a:pt x="1" y="1"/>
                    <a:pt x="1" y="1"/>
                    <a:pt x="0" y="2"/>
                  </a:cubicBezTo>
                  <a:cubicBezTo>
                    <a:pt x="0" y="3"/>
                    <a:pt x="1" y="4"/>
                    <a:pt x="1" y="5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29" name="Freeform 7490"/>
            <p:cNvSpPr>
              <a:spLocks/>
            </p:cNvSpPr>
            <p:nvPr/>
          </p:nvSpPr>
          <p:spPr bwMode="auto">
            <a:xfrm>
              <a:off x="5419" y="2846"/>
              <a:ext cx="2" cy="1"/>
            </a:xfrm>
            <a:custGeom>
              <a:avLst/>
              <a:gdLst>
                <a:gd name="T0" fmla="*/ 0 w 1"/>
                <a:gd name="T1" fmla="*/ 1 h 1"/>
                <a:gd name="T2" fmla="*/ 1 w 1"/>
                <a:gd name="T3" fmla="*/ 1 h 1"/>
                <a:gd name="T4" fmla="*/ 0 w 1"/>
                <a:gd name="T5" fmla="*/ 0 h 1"/>
                <a:gd name="T6" fmla="*/ 0 w 1"/>
                <a:gd name="T7" fmla="*/ 0 h 1"/>
                <a:gd name="T8" fmla="*/ 0 w 1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1"/>
                    <a:pt x="1" y="1"/>
                    <a:pt x="1" y="1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30" name="Freeform 7491"/>
            <p:cNvSpPr>
              <a:spLocks/>
            </p:cNvSpPr>
            <p:nvPr/>
          </p:nvSpPr>
          <p:spPr bwMode="auto">
            <a:xfrm>
              <a:off x="5417" y="2843"/>
              <a:ext cx="1" cy="2"/>
            </a:xfrm>
            <a:custGeom>
              <a:avLst/>
              <a:gdLst>
                <a:gd name="T0" fmla="*/ 1 w 1"/>
                <a:gd name="T1" fmla="*/ 2 h 2"/>
                <a:gd name="T2" fmla="*/ 1 w 1"/>
                <a:gd name="T3" fmla="*/ 2 h 2"/>
                <a:gd name="T4" fmla="*/ 0 w 1"/>
                <a:gd name="T5" fmla="*/ 0 h 2"/>
                <a:gd name="T6" fmla="*/ 0 w 1"/>
                <a:gd name="T7" fmla="*/ 0 h 2"/>
                <a:gd name="T8" fmla="*/ 1 w 1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2">
                  <a:moveTo>
                    <a:pt x="1" y="2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1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1" y="1"/>
                    <a:pt x="1" y="2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31" name="Freeform 7492"/>
            <p:cNvSpPr>
              <a:spLocks/>
            </p:cNvSpPr>
            <p:nvPr/>
          </p:nvSpPr>
          <p:spPr bwMode="auto">
            <a:xfrm>
              <a:off x="5394" y="2849"/>
              <a:ext cx="3" cy="5"/>
            </a:xfrm>
            <a:custGeom>
              <a:avLst/>
              <a:gdLst>
                <a:gd name="T0" fmla="*/ 2 w 3"/>
                <a:gd name="T1" fmla="*/ 0 h 4"/>
                <a:gd name="T2" fmla="*/ 0 w 3"/>
                <a:gd name="T3" fmla="*/ 4 h 4"/>
                <a:gd name="T4" fmla="*/ 0 w 3"/>
                <a:gd name="T5" fmla="*/ 4 h 4"/>
                <a:gd name="T6" fmla="*/ 3 w 3"/>
                <a:gd name="T7" fmla="*/ 1 h 4"/>
                <a:gd name="T8" fmla="*/ 2 w 3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2" y="0"/>
                  </a:moveTo>
                  <a:cubicBezTo>
                    <a:pt x="1" y="1"/>
                    <a:pt x="1" y="2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3"/>
                    <a:pt x="2" y="2"/>
                    <a:pt x="3" y="1"/>
                  </a:cubicBezTo>
                  <a:cubicBezTo>
                    <a:pt x="2" y="0"/>
                    <a:pt x="2" y="0"/>
                    <a:pt x="2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32" name="Freeform 7493"/>
            <p:cNvSpPr>
              <a:spLocks/>
            </p:cNvSpPr>
            <p:nvPr/>
          </p:nvSpPr>
          <p:spPr bwMode="auto">
            <a:xfrm>
              <a:off x="5422" y="2844"/>
              <a:ext cx="1" cy="1"/>
            </a:xfrm>
            <a:custGeom>
              <a:avLst/>
              <a:gdLst>
                <a:gd name="T0" fmla="*/ 1 w 1"/>
                <a:gd name="T1" fmla="*/ 1 h 1"/>
                <a:gd name="T2" fmla="*/ 1 w 1"/>
                <a:gd name="T3" fmla="*/ 1 h 1"/>
                <a:gd name="T4" fmla="*/ 1 w 1"/>
                <a:gd name="T5" fmla="*/ 0 h 1"/>
                <a:gd name="T6" fmla="*/ 0 w 1"/>
                <a:gd name="T7" fmla="*/ 1 h 1"/>
                <a:gd name="T8" fmla="*/ 1 w 1"/>
                <a:gd name="T9" fmla="*/ 1 h 1"/>
                <a:gd name="T10" fmla="*/ 1 w 1"/>
                <a:gd name="T11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33" name="Freeform 7494"/>
            <p:cNvSpPr>
              <a:spLocks/>
            </p:cNvSpPr>
            <p:nvPr/>
          </p:nvSpPr>
          <p:spPr bwMode="auto">
            <a:xfrm>
              <a:off x="5423" y="2844"/>
              <a:ext cx="1" cy="0"/>
            </a:xfrm>
            <a:custGeom>
              <a:avLst/>
              <a:gdLst>
                <a:gd name="T0" fmla="*/ 1 w 1"/>
                <a:gd name="T1" fmla="*/ 0 w 1"/>
                <a:gd name="T2" fmla="*/ 1 w 1"/>
                <a:gd name="T3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1" y="0"/>
                    <a:pt x="1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34" name="Freeform 7495"/>
            <p:cNvSpPr>
              <a:spLocks/>
            </p:cNvSpPr>
            <p:nvPr/>
          </p:nvSpPr>
          <p:spPr bwMode="auto">
            <a:xfrm>
              <a:off x="5412" y="2862"/>
              <a:ext cx="1" cy="12"/>
            </a:xfrm>
            <a:custGeom>
              <a:avLst/>
              <a:gdLst>
                <a:gd name="T0" fmla="*/ 1 w 1"/>
                <a:gd name="T1" fmla="*/ 0 h 10"/>
                <a:gd name="T2" fmla="*/ 0 w 1"/>
                <a:gd name="T3" fmla="*/ 2 h 10"/>
                <a:gd name="T4" fmla="*/ 0 w 1"/>
                <a:gd name="T5" fmla="*/ 2 h 10"/>
                <a:gd name="T6" fmla="*/ 0 w 1"/>
                <a:gd name="T7" fmla="*/ 2 h 10"/>
                <a:gd name="T8" fmla="*/ 0 w 1"/>
                <a:gd name="T9" fmla="*/ 3 h 10"/>
                <a:gd name="T10" fmla="*/ 0 w 1"/>
                <a:gd name="T11" fmla="*/ 10 h 10"/>
                <a:gd name="T12" fmla="*/ 1 w 1"/>
                <a:gd name="T13" fmla="*/ 10 h 10"/>
                <a:gd name="T14" fmla="*/ 1 w 1"/>
                <a:gd name="T1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" h="10">
                  <a:moveTo>
                    <a:pt x="1" y="0"/>
                  </a:moveTo>
                  <a:cubicBezTo>
                    <a:pt x="1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5"/>
                    <a:pt x="0" y="7"/>
                    <a:pt x="0" y="10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0" y="6"/>
                    <a:pt x="1" y="3"/>
                    <a:pt x="1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35" name="Freeform 7496"/>
            <p:cNvSpPr>
              <a:spLocks/>
            </p:cNvSpPr>
            <p:nvPr/>
          </p:nvSpPr>
          <p:spPr bwMode="auto">
            <a:xfrm>
              <a:off x="5405" y="2841"/>
              <a:ext cx="3" cy="5"/>
            </a:xfrm>
            <a:custGeom>
              <a:avLst/>
              <a:gdLst>
                <a:gd name="T0" fmla="*/ 2 w 3"/>
                <a:gd name="T1" fmla="*/ 4 h 4"/>
                <a:gd name="T2" fmla="*/ 3 w 3"/>
                <a:gd name="T3" fmla="*/ 3 h 4"/>
                <a:gd name="T4" fmla="*/ 3 w 3"/>
                <a:gd name="T5" fmla="*/ 1 h 4"/>
                <a:gd name="T6" fmla="*/ 0 w 3"/>
                <a:gd name="T7" fmla="*/ 0 h 4"/>
                <a:gd name="T8" fmla="*/ 1 w 3"/>
                <a:gd name="T9" fmla="*/ 2 h 4"/>
                <a:gd name="T10" fmla="*/ 2 w 3"/>
                <a:gd name="T11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4">
                  <a:moveTo>
                    <a:pt x="2" y="4"/>
                  </a:moveTo>
                  <a:cubicBezTo>
                    <a:pt x="2" y="3"/>
                    <a:pt x="3" y="3"/>
                    <a:pt x="3" y="3"/>
                  </a:cubicBezTo>
                  <a:cubicBezTo>
                    <a:pt x="3" y="2"/>
                    <a:pt x="3" y="1"/>
                    <a:pt x="3" y="1"/>
                  </a:cubicBezTo>
                  <a:cubicBezTo>
                    <a:pt x="2" y="0"/>
                    <a:pt x="1" y="0"/>
                    <a:pt x="0" y="0"/>
                  </a:cubicBezTo>
                  <a:cubicBezTo>
                    <a:pt x="1" y="1"/>
                    <a:pt x="1" y="2"/>
                    <a:pt x="1" y="2"/>
                  </a:cubicBezTo>
                  <a:cubicBezTo>
                    <a:pt x="1" y="3"/>
                    <a:pt x="2" y="3"/>
                    <a:pt x="2" y="4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36" name="Freeform 7497"/>
            <p:cNvSpPr>
              <a:spLocks/>
            </p:cNvSpPr>
            <p:nvPr/>
          </p:nvSpPr>
          <p:spPr bwMode="auto">
            <a:xfrm>
              <a:off x="5406" y="2824"/>
              <a:ext cx="2" cy="2"/>
            </a:xfrm>
            <a:custGeom>
              <a:avLst/>
              <a:gdLst>
                <a:gd name="T0" fmla="*/ 2 w 2"/>
                <a:gd name="T1" fmla="*/ 0 h 1"/>
                <a:gd name="T2" fmla="*/ 0 w 2"/>
                <a:gd name="T3" fmla="*/ 0 h 1"/>
                <a:gd name="T4" fmla="*/ 0 w 2"/>
                <a:gd name="T5" fmla="*/ 1 h 1"/>
                <a:gd name="T6" fmla="*/ 2 w 2"/>
                <a:gd name="T7" fmla="*/ 1 h 1"/>
                <a:gd name="T8" fmla="*/ 2 w 2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2" y="0"/>
                    <a:pt x="1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1" y="1"/>
                    <a:pt x="1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37" name="Freeform 7498"/>
            <p:cNvSpPr>
              <a:spLocks/>
            </p:cNvSpPr>
            <p:nvPr/>
          </p:nvSpPr>
          <p:spPr bwMode="auto">
            <a:xfrm>
              <a:off x="5397" y="2845"/>
              <a:ext cx="3" cy="4"/>
            </a:xfrm>
            <a:custGeom>
              <a:avLst/>
              <a:gdLst>
                <a:gd name="T0" fmla="*/ 1 w 2"/>
                <a:gd name="T1" fmla="*/ 0 h 3"/>
                <a:gd name="T2" fmla="*/ 0 w 2"/>
                <a:gd name="T3" fmla="*/ 1 h 3"/>
                <a:gd name="T4" fmla="*/ 1 w 2"/>
                <a:gd name="T5" fmla="*/ 3 h 3"/>
                <a:gd name="T6" fmla="*/ 2 w 2"/>
                <a:gd name="T7" fmla="*/ 1 h 3"/>
                <a:gd name="T8" fmla="*/ 2 w 2"/>
                <a:gd name="T9" fmla="*/ 1 h 3"/>
                <a:gd name="T10" fmla="*/ 1 w 2"/>
                <a:gd name="T11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3">
                  <a:moveTo>
                    <a:pt x="1" y="0"/>
                  </a:moveTo>
                  <a:cubicBezTo>
                    <a:pt x="1" y="0"/>
                    <a:pt x="0" y="0"/>
                    <a:pt x="0" y="1"/>
                  </a:cubicBezTo>
                  <a:cubicBezTo>
                    <a:pt x="0" y="1"/>
                    <a:pt x="0" y="2"/>
                    <a:pt x="1" y="3"/>
                  </a:cubicBezTo>
                  <a:cubicBezTo>
                    <a:pt x="1" y="2"/>
                    <a:pt x="2" y="2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38" name="Freeform 7499"/>
            <p:cNvSpPr>
              <a:spLocks/>
            </p:cNvSpPr>
            <p:nvPr/>
          </p:nvSpPr>
          <p:spPr bwMode="auto">
            <a:xfrm>
              <a:off x="5430" y="2846"/>
              <a:ext cx="1" cy="0"/>
            </a:xfrm>
            <a:custGeom>
              <a:avLst/>
              <a:gdLst>
                <a:gd name="T0" fmla="*/ 1 w 1"/>
                <a:gd name="T1" fmla="*/ 0 w 1"/>
                <a:gd name="T2" fmla="*/ 0 w 1"/>
                <a:gd name="T3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1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39" name="Freeform 7500"/>
            <p:cNvSpPr>
              <a:spLocks/>
            </p:cNvSpPr>
            <p:nvPr/>
          </p:nvSpPr>
          <p:spPr bwMode="auto">
            <a:xfrm>
              <a:off x="5421" y="2843"/>
              <a:ext cx="2" cy="2"/>
            </a:xfrm>
            <a:custGeom>
              <a:avLst/>
              <a:gdLst>
                <a:gd name="T0" fmla="*/ 2 w 2"/>
                <a:gd name="T1" fmla="*/ 1 h 2"/>
                <a:gd name="T2" fmla="*/ 2 w 2"/>
                <a:gd name="T3" fmla="*/ 0 h 2"/>
                <a:gd name="T4" fmla="*/ 0 w 2"/>
                <a:gd name="T5" fmla="*/ 1 h 2"/>
                <a:gd name="T6" fmla="*/ 1 w 2"/>
                <a:gd name="T7" fmla="*/ 2 h 2"/>
                <a:gd name="T8" fmla="*/ 2 w 2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2" y="1"/>
                  </a:moveTo>
                  <a:cubicBezTo>
                    <a:pt x="2" y="1"/>
                    <a:pt x="2" y="1"/>
                    <a:pt x="2" y="0"/>
                  </a:cubicBezTo>
                  <a:cubicBezTo>
                    <a:pt x="1" y="0"/>
                    <a:pt x="1" y="0"/>
                    <a:pt x="0" y="1"/>
                  </a:cubicBezTo>
                  <a:cubicBezTo>
                    <a:pt x="1" y="1"/>
                    <a:pt x="1" y="1"/>
                    <a:pt x="1" y="2"/>
                  </a:cubicBezTo>
                  <a:cubicBezTo>
                    <a:pt x="1" y="2"/>
                    <a:pt x="1" y="2"/>
                    <a:pt x="2" y="1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40" name="Freeform 7501"/>
            <p:cNvSpPr>
              <a:spLocks/>
            </p:cNvSpPr>
            <p:nvPr/>
          </p:nvSpPr>
          <p:spPr bwMode="auto">
            <a:xfrm>
              <a:off x="5411" y="2851"/>
              <a:ext cx="5" cy="7"/>
            </a:xfrm>
            <a:custGeom>
              <a:avLst/>
              <a:gdLst>
                <a:gd name="T0" fmla="*/ 3 w 4"/>
                <a:gd name="T1" fmla="*/ 0 h 6"/>
                <a:gd name="T2" fmla="*/ 2 w 4"/>
                <a:gd name="T3" fmla="*/ 0 h 6"/>
                <a:gd name="T4" fmla="*/ 0 w 4"/>
                <a:gd name="T5" fmla="*/ 4 h 6"/>
                <a:gd name="T6" fmla="*/ 0 w 4"/>
                <a:gd name="T7" fmla="*/ 6 h 6"/>
                <a:gd name="T8" fmla="*/ 2 w 4"/>
                <a:gd name="T9" fmla="*/ 6 h 6"/>
                <a:gd name="T10" fmla="*/ 4 w 4"/>
                <a:gd name="T11" fmla="*/ 1 h 6"/>
                <a:gd name="T12" fmla="*/ 3 w 4"/>
                <a:gd name="T1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6">
                  <a:moveTo>
                    <a:pt x="3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1"/>
                    <a:pt x="0" y="3"/>
                    <a:pt x="0" y="4"/>
                  </a:cubicBezTo>
                  <a:cubicBezTo>
                    <a:pt x="0" y="4"/>
                    <a:pt x="0" y="5"/>
                    <a:pt x="0" y="6"/>
                  </a:cubicBezTo>
                  <a:cubicBezTo>
                    <a:pt x="1" y="6"/>
                    <a:pt x="2" y="6"/>
                    <a:pt x="2" y="6"/>
                  </a:cubicBezTo>
                  <a:cubicBezTo>
                    <a:pt x="3" y="4"/>
                    <a:pt x="3" y="2"/>
                    <a:pt x="4" y="1"/>
                  </a:cubicBezTo>
                  <a:cubicBezTo>
                    <a:pt x="3" y="0"/>
                    <a:pt x="3" y="0"/>
                    <a:pt x="3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41" name="Freeform 7502"/>
            <p:cNvSpPr>
              <a:spLocks/>
            </p:cNvSpPr>
            <p:nvPr/>
          </p:nvSpPr>
          <p:spPr bwMode="auto">
            <a:xfrm>
              <a:off x="5413" y="2850"/>
              <a:ext cx="0" cy="1"/>
            </a:xfrm>
            <a:custGeom>
              <a:avLst/>
              <a:gdLst>
                <a:gd name="T0" fmla="*/ 1 h 1"/>
                <a:gd name="T1" fmla="*/ 0 h 1"/>
                <a:gd name="T2" fmla="*/ 0 h 1"/>
                <a:gd name="T3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cubicBezTo>
                    <a:pt x="0" y="1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42" name="Freeform 7503"/>
            <p:cNvSpPr>
              <a:spLocks/>
            </p:cNvSpPr>
            <p:nvPr/>
          </p:nvSpPr>
          <p:spPr bwMode="auto">
            <a:xfrm>
              <a:off x="5412" y="2864"/>
              <a:ext cx="0" cy="2"/>
            </a:xfrm>
            <a:custGeom>
              <a:avLst/>
              <a:gdLst>
                <a:gd name="T0" fmla="*/ 1 h 1"/>
                <a:gd name="T1" fmla="*/ 0 h 1"/>
                <a:gd name="T2" fmla="*/ 0 h 1"/>
                <a:gd name="T3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cubicBezTo>
                    <a:pt x="0" y="1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43" name="Freeform 7504"/>
            <p:cNvSpPr>
              <a:spLocks/>
            </p:cNvSpPr>
            <p:nvPr/>
          </p:nvSpPr>
          <p:spPr bwMode="auto">
            <a:xfrm>
              <a:off x="5402" y="2841"/>
              <a:ext cx="4" cy="3"/>
            </a:xfrm>
            <a:custGeom>
              <a:avLst/>
              <a:gdLst>
                <a:gd name="T0" fmla="*/ 0 w 3"/>
                <a:gd name="T1" fmla="*/ 0 h 2"/>
                <a:gd name="T2" fmla="*/ 0 w 3"/>
                <a:gd name="T3" fmla="*/ 2 h 2"/>
                <a:gd name="T4" fmla="*/ 0 w 3"/>
                <a:gd name="T5" fmla="*/ 2 h 2"/>
                <a:gd name="T6" fmla="*/ 3 w 3"/>
                <a:gd name="T7" fmla="*/ 2 h 2"/>
                <a:gd name="T8" fmla="*/ 2 w 3"/>
                <a:gd name="T9" fmla="*/ 0 h 2"/>
                <a:gd name="T10" fmla="*/ 0 w 3"/>
                <a:gd name="T11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2">
                  <a:moveTo>
                    <a:pt x="0" y="0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2"/>
                    <a:pt x="2" y="2"/>
                    <a:pt x="3" y="2"/>
                  </a:cubicBezTo>
                  <a:cubicBezTo>
                    <a:pt x="3" y="2"/>
                    <a:pt x="3" y="1"/>
                    <a:pt x="2" y="0"/>
                  </a:cubicBezTo>
                  <a:cubicBezTo>
                    <a:pt x="2" y="0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44" name="Freeform 7505"/>
            <p:cNvSpPr>
              <a:spLocks/>
            </p:cNvSpPr>
            <p:nvPr/>
          </p:nvSpPr>
          <p:spPr bwMode="auto">
            <a:xfrm>
              <a:off x="5400" y="2846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45" name="Freeform 7506"/>
            <p:cNvSpPr>
              <a:spLocks/>
            </p:cNvSpPr>
            <p:nvPr/>
          </p:nvSpPr>
          <p:spPr bwMode="auto">
            <a:xfrm>
              <a:off x="5412" y="2860"/>
              <a:ext cx="1" cy="4"/>
            </a:xfrm>
            <a:custGeom>
              <a:avLst/>
              <a:gdLst>
                <a:gd name="T0" fmla="*/ 0 w 1"/>
                <a:gd name="T1" fmla="*/ 0 h 4"/>
                <a:gd name="T2" fmla="*/ 0 w 1"/>
                <a:gd name="T3" fmla="*/ 4 h 4"/>
                <a:gd name="T4" fmla="*/ 0 w 1"/>
                <a:gd name="T5" fmla="*/ 4 h 4"/>
                <a:gd name="T6" fmla="*/ 1 w 1"/>
                <a:gd name="T7" fmla="*/ 2 h 4"/>
                <a:gd name="T8" fmla="*/ 1 w 1"/>
                <a:gd name="T9" fmla="*/ 1 h 4"/>
                <a:gd name="T10" fmla="*/ 0 w 1"/>
                <a:gd name="T1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" h="4">
                  <a:moveTo>
                    <a:pt x="0" y="0"/>
                  </a:moveTo>
                  <a:cubicBezTo>
                    <a:pt x="0" y="1"/>
                    <a:pt x="0" y="2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1" y="3"/>
                    <a:pt x="1" y="2"/>
                  </a:cubicBezTo>
                  <a:cubicBezTo>
                    <a:pt x="1" y="2"/>
                    <a:pt x="1" y="1"/>
                    <a:pt x="1" y="1"/>
                  </a:cubicBezTo>
                  <a:cubicBezTo>
                    <a:pt x="0" y="1"/>
                    <a:pt x="0" y="1"/>
                    <a:pt x="0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46" name="Freeform 7507"/>
            <p:cNvSpPr>
              <a:spLocks/>
            </p:cNvSpPr>
            <p:nvPr/>
          </p:nvSpPr>
          <p:spPr bwMode="auto">
            <a:xfrm>
              <a:off x="5396" y="2846"/>
              <a:ext cx="3" cy="4"/>
            </a:xfrm>
            <a:custGeom>
              <a:avLst/>
              <a:gdLst>
                <a:gd name="T0" fmla="*/ 1 w 2"/>
                <a:gd name="T1" fmla="*/ 0 h 3"/>
                <a:gd name="T2" fmla="*/ 0 w 2"/>
                <a:gd name="T3" fmla="*/ 2 h 3"/>
                <a:gd name="T4" fmla="*/ 1 w 2"/>
                <a:gd name="T5" fmla="*/ 3 h 3"/>
                <a:gd name="T6" fmla="*/ 2 w 2"/>
                <a:gd name="T7" fmla="*/ 2 h 3"/>
                <a:gd name="T8" fmla="*/ 1 w 2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3">
                  <a:moveTo>
                    <a:pt x="1" y="0"/>
                  </a:move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0" y="2"/>
                    <a:pt x="1" y="3"/>
                  </a:cubicBezTo>
                  <a:cubicBezTo>
                    <a:pt x="1" y="2"/>
                    <a:pt x="1" y="2"/>
                    <a:pt x="2" y="2"/>
                  </a:cubicBezTo>
                  <a:cubicBezTo>
                    <a:pt x="1" y="1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47" name="Freeform 7508"/>
            <p:cNvSpPr>
              <a:spLocks/>
            </p:cNvSpPr>
            <p:nvPr/>
          </p:nvSpPr>
          <p:spPr bwMode="auto">
            <a:xfrm>
              <a:off x="5418" y="2845"/>
              <a:ext cx="1" cy="1"/>
            </a:xfrm>
            <a:custGeom>
              <a:avLst/>
              <a:gdLst>
                <a:gd name="T0" fmla="*/ 1 w 1"/>
                <a:gd name="T1" fmla="*/ 1 h 1"/>
                <a:gd name="T2" fmla="*/ 1 w 1"/>
                <a:gd name="T3" fmla="*/ 1 h 1"/>
                <a:gd name="T4" fmla="*/ 0 w 1"/>
                <a:gd name="T5" fmla="*/ 0 h 1"/>
                <a:gd name="T6" fmla="*/ 0 w 1"/>
                <a:gd name="T7" fmla="*/ 0 h 1"/>
                <a:gd name="T8" fmla="*/ 1 w 1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1" y="1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48" name="Freeform 7509"/>
            <p:cNvSpPr>
              <a:spLocks/>
            </p:cNvSpPr>
            <p:nvPr/>
          </p:nvSpPr>
          <p:spPr bwMode="auto">
            <a:xfrm>
              <a:off x="5421" y="2849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49" name="Freeform 7510"/>
            <p:cNvSpPr>
              <a:spLocks/>
            </p:cNvSpPr>
            <p:nvPr/>
          </p:nvSpPr>
          <p:spPr bwMode="auto">
            <a:xfrm>
              <a:off x="5447" y="2856"/>
              <a:ext cx="2" cy="1"/>
            </a:xfrm>
            <a:custGeom>
              <a:avLst/>
              <a:gdLst>
                <a:gd name="T0" fmla="*/ 0 w 1"/>
                <a:gd name="T1" fmla="*/ 0 h 1"/>
                <a:gd name="T2" fmla="*/ 1 w 1"/>
                <a:gd name="T3" fmla="*/ 1 h 1"/>
                <a:gd name="T4" fmla="*/ 1 w 1"/>
                <a:gd name="T5" fmla="*/ 0 h 1"/>
                <a:gd name="T6" fmla="*/ 0 w 1"/>
                <a:gd name="T7" fmla="*/ 0 h 1"/>
                <a:gd name="T8" fmla="*/ 0 w 1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1" y="0"/>
                    <a:pt x="1" y="1"/>
                    <a:pt x="1" y="1"/>
                  </a:cubicBezTo>
                  <a:cubicBezTo>
                    <a:pt x="1" y="1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50" name="Freeform 7511"/>
            <p:cNvSpPr>
              <a:spLocks/>
            </p:cNvSpPr>
            <p:nvPr/>
          </p:nvSpPr>
          <p:spPr bwMode="auto">
            <a:xfrm>
              <a:off x="5423" y="2846"/>
              <a:ext cx="1" cy="1"/>
            </a:xfrm>
            <a:custGeom>
              <a:avLst/>
              <a:gdLst>
                <a:gd name="T0" fmla="*/ 1 w 1"/>
                <a:gd name="T1" fmla="*/ 0 h 1"/>
                <a:gd name="T2" fmla="*/ 0 w 1"/>
                <a:gd name="T3" fmla="*/ 0 h 1"/>
                <a:gd name="T4" fmla="*/ 1 w 1"/>
                <a:gd name="T5" fmla="*/ 1 h 1"/>
                <a:gd name="T6" fmla="*/ 1 w 1"/>
                <a:gd name="T7" fmla="*/ 1 h 1"/>
                <a:gd name="T8" fmla="*/ 1 w 1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1" y="0"/>
                    <a:pt x="1" y="0"/>
                    <a:pt x="0" y="0"/>
                  </a:cubicBezTo>
                  <a:cubicBezTo>
                    <a:pt x="0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51" name="Freeform 7512"/>
            <p:cNvSpPr>
              <a:spLocks/>
            </p:cNvSpPr>
            <p:nvPr/>
          </p:nvSpPr>
          <p:spPr bwMode="auto">
            <a:xfrm>
              <a:off x="5434" y="2846"/>
              <a:ext cx="4" cy="1"/>
            </a:xfrm>
            <a:custGeom>
              <a:avLst/>
              <a:gdLst>
                <a:gd name="T0" fmla="*/ 0 w 3"/>
                <a:gd name="T1" fmla="*/ 0 h 1"/>
                <a:gd name="T2" fmla="*/ 2 w 3"/>
                <a:gd name="T3" fmla="*/ 1 h 1"/>
                <a:gd name="T4" fmla="*/ 3 w 3"/>
                <a:gd name="T5" fmla="*/ 1 h 1"/>
                <a:gd name="T6" fmla="*/ 0 w 3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">
                  <a:moveTo>
                    <a:pt x="0" y="0"/>
                  </a:moveTo>
                  <a:cubicBezTo>
                    <a:pt x="0" y="0"/>
                    <a:pt x="1" y="1"/>
                    <a:pt x="2" y="1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2" y="0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52" name="Freeform 7513"/>
            <p:cNvSpPr>
              <a:spLocks/>
            </p:cNvSpPr>
            <p:nvPr/>
          </p:nvSpPr>
          <p:spPr bwMode="auto">
            <a:xfrm>
              <a:off x="5431" y="2846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53" name="Freeform 7514"/>
            <p:cNvSpPr>
              <a:spLocks/>
            </p:cNvSpPr>
            <p:nvPr/>
          </p:nvSpPr>
          <p:spPr bwMode="auto">
            <a:xfrm>
              <a:off x="5438" y="2847"/>
              <a:ext cx="2" cy="3"/>
            </a:xfrm>
            <a:custGeom>
              <a:avLst/>
              <a:gdLst>
                <a:gd name="T0" fmla="*/ 0 w 2"/>
                <a:gd name="T1" fmla="*/ 1 h 2"/>
                <a:gd name="T2" fmla="*/ 2 w 2"/>
                <a:gd name="T3" fmla="*/ 2 h 2"/>
                <a:gd name="T4" fmla="*/ 1 w 2"/>
                <a:gd name="T5" fmla="*/ 0 h 2"/>
                <a:gd name="T6" fmla="*/ 0 w 2"/>
                <a:gd name="T7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0" y="1"/>
                  </a:moveTo>
                  <a:cubicBezTo>
                    <a:pt x="0" y="1"/>
                    <a:pt x="1" y="2"/>
                    <a:pt x="2" y="2"/>
                  </a:cubicBezTo>
                  <a:cubicBezTo>
                    <a:pt x="1" y="2"/>
                    <a:pt x="1" y="1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54" name="Freeform 7515"/>
            <p:cNvSpPr>
              <a:spLocks/>
            </p:cNvSpPr>
            <p:nvPr/>
          </p:nvSpPr>
          <p:spPr bwMode="auto">
            <a:xfrm>
              <a:off x="5430" y="2846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55" name="Freeform 7516"/>
            <p:cNvSpPr>
              <a:spLocks/>
            </p:cNvSpPr>
            <p:nvPr/>
          </p:nvSpPr>
          <p:spPr bwMode="auto">
            <a:xfrm>
              <a:off x="5419" y="2847"/>
              <a:ext cx="2" cy="2"/>
            </a:xfrm>
            <a:custGeom>
              <a:avLst/>
              <a:gdLst>
                <a:gd name="T0" fmla="*/ 1 w 1"/>
                <a:gd name="T1" fmla="*/ 0 h 1"/>
                <a:gd name="T2" fmla="*/ 0 w 1"/>
                <a:gd name="T3" fmla="*/ 0 h 1"/>
                <a:gd name="T4" fmla="*/ 1 w 1"/>
                <a:gd name="T5" fmla="*/ 1 h 1"/>
                <a:gd name="T6" fmla="*/ 1 w 1"/>
                <a:gd name="T7" fmla="*/ 1 h 1"/>
                <a:gd name="T8" fmla="*/ 1 w 1"/>
                <a:gd name="T9" fmla="*/ 1 h 1"/>
                <a:gd name="T10" fmla="*/ 1 w 1"/>
                <a:gd name="T11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0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56" name="Freeform 7517"/>
            <p:cNvSpPr>
              <a:spLocks/>
            </p:cNvSpPr>
            <p:nvPr/>
          </p:nvSpPr>
          <p:spPr bwMode="auto">
            <a:xfrm>
              <a:off x="5412" y="2851"/>
              <a:ext cx="1" cy="0"/>
            </a:xfrm>
            <a:custGeom>
              <a:avLst/>
              <a:gdLst>
                <a:gd name="T0" fmla="*/ 0 w 1"/>
                <a:gd name="T1" fmla="*/ 1 w 1"/>
                <a:gd name="T2" fmla="*/ 1 w 1"/>
                <a:gd name="T3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57" name="Freeform 7518"/>
            <p:cNvSpPr>
              <a:spLocks/>
            </p:cNvSpPr>
            <p:nvPr/>
          </p:nvSpPr>
          <p:spPr bwMode="auto">
            <a:xfrm>
              <a:off x="5430" y="2846"/>
              <a:ext cx="1" cy="0"/>
            </a:xfrm>
            <a:custGeom>
              <a:avLst/>
              <a:gdLst>
                <a:gd name="T0" fmla="*/ 0 w 1"/>
                <a:gd name="T1" fmla="*/ 0 w 1"/>
                <a:gd name="T2" fmla="*/ 1 w 1"/>
                <a:gd name="T3" fmla="*/ 1 w 1"/>
                <a:gd name="T4" fmla="*/ 0 w 1"/>
                <a:gd name="T5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58" name="Freeform 7519"/>
            <p:cNvSpPr>
              <a:spLocks/>
            </p:cNvSpPr>
            <p:nvPr/>
          </p:nvSpPr>
          <p:spPr bwMode="auto">
            <a:xfrm>
              <a:off x="5413" y="2850"/>
              <a:ext cx="1" cy="1"/>
            </a:xfrm>
            <a:custGeom>
              <a:avLst/>
              <a:gdLst>
                <a:gd name="T0" fmla="*/ 0 w 1"/>
                <a:gd name="T1" fmla="*/ 1 h 1"/>
                <a:gd name="T2" fmla="*/ 0 w 1"/>
                <a:gd name="T3" fmla="*/ 1 h 1"/>
                <a:gd name="T4" fmla="*/ 1 w 1"/>
                <a:gd name="T5" fmla="*/ 1 h 1"/>
                <a:gd name="T6" fmla="*/ 0 w 1"/>
                <a:gd name="T7" fmla="*/ 0 h 1"/>
                <a:gd name="T8" fmla="*/ 0 w 1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1" y="1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59" name="Freeform 7520"/>
            <p:cNvSpPr>
              <a:spLocks/>
            </p:cNvSpPr>
            <p:nvPr/>
          </p:nvSpPr>
          <p:spPr bwMode="auto">
            <a:xfrm>
              <a:off x="5446" y="2855"/>
              <a:ext cx="1" cy="2"/>
            </a:xfrm>
            <a:custGeom>
              <a:avLst/>
              <a:gdLst>
                <a:gd name="T0" fmla="*/ 0 w 1"/>
                <a:gd name="T1" fmla="*/ 0 h 2"/>
                <a:gd name="T2" fmla="*/ 0 w 1"/>
                <a:gd name="T3" fmla="*/ 0 h 2"/>
                <a:gd name="T4" fmla="*/ 0 w 1"/>
                <a:gd name="T5" fmla="*/ 1 h 2"/>
                <a:gd name="T6" fmla="*/ 1 w 1"/>
                <a:gd name="T7" fmla="*/ 2 h 2"/>
                <a:gd name="T8" fmla="*/ 1 w 1"/>
                <a:gd name="T9" fmla="*/ 1 h 2"/>
                <a:gd name="T10" fmla="*/ 0 w 1"/>
                <a:gd name="T11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" h="2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1" y="1"/>
                    <a:pt x="1" y="2"/>
                  </a:cubicBezTo>
                  <a:cubicBezTo>
                    <a:pt x="1" y="2"/>
                    <a:pt x="1" y="1"/>
                    <a:pt x="1" y="1"/>
                  </a:cubicBezTo>
                  <a:cubicBezTo>
                    <a:pt x="1" y="1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60" name="Freeform 7521"/>
            <p:cNvSpPr>
              <a:spLocks/>
            </p:cNvSpPr>
            <p:nvPr/>
          </p:nvSpPr>
          <p:spPr bwMode="auto">
            <a:xfrm>
              <a:off x="5449" y="2857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61" name="Freeform 7522"/>
            <p:cNvSpPr>
              <a:spLocks/>
            </p:cNvSpPr>
            <p:nvPr/>
          </p:nvSpPr>
          <p:spPr bwMode="auto">
            <a:xfrm>
              <a:off x="5433" y="2844"/>
              <a:ext cx="2" cy="2"/>
            </a:xfrm>
            <a:custGeom>
              <a:avLst/>
              <a:gdLst>
                <a:gd name="T0" fmla="*/ 1 w 2"/>
                <a:gd name="T1" fmla="*/ 2 h 2"/>
                <a:gd name="T2" fmla="*/ 2 w 2"/>
                <a:gd name="T3" fmla="*/ 0 h 2"/>
                <a:gd name="T4" fmla="*/ 1 w 2"/>
                <a:gd name="T5" fmla="*/ 0 h 2"/>
                <a:gd name="T6" fmla="*/ 0 w 2"/>
                <a:gd name="T7" fmla="*/ 2 h 2"/>
                <a:gd name="T8" fmla="*/ 1 w 2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1" y="2"/>
                  </a:moveTo>
                  <a:cubicBezTo>
                    <a:pt x="1" y="1"/>
                    <a:pt x="2" y="1"/>
                    <a:pt x="2" y="0"/>
                  </a:cubicBezTo>
                  <a:cubicBezTo>
                    <a:pt x="2" y="0"/>
                    <a:pt x="2" y="0"/>
                    <a:pt x="1" y="0"/>
                  </a:cubicBezTo>
                  <a:cubicBezTo>
                    <a:pt x="1" y="0"/>
                    <a:pt x="1" y="1"/>
                    <a:pt x="0" y="2"/>
                  </a:cubicBezTo>
                  <a:cubicBezTo>
                    <a:pt x="1" y="2"/>
                    <a:pt x="1" y="2"/>
                    <a:pt x="1" y="2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62" name="Freeform 7523"/>
            <p:cNvSpPr>
              <a:spLocks/>
            </p:cNvSpPr>
            <p:nvPr/>
          </p:nvSpPr>
          <p:spPr bwMode="auto">
            <a:xfrm>
              <a:off x="5442" y="2854"/>
              <a:ext cx="4" cy="2"/>
            </a:xfrm>
            <a:custGeom>
              <a:avLst/>
              <a:gdLst>
                <a:gd name="T0" fmla="*/ 1 w 3"/>
                <a:gd name="T1" fmla="*/ 0 h 2"/>
                <a:gd name="T2" fmla="*/ 0 w 3"/>
                <a:gd name="T3" fmla="*/ 1 h 2"/>
                <a:gd name="T4" fmla="*/ 1 w 3"/>
                <a:gd name="T5" fmla="*/ 2 h 2"/>
                <a:gd name="T6" fmla="*/ 3 w 3"/>
                <a:gd name="T7" fmla="*/ 2 h 2"/>
                <a:gd name="T8" fmla="*/ 3 w 3"/>
                <a:gd name="T9" fmla="*/ 1 h 2"/>
                <a:gd name="T10" fmla="*/ 1 w 3"/>
                <a:gd name="T11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2">
                  <a:moveTo>
                    <a:pt x="1" y="0"/>
                  </a:moveTo>
                  <a:cubicBezTo>
                    <a:pt x="1" y="0"/>
                    <a:pt x="1" y="0"/>
                    <a:pt x="0" y="1"/>
                  </a:cubicBezTo>
                  <a:cubicBezTo>
                    <a:pt x="0" y="1"/>
                    <a:pt x="1" y="1"/>
                    <a:pt x="1" y="2"/>
                  </a:cubicBezTo>
                  <a:cubicBezTo>
                    <a:pt x="1" y="2"/>
                    <a:pt x="2" y="2"/>
                    <a:pt x="3" y="2"/>
                  </a:cubicBezTo>
                  <a:cubicBezTo>
                    <a:pt x="3" y="2"/>
                    <a:pt x="3" y="1"/>
                    <a:pt x="3" y="1"/>
                  </a:cubicBezTo>
                  <a:cubicBezTo>
                    <a:pt x="2" y="1"/>
                    <a:pt x="2" y="0"/>
                    <a:pt x="1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63" name="Freeform 7524"/>
            <p:cNvSpPr>
              <a:spLocks/>
            </p:cNvSpPr>
            <p:nvPr/>
          </p:nvSpPr>
          <p:spPr bwMode="auto">
            <a:xfrm>
              <a:off x="5444" y="2861"/>
              <a:ext cx="1" cy="3"/>
            </a:xfrm>
            <a:custGeom>
              <a:avLst/>
              <a:gdLst>
                <a:gd name="T0" fmla="*/ 1 w 1"/>
                <a:gd name="T1" fmla="*/ 3 h 3"/>
                <a:gd name="T2" fmla="*/ 0 w 1"/>
                <a:gd name="T3" fmla="*/ 0 h 3"/>
                <a:gd name="T4" fmla="*/ 0 w 1"/>
                <a:gd name="T5" fmla="*/ 1 h 3"/>
                <a:gd name="T6" fmla="*/ 1 w 1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3">
                  <a:moveTo>
                    <a:pt x="1" y="3"/>
                  </a:moveTo>
                  <a:cubicBezTo>
                    <a:pt x="1" y="3"/>
                    <a:pt x="1" y="2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2"/>
                    <a:pt x="1" y="2"/>
                    <a:pt x="1" y="3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64" name="Freeform 7525"/>
            <p:cNvSpPr>
              <a:spLocks/>
            </p:cNvSpPr>
            <p:nvPr/>
          </p:nvSpPr>
          <p:spPr bwMode="auto">
            <a:xfrm>
              <a:off x="5446" y="2855"/>
              <a:ext cx="1" cy="1"/>
            </a:xfrm>
            <a:custGeom>
              <a:avLst/>
              <a:gdLst>
                <a:gd name="T0" fmla="*/ 1 w 1"/>
                <a:gd name="T1" fmla="*/ 1 h 1"/>
                <a:gd name="T2" fmla="*/ 1 w 1"/>
                <a:gd name="T3" fmla="*/ 1 h 1"/>
                <a:gd name="T4" fmla="*/ 0 w 1"/>
                <a:gd name="T5" fmla="*/ 0 h 1"/>
                <a:gd name="T6" fmla="*/ 1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1" y="0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65" name="Freeform 7526"/>
            <p:cNvSpPr>
              <a:spLocks/>
            </p:cNvSpPr>
            <p:nvPr/>
          </p:nvSpPr>
          <p:spPr bwMode="auto">
            <a:xfrm>
              <a:off x="5449" y="2856"/>
              <a:ext cx="4" cy="5"/>
            </a:xfrm>
            <a:custGeom>
              <a:avLst/>
              <a:gdLst>
                <a:gd name="T0" fmla="*/ 0 w 4"/>
                <a:gd name="T1" fmla="*/ 1 h 4"/>
                <a:gd name="T2" fmla="*/ 4 w 4"/>
                <a:gd name="T3" fmla="*/ 4 h 4"/>
                <a:gd name="T4" fmla="*/ 0 w 4"/>
                <a:gd name="T5" fmla="*/ 0 h 4"/>
                <a:gd name="T6" fmla="*/ 0 w 4"/>
                <a:gd name="T7" fmla="*/ 1 h 4"/>
                <a:gd name="T8" fmla="*/ 0 w 4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1" y="2"/>
                    <a:pt x="3" y="3"/>
                    <a:pt x="4" y="4"/>
                  </a:cubicBezTo>
                  <a:cubicBezTo>
                    <a:pt x="4" y="4"/>
                    <a:pt x="3" y="2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66" name="Freeform 7527"/>
            <p:cNvSpPr>
              <a:spLocks/>
            </p:cNvSpPr>
            <p:nvPr/>
          </p:nvSpPr>
          <p:spPr bwMode="auto">
            <a:xfrm>
              <a:off x="5393" y="2854"/>
              <a:ext cx="1" cy="2"/>
            </a:xfrm>
            <a:custGeom>
              <a:avLst/>
              <a:gdLst>
                <a:gd name="T0" fmla="*/ 0 w 1"/>
                <a:gd name="T1" fmla="*/ 2 h 2"/>
                <a:gd name="T2" fmla="*/ 1 w 1"/>
                <a:gd name="T3" fmla="*/ 0 h 2"/>
                <a:gd name="T4" fmla="*/ 1 w 1"/>
                <a:gd name="T5" fmla="*/ 0 h 2"/>
                <a:gd name="T6" fmla="*/ 0 w 1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2">
                  <a:moveTo>
                    <a:pt x="0" y="2"/>
                  </a:moveTo>
                  <a:cubicBezTo>
                    <a:pt x="0" y="2"/>
                    <a:pt x="1" y="1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0" y="2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67" name="Freeform 7528"/>
            <p:cNvSpPr>
              <a:spLocks/>
            </p:cNvSpPr>
            <p:nvPr/>
          </p:nvSpPr>
          <p:spPr bwMode="auto">
            <a:xfrm>
              <a:off x="5412" y="2864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68" name="Oval 7529"/>
            <p:cNvSpPr>
              <a:spLocks noChangeArrowheads="1"/>
            </p:cNvSpPr>
            <p:nvPr/>
          </p:nvSpPr>
          <p:spPr bwMode="auto">
            <a:xfrm>
              <a:off x="5412" y="2864"/>
              <a:ext cx="1" cy="1"/>
            </a:xfrm>
            <a:prstGeom prst="ellipse">
              <a:avLst/>
            </a:pr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69" name="Freeform 7530"/>
            <p:cNvSpPr>
              <a:spLocks/>
            </p:cNvSpPr>
            <p:nvPr/>
          </p:nvSpPr>
          <p:spPr bwMode="auto">
            <a:xfrm>
              <a:off x="5399" y="2844"/>
              <a:ext cx="1" cy="0"/>
            </a:xfrm>
            <a:custGeom>
              <a:avLst/>
              <a:gdLst>
                <a:gd name="T0" fmla="*/ 1 w 1"/>
                <a:gd name="T1" fmla="*/ 1 w 1"/>
                <a:gd name="T2" fmla="*/ 1 w 1"/>
                <a:gd name="T3" fmla="*/ 0 w 1"/>
                <a:gd name="T4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70" name="Freeform 7531"/>
            <p:cNvSpPr>
              <a:spLocks/>
            </p:cNvSpPr>
            <p:nvPr/>
          </p:nvSpPr>
          <p:spPr bwMode="auto">
            <a:xfrm>
              <a:off x="5400" y="2844"/>
              <a:ext cx="2" cy="1"/>
            </a:xfrm>
            <a:custGeom>
              <a:avLst/>
              <a:gdLst>
                <a:gd name="T0" fmla="*/ 0 w 2"/>
                <a:gd name="T1" fmla="*/ 0 h 1"/>
                <a:gd name="T2" fmla="*/ 2 w 2"/>
                <a:gd name="T3" fmla="*/ 1 h 1"/>
                <a:gd name="T4" fmla="*/ 2 w 2"/>
                <a:gd name="T5" fmla="*/ 1 h 1"/>
                <a:gd name="T6" fmla="*/ 2 w 2"/>
                <a:gd name="T7" fmla="*/ 0 h 1"/>
                <a:gd name="T8" fmla="*/ 0 w 2"/>
                <a:gd name="T9" fmla="*/ 0 h 1"/>
                <a:gd name="T10" fmla="*/ 0 w 2"/>
                <a:gd name="T11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1">
                  <a:moveTo>
                    <a:pt x="0" y="0"/>
                  </a:moveTo>
                  <a:cubicBezTo>
                    <a:pt x="1" y="0"/>
                    <a:pt x="1" y="0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0"/>
                    <a:pt x="2" y="0"/>
                  </a:cubicBezTo>
                  <a:cubicBezTo>
                    <a:pt x="2" y="0"/>
                    <a:pt x="1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71" name="Freeform 7532"/>
            <p:cNvSpPr>
              <a:spLocks/>
            </p:cNvSpPr>
            <p:nvPr/>
          </p:nvSpPr>
          <p:spPr bwMode="auto">
            <a:xfrm>
              <a:off x="5402" y="2844"/>
              <a:ext cx="0" cy="1"/>
            </a:xfrm>
            <a:custGeom>
              <a:avLst/>
              <a:gdLst>
                <a:gd name="T0" fmla="*/ 1 h 1"/>
                <a:gd name="T1" fmla="*/ 0 h 1"/>
                <a:gd name="T2" fmla="*/ 0 h 1"/>
                <a:gd name="T3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cubicBezTo>
                    <a:pt x="0" y="1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72" name="Freeform 7533"/>
            <p:cNvSpPr>
              <a:spLocks/>
            </p:cNvSpPr>
            <p:nvPr/>
          </p:nvSpPr>
          <p:spPr bwMode="auto">
            <a:xfrm>
              <a:off x="5425" y="2847"/>
              <a:ext cx="5" cy="10"/>
            </a:xfrm>
            <a:custGeom>
              <a:avLst/>
              <a:gdLst>
                <a:gd name="T0" fmla="*/ 3 w 4"/>
                <a:gd name="T1" fmla="*/ 0 h 8"/>
                <a:gd name="T2" fmla="*/ 3 w 4"/>
                <a:gd name="T3" fmla="*/ 0 h 8"/>
                <a:gd name="T4" fmla="*/ 0 w 4"/>
                <a:gd name="T5" fmla="*/ 4 h 8"/>
                <a:gd name="T6" fmla="*/ 2 w 4"/>
                <a:gd name="T7" fmla="*/ 8 h 8"/>
                <a:gd name="T8" fmla="*/ 2 w 4"/>
                <a:gd name="T9" fmla="*/ 7 h 8"/>
                <a:gd name="T10" fmla="*/ 4 w 4"/>
                <a:gd name="T11" fmla="*/ 5 h 8"/>
                <a:gd name="T12" fmla="*/ 3 w 4"/>
                <a:gd name="T1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8">
                  <a:moveTo>
                    <a:pt x="3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2" y="1"/>
                    <a:pt x="1" y="2"/>
                    <a:pt x="0" y="4"/>
                  </a:cubicBezTo>
                  <a:cubicBezTo>
                    <a:pt x="1" y="5"/>
                    <a:pt x="1" y="6"/>
                    <a:pt x="2" y="8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3" y="6"/>
                    <a:pt x="3" y="6"/>
                    <a:pt x="4" y="5"/>
                  </a:cubicBezTo>
                  <a:cubicBezTo>
                    <a:pt x="4" y="3"/>
                    <a:pt x="3" y="2"/>
                    <a:pt x="3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73" name="Freeform 7534"/>
            <p:cNvSpPr>
              <a:spLocks/>
            </p:cNvSpPr>
            <p:nvPr/>
          </p:nvSpPr>
          <p:spPr bwMode="auto">
            <a:xfrm>
              <a:off x="5447" y="2851"/>
              <a:ext cx="2" cy="3"/>
            </a:xfrm>
            <a:custGeom>
              <a:avLst/>
              <a:gdLst>
                <a:gd name="T0" fmla="*/ 1 w 1"/>
                <a:gd name="T1" fmla="*/ 2 h 2"/>
                <a:gd name="T2" fmla="*/ 1 w 1"/>
                <a:gd name="T3" fmla="*/ 1 h 2"/>
                <a:gd name="T4" fmla="*/ 0 w 1"/>
                <a:gd name="T5" fmla="*/ 0 h 2"/>
                <a:gd name="T6" fmla="*/ 1 w 1"/>
                <a:gd name="T7" fmla="*/ 1 h 2"/>
                <a:gd name="T8" fmla="*/ 1 w 1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2">
                  <a:moveTo>
                    <a:pt x="1" y="2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0" y="1"/>
                    <a:pt x="1" y="1"/>
                    <a:pt x="1" y="1"/>
                  </a:cubicBezTo>
                  <a:cubicBezTo>
                    <a:pt x="1" y="1"/>
                    <a:pt x="1" y="1"/>
                    <a:pt x="1" y="2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74" name="Freeform 7535"/>
            <p:cNvSpPr>
              <a:spLocks/>
            </p:cNvSpPr>
            <p:nvPr/>
          </p:nvSpPr>
          <p:spPr bwMode="auto">
            <a:xfrm>
              <a:off x="5424" y="2840"/>
              <a:ext cx="4" cy="3"/>
            </a:xfrm>
            <a:custGeom>
              <a:avLst/>
              <a:gdLst>
                <a:gd name="T0" fmla="*/ 1 w 3"/>
                <a:gd name="T1" fmla="*/ 2 h 2"/>
                <a:gd name="T2" fmla="*/ 3 w 3"/>
                <a:gd name="T3" fmla="*/ 2 h 2"/>
                <a:gd name="T4" fmla="*/ 2 w 3"/>
                <a:gd name="T5" fmla="*/ 0 h 2"/>
                <a:gd name="T6" fmla="*/ 0 w 3"/>
                <a:gd name="T7" fmla="*/ 2 h 2"/>
                <a:gd name="T8" fmla="*/ 0 w 3"/>
                <a:gd name="T9" fmla="*/ 2 h 2"/>
                <a:gd name="T10" fmla="*/ 1 w 3"/>
                <a:gd name="T11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2">
                  <a:moveTo>
                    <a:pt x="1" y="2"/>
                  </a:moveTo>
                  <a:cubicBezTo>
                    <a:pt x="1" y="2"/>
                    <a:pt x="2" y="2"/>
                    <a:pt x="3" y="2"/>
                  </a:cubicBezTo>
                  <a:cubicBezTo>
                    <a:pt x="3" y="1"/>
                    <a:pt x="3" y="1"/>
                    <a:pt x="2" y="0"/>
                  </a:cubicBezTo>
                  <a:cubicBezTo>
                    <a:pt x="2" y="1"/>
                    <a:pt x="1" y="1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1" y="2"/>
                    <a:pt x="1" y="2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75" name="Freeform 7536"/>
            <p:cNvSpPr>
              <a:spLocks/>
            </p:cNvSpPr>
            <p:nvPr/>
          </p:nvSpPr>
          <p:spPr bwMode="auto">
            <a:xfrm>
              <a:off x="5446" y="2851"/>
              <a:ext cx="3" cy="1"/>
            </a:xfrm>
            <a:custGeom>
              <a:avLst/>
              <a:gdLst>
                <a:gd name="T0" fmla="*/ 1 w 2"/>
                <a:gd name="T1" fmla="*/ 0 h 1"/>
                <a:gd name="T2" fmla="*/ 0 w 2"/>
                <a:gd name="T3" fmla="*/ 0 h 1"/>
                <a:gd name="T4" fmla="*/ 0 w 2"/>
                <a:gd name="T5" fmla="*/ 0 h 1"/>
                <a:gd name="T6" fmla="*/ 2 w 2"/>
                <a:gd name="T7" fmla="*/ 1 h 1"/>
                <a:gd name="T8" fmla="*/ 2 w 2"/>
                <a:gd name="T9" fmla="*/ 1 h 1"/>
                <a:gd name="T10" fmla="*/ 1 w 2"/>
                <a:gd name="T11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1"/>
                    <a:pt x="1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1"/>
                    <a:pt x="1" y="1"/>
                    <a:pt x="1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76" name="Freeform 7537"/>
            <p:cNvSpPr>
              <a:spLocks/>
            </p:cNvSpPr>
            <p:nvPr/>
          </p:nvSpPr>
          <p:spPr bwMode="auto">
            <a:xfrm>
              <a:off x="5411" y="2805"/>
              <a:ext cx="18" cy="29"/>
            </a:xfrm>
            <a:custGeom>
              <a:avLst/>
              <a:gdLst>
                <a:gd name="T0" fmla="*/ 10 w 15"/>
                <a:gd name="T1" fmla="*/ 14 h 24"/>
                <a:gd name="T2" fmla="*/ 15 w 15"/>
                <a:gd name="T3" fmla="*/ 24 h 24"/>
                <a:gd name="T4" fmla="*/ 1 w 15"/>
                <a:gd name="T5" fmla="*/ 0 h 24"/>
                <a:gd name="T6" fmla="*/ 0 w 15"/>
                <a:gd name="T7" fmla="*/ 0 h 24"/>
                <a:gd name="T8" fmla="*/ 10 w 15"/>
                <a:gd name="T9" fmla="*/ 1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24">
                  <a:moveTo>
                    <a:pt x="10" y="14"/>
                  </a:moveTo>
                  <a:cubicBezTo>
                    <a:pt x="11" y="17"/>
                    <a:pt x="13" y="20"/>
                    <a:pt x="15" y="24"/>
                  </a:cubicBezTo>
                  <a:cubicBezTo>
                    <a:pt x="11" y="2"/>
                    <a:pt x="4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6" y="0"/>
                    <a:pt x="8" y="7"/>
                    <a:pt x="10" y="14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77" name="Freeform 7538"/>
            <p:cNvSpPr>
              <a:spLocks/>
            </p:cNvSpPr>
            <p:nvPr/>
          </p:nvSpPr>
          <p:spPr bwMode="auto">
            <a:xfrm>
              <a:off x="5403" y="2832"/>
              <a:ext cx="2" cy="2"/>
            </a:xfrm>
            <a:custGeom>
              <a:avLst/>
              <a:gdLst>
                <a:gd name="T0" fmla="*/ 1 w 1"/>
                <a:gd name="T1" fmla="*/ 2 h 2"/>
                <a:gd name="T2" fmla="*/ 1 w 1"/>
                <a:gd name="T3" fmla="*/ 0 h 2"/>
                <a:gd name="T4" fmla="*/ 0 w 1"/>
                <a:gd name="T5" fmla="*/ 0 h 2"/>
                <a:gd name="T6" fmla="*/ 0 w 1"/>
                <a:gd name="T7" fmla="*/ 1 h 2"/>
                <a:gd name="T8" fmla="*/ 1 w 1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2">
                  <a:moveTo>
                    <a:pt x="1" y="2"/>
                  </a:moveTo>
                  <a:cubicBezTo>
                    <a:pt x="1" y="1"/>
                    <a:pt x="1" y="1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1" y="2"/>
                    <a:pt x="1" y="2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78" name="Freeform 7539"/>
            <p:cNvSpPr>
              <a:spLocks/>
            </p:cNvSpPr>
            <p:nvPr/>
          </p:nvSpPr>
          <p:spPr bwMode="auto">
            <a:xfrm>
              <a:off x="5422" y="2871"/>
              <a:ext cx="3" cy="3"/>
            </a:xfrm>
            <a:custGeom>
              <a:avLst/>
              <a:gdLst>
                <a:gd name="T0" fmla="*/ 0 w 3"/>
                <a:gd name="T1" fmla="*/ 3 h 3"/>
                <a:gd name="T2" fmla="*/ 3 w 3"/>
                <a:gd name="T3" fmla="*/ 3 h 3"/>
                <a:gd name="T4" fmla="*/ 1 w 3"/>
                <a:gd name="T5" fmla="*/ 0 h 3"/>
                <a:gd name="T6" fmla="*/ 0 w 3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">
                  <a:moveTo>
                    <a:pt x="0" y="3"/>
                  </a:move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2" y="2"/>
                    <a:pt x="1" y="0"/>
                  </a:cubicBezTo>
                  <a:cubicBezTo>
                    <a:pt x="0" y="2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79" name="Freeform 7540"/>
            <p:cNvSpPr>
              <a:spLocks/>
            </p:cNvSpPr>
            <p:nvPr/>
          </p:nvSpPr>
          <p:spPr bwMode="auto">
            <a:xfrm>
              <a:off x="5408" y="2834"/>
              <a:ext cx="8" cy="12"/>
            </a:xfrm>
            <a:custGeom>
              <a:avLst/>
              <a:gdLst>
                <a:gd name="T0" fmla="*/ 5 w 6"/>
                <a:gd name="T1" fmla="*/ 10 h 10"/>
                <a:gd name="T2" fmla="*/ 5 w 6"/>
                <a:gd name="T3" fmla="*/ 9 h 10"/>
                <a:gd name="T4" fmla="*/ 6 w 6"/>
                <a:gd name="T5" fmla="*/ 6 h 10"/>
                <a:gd name="T6" fmla="*/ 0 w 6"/>
                <a:gd name="T7" fmla="*/ 0 h 10"/>
                <a:gd name="T8" fmla="*/ 0 w 6"/>
                <a:gd name="T9" fmla="*/ 2 h 10"/>
                <a:gd name="T10" fmla="*/ 5 w 6"/>
                <a:gd name="T11" fmla="*/ 10 h 10"/>
                <a:gd name="T12" fmla="*/ 5 w 6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10">
                  <a:moveTo>
                    <a:pt x="5" y="10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6" y="8"/>
                    <a:pt x="6" y="7"/>
                    <a:pt x="6" y="6"/>
                  </a:cubicBezTo>
                  <a:cubicBezTo>
                    <a:pt x="4" y="3"/>
                    <a:pt x="2" y="1"/>
                    <a:pt x="0" y="0"/>
                  </a:cubicBezTo>
                  <a:cubicBezTo>
                    <a:pt x="0" y="0"/>
                    <a:pt x="0" y="1"/>
                    <a:pt x="0" y="2"/>
                  </a:cubicBezTo>
                  <a:cubicBezTo>
                    <a:pt x="2" y="4"/>
                    <a:pt x="3" y="7"/>
                    <a:pt x="5" y="10"/>
                  </a:cubicBezTo>
                  <a:cubicBezTo>
                    <a:pt x="5" y="10"/>
                    <a:pt x="5" y="10"/>
                    <a:pt x="5" y="1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80" name="Freeform 7541"/>
            <p:cNvSpPr>
              <a:spLocks/>
            </p:cNvSpPr>
            <p:nvPr/>
          </p:nvSpPr>
          <p:spPr bwMode="auto">
            <a:xfrm>
              <a:off x="5424" y="2832"/>
              <a:ext cx="1" cy="4"/>
            </a:xfrm>
            <a:custGeom>
              <a:avLst/>
              <a:gdLst>
                <a:gd name="T0" fmla="*/ 1 w 1"/>
                <a:gd name="T1" fmla="*/ 3 h 4"/>
                <a:gd name="T2" fmla="*/ 0 w 1"/>
                <a:gd name="T3" fmla="*/ 0 h 4"/>
                <a:gd name="T4" fmla="*/ 0 w 1"/>
                <a:gd name="T5" fmla="*/ 4 h 4"/>
                <a:gd name="T6" fmla="*/ 1 w 1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4">
                  <a:moveTo>
                    <a:pt x="1" y="3"/>
                  </a:moveTo>
                  <a:cubicBezTo>
                    <a:pt x="1" y="2"/>
                    <a:pt x="0" y="1"/>
                    <a:pt x="0" y="0"/>
                  </a:cubicBezTo>
                  <a:cubicBezTo>
                    <a:pt x="0" y="2"/>
                    <a:pt x="0" y="3"/>
                    <a:pt x="0" y="4"/>
                  </a:cubicBezTo>
                  <a:cubicBezTo>
                    <a:pt x="0" y="4"/>
                    <a:pt x="1" y="3"/>
                    <a:pt x="1" y="3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81" name="Freeform 7542"/>
            <p:cNvSpPr>
              <a:spLocks/>
            </p:cNvSpPr>
            <p:nvPr/>
          </p:nvSpPr>
          <p:spPr bwMode="auto">
            <a:xfrm>
              <a:off x="5410" y="2805"/>
              <a:ext cx="1" cy="0"/>
            </a:xfrm>
            <a:custGeom>
              <a:avLst/>
              <a:gdLst>
                <a:gd name="T0" fmla="*/ 0 w 1"/>
                <a:gd name="T1" fmla="*/ 1 w 1"/>
                <a:gd name="T2" fmla="*/ 1 w 1"/>
                <a:gd name="T3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82" name="Freeform 7543"/>
            <p:cNvSpPr>
              <a:spLocks/>
            </p:cNvSpPr>
            <p:nvPr/>
          </p:nvSpPr>
          <p:spPr bwMode="auto">
            <a:xfrm>
              <a:off x="5394" y="2830"/>
              <a:ext cx="5" cy="3"/>
            </a:xfrm>
            <a:custGeom>
              <a:avLst/>
              <a:gdLst>
                <a:gd name="T0" fmla="*/ 0 w 4"/>
                <a:gd name="T1" fmla="*/ 2 h 2"/>
                <a:gd name="T2" fmla="*/ 4 w 4"/>
                <a:gd name="T3" fmla="*/ 1 h 2"/>
                <a:gd name="T4" fmla="*/ 4 w 4"/>
                <a:gd name="T5" fmla="*/ 0 h 2"/>
                <a:gd name="T6" fmla="*/ 0 w 4"/>
                <a:gd name="T7" fmla="*/ 1 h 2"/>
                <a:gd name="T8" fmla="*/ 0 w 4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0" y="2"/>
                  </a:moveTo>
                  <a:cubicBezTo>
                    <a:pt x="2" y="1"/>
                    <a:pt x="3" y="1"/>
                    <a:pt x="4" y="1"/>
                  </a:cubicBezTo>
                  <a:cubicBezTo>
                    <a:pt x="4" y="1"/>
                    <a:pt x="4" y="1"/>
                    <a:pt x="4" y="0"/>
                  </a:cubicBezTo>
                  <a:cubicBezTo>
                    <a:pt x="3" y="0"/>
                    <a:pt x="1" y="1"/>
                    <a:pt x="0" y="1"/>
                  </a:cubicBezTo>
                  <a:cubicBezTo>
                    <a:pt x="0" y="1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83" name="Freeform 7544"/>
            <p:cNvSpPr>
              <a:spLocks/>
            </p:cNvSpPr>
            <p:nvPr/>
          </p:nvSpPr>
          <p:spPr bwMode="auto">
            <a:xfrm>
              <a:off x="5431" y="2863"/>
              <a:ext cx="2" cy="11"/>
            </a:xfrm>
            <a:custGeom>
              <a:avLst/>
              <a:gdLst>
                <a:gd name="T0" fmla="*/ 0 w 1"/>
                <a:gd name="T1" fmla="*/ 9 h 9"/>
                <a:gd name="T2" fmla="*/ 1 w 1"/>
                <a:gd name="T3" fmla="*/ 9 h 9"/>
                <a:gd name="T4" fmla="*/ 1 w 1"/>
                <a:gd name="T5" fmla="*/ 9 h 9"/>
                <a:gd name="T6" fmla="*/ 0 w 1"/>
                <a:gd name="T7" fmla="*/ 0 h 9"/>
                <a:gd name="T8" fmla="*/ 0 w 1"/>
                <a:gd name="T9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9">
                  <a:moveTo>
                    <a:pt x="0" y="9"/>
                  </a:move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8"/>
                    <a:pt x="1" y="5"/>
                    <a:pt x="0" y="0"/>
                  </a:cubicBezTo>
                  <a:cubicBezTo>
                    <a:pt x="0" y="3"/>
                    <a:pt x="0" y="6"/>
                    <a:pt x="0" y="9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84" name="Freeform 7545"/>
            <p:cNvSpPr>
              <a:spLocks/>
            </p:cNvSpPr>
            <p:nvPr/>
          </p:nvSpPr>
          <p:spPr bwMode="auto">
            <a:xfrm>
              <a:off x="5423" y="2822"/>
              <a:ext cx="6" cy="13"/>
            </a:xfrm>
            <a:custGeom>
              <a:avLst/>
              <a:gdLst>
                <a:gd name="T0" fmla="*/ 1 w 5"/>
                <a:gd name="T1" fmla="*/ 8 h 11"/>
                <a:gd name="T2" fmla="*/ 2 w 5"/>
                <a:gd name="T3" fmla="*/ 11 h 11"/>
                <a:gd name="T4" fmla="*/ 5 w 5"/>
                <a:gd name="T5" fmla="*/ 10 h 11"/>
                <a:gd name="T6" fmla="*/ 5 w 5"/>
                <a:gd name="T7" fmla="*/ 10 h 11"/>
                <a:gd name="T8" fmla="*/ 0 w 5"/>
                <a:gd name="T9" fmla="*/ 0 h 11"/>
                <a:gd name="T10" fmla="*/ 1 w 5"/>
                <a:gd name="T11" fmla="*/ 8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11">
                  <a:moveTo>
                    <a:pt x="1" y="8"/>
                  </a:moveTo>
                  <a:cubicBezTo>
                    <a:pt x="1" y="9"/>
                    <a:pt x="2" y="10"/>
                    <a:pt x="2" y="11"/>
                  </a:cubicBezTo>
                  <a:cubicBezTo>
                    <a:pt x="3" y="11"/>
                    <a:pt x="4" y="10"/>
                    <a:pt x="5" y="10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3" y="6"/>
                    <a:pt x="1" y="3"/>
                    <a:pt x="0" y="0"/>
                  </a:cubicBezTo>
                  <a:cubicBezTo>
                    <a:pt x="0" y="3"/>
                    <a:pt x="1" y="6"/>
                    <a:pt x="1" y="8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85" name="Freeform 7546"/>
            <p:cNvSpPr>
              <a:spLocks/>
            </p:cNvSpPr>
            <p:nvPr/>
          </p:nvSpPr>
          <p:spPr bwMode="auto">
            <a:xfrm>
              <a:off x="5427" y="2838"/>
              <a:ext cx="3" cy="5"/>
            </a:xfrm>
            <a:custGeom>
              <a:avLst/>
              <a:gdLst>
                <a:gd name="T0" fmla="*/ 1 w 3"/>
                <a:gd name="T1" fmla="*/ 4 h 4"/>
                <a:gd name="T2" fmla="*/ 3 w 3"/>
                <a:gd name="T3" fmla="*/ 3 h 4"/>
                <a:gd name="T4" fmla="*/ 3 w 3"/>
                <a:gd name="T5" fmla="*/ 0 h 4"/>
                <a:gd name="T6" fmla="*/ 0 w 3"/>
                <a:gd name="T7" fmla="*/ 2 h 4"/>
                <a:gd name="T8" fmla="*/ 1 w 3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1" y="4"/>
                  </a:moveTo>
                  <a:cubicBezTo>
                    <a:pt x="2" y="3"/>
                    <a:pt x="2" y="3"/>
                    <a:pt x="3" y="3"/>
                  </a:cubicBezTo>
                  <a:cubicBezTo>
                    <a:pt x="3" y="2"/>
                    <a:pt x="3" y="1"/>
                    <a:pt x="3" y="0"/>
                  </a:cubicBezTo>
                  <a:cubicBezTo>
                    <a:pt x="2" y="1"/>
                    <a:pt x="1" y="1"/>
                    <a:pt x="0" y="2"/>
                  </a:cubicBezTo>
                  <a:cubicBezTo>
                    <a:pt x="1" y="3"/>
                    <a:pt x="1" y="3"/>
                    <a:pt x="1" y="4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86" name="Freeform 7547"/>
            <p:cNvSpPr>
              <a:spLocks/>
            </p:cNvSpPr>
            <p:nvPr/>
          </p:nvSpPr>
          <p:spPr bwMode="auto">
            <a:xfrm>
              <a:off x="5429" y="2847"/>
              <a:ext cx="2" cy="7"/>
            </a:xfrm>
            <a:custGeom>
              <a:avLst/>
              <a:gdLst>
                <a:gd name="T0" fmla="*/ 0 w 2"/>
                <a:gd name="T1" fmla="*/ 0 h 5"/>
                <a:gd name="T2" fmla="*/ 1 w 2"/>
                <a:gd name="T3" fmla="*/ 5 h 5"/>
                <a:gd name="T4" fmla="*/ 2 w 2"/>
                <a:gd name="T5" fmla="*/ 4 h 5"/>
                <a:gd name="T6" fmla="*/ 1 w 2"/>
                <a:gd name="T7" fmla="*/ 0 h 5"/>
                <a:gd name="T8" fmla="*/ 0 w 2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5">
                  <a:moveTo>
                    <a:pt x="0" y="0"/>
                  </a:moveTo>
                  <a:cubicBezTo>
                    <a:pt x="0" y="2"/>
                    <a:pt x="1" y="3"/>
                    <a:pt x="1" y="5"/>
                  </a:cubicBezTo>
                  <a:cubicBezTo>
                    <a:pt x="1" y="4"/>
                    <a:pt x="2" y="4"/>
                    <a:pt x="2" y="4"/>
                  </a:cubicBezTo>
                  <a:cubicBezTo>
                    <a:pt x="2" y="2"/>
                    <a:pt x="2" y="1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87" name="Freeform 7548"/>
            <p:cNvSpPr>
              <a:spLocks/>
            </p:cNvSpPr>
            <p:nvPr/>
          </p:nvSpPr>
          <p:spPr bwMode="auto">
            <a:xfrm>
              <a:off x="5441" y="2851"/>
              <a:ext cx="1" cy="3"/>
            </a:xfrm>
            <a:custGeom>
              <a:avLst/>
              <a:gdLst>
                <a:gd name="T0" fmla="*/ 1 w 1"/>
                <a:gd name="T1" fmla="*/ 0 h 2"/>
                <a:gd name="T2" fmla="*/ 1 w 1"/>
                <a:gd name="T3" fmla="*/ 0 h 2"/>
                <a:gd name="T4" fmla="*/ 0 w 1"/>
                <a:gd name="T5" fmla="*/ 1 h 2"/>
                <a:gd name="T6" fmla="*/ 0 w 1"/>
                <a:gd name="T7" fmla="*/ 2 h 2"/>
                <a:gd name="T8" fmla="*/ 1 w 1"/>
                <a:gd name="T9" fmla="*/ 2 h 2"/>
                <a:gd name="T10" fmla="*/ 1 w 1"/>
                <a:gd name="T11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0" y="1"/>
                    <a:pt x="0" y="1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0" y="2"/>
                    <a:pt x="1" y="2"/>
                    <a:pt x="1" y="2"/>
                  </a:cubicBezTo>
                  <a:cubicBezTo>
                    <a:pt x="1" y="1"/>
                    <a:pt x="1" y="1"/>
                    <a:pt x="1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88" name="Freeform 7549"/>
            <p:cNvSpPr>
              <a:spLocks/>
            </p:cNvSpPr>
            <p:nvPr/>
          </p:nvSpPr>
          <p:spPr bwMode="auto">
            <a:xfrm>
              <a:off x="5431" y="2855"/>
              <a:ext cx="10" cy="19"/>
            </a:xfrm>
            <a:custGeom>
              <a:avLst/>
              <a:gdLst>
                <a:gd name="T0" fmla="*/ 8 w 8"/>
                <a:gd name="T1" fmla="*/ 0 h 16"/>
                <a:gd name="T2" fmla="*/ 3 w 8"/>
                <a:gd name="T3" fmla="*/ 1 h 16"/>
                <a:gd name="T4" fmla="*/ 1 w 8"/>
                <a:gd name="T5" fmla="*/ 4 h 16"/>
                <a:gd name="T6" fmla="*/ 0 w 8"/>
                <a:gd name="T7" fmla="*/ 7 h 16"/>
                <a:gd name="T8" fmla="*/ 1 w 8"/>
                <a:gd name="T9" fmla="*/ 16 h 16"/>
                <a:gd name="T10" fmla="*/ 8 w 8"/>
                <a:gd name="T11" fmla="*/ 1 h 16"/>
                <a:gd name="T12" fmla="*/ 8 w 8"/>
                <a:gd name="T13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16">
                  <a:moveTo>
                    <a:pt x="8" y="0"/>
                  </a:moveTo>
                  <a:cubicBezTo>
                    <a:pt x="6" y="0"/>
                    <a:pt x="5" y="1"/>
                    <a:pt x="3" y="1"/>
                  </a:cubicBezTo>
                  <a:cubicBezTo>
                    <a:pt x="2" y="2"/>
                    <a:pt x="2" y="3"/>
                    <a:pt x="1" y="4"/>
                  </a:cubicBezTo>
                  <a:cubicBezTo>
                    <a:pt x="1" y="5"/>
                    <a:pt x="1" y="6"/>
                    <a:pt x="0" y="7"/>
                  </a:cubicBezTo>
                  <a:cubicBezTo>
                    <a:pt x="1" y="12"/>
                    <a:pt x="1" y="15"/>
                    <a:pt x="1" y="16"/>
                  </a:cubicBezTo>
                  <a:cubicBezTo>
                    <a:pt x="3" y="8"/>
                    <a:pt x="6" y="3"/>
                    <a:pt x="8" y="1"/>
                  </a:cubicBezTo>
                  <a:cubicBezTo>
                    <a:pt x="8" y="1"/>
                    <a:pt x="8" y="1"/>
                    <a:pt x="8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89" name="Freeform 7550"/>
            <p:cNvSpPr>
              <a:spLocks/>
            </p:cNvSpPr>
            <p:nvPr/>
          </p:nvSpPr>
          <p:spPr bwMode="auto">
            <a:xfrm>
              <a:off x="5440" y="2852"/>
              <a:ext cx="0" cy="2"/>
            </a:xfrm>
            <a:custGeom>
              <a:avLst/>
              <a:gdLst>
                <a:gd name="T0" fmla="*/ 0 h 1"/>
                <a:gd name="T1" fmla="*/ 1 h 1"/>
                <a:gd name="T2" fmla="*/ 0 h 1"/>
                <a:gd name="T3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90" name="Freeform 7551"/>
            <p:cNvSpPr>
              <a:spLocks/>
            </p:cNvSpPr>
            <p:nvPr/>
          </p:nvSpPr>
          <p:spPr bwMode="auto">
            <a:xfrm>
              <a:off x="5414" y="2845"/>
              <a:ext cx="0" cy="1"/>
            </a:xfrm>
            <a:custGeom>
              <a:avLst/>
              <a:gdLst>
                <a:gd name="T0" fmla="*/ 0 h 1"/>
                <a:gd name="T1" fmla="*/ 1 h 1"/>
                <a:gd name="T2" fmla="*/ 1 h 1"/>
                <a:gd name="T3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91" name="Freeform 7552"/>
            <p:cNvSpPr>
              <a:spLocks/>
            </p:cNvSpPr>
            <p:nvPr/>
          </p:nvSpPr>
          <p:spPr bwMode="auto">
            <a:xfrm>
              <a:off x="5424" y="2835"/>
              <a:ext cx="3" cy="8"/>
            </a:xfrm>
            <a:custGeom>
              <a:avLst/>
              <a:gdLst>
                <a:gd name="T0" fmla="*/ 0 w 2"/>
                <a:gd name="T1" fmla="*/ 6 h 6"/>
                <a:gd name="T2" fmla="*/ 2 w 2"/>
                <a:gd name="T3" fmla="*/ 4 h 6"/>
                <a:gd name="T4" fmla="*/ 1 w 2"/>
                <a:gd name="T5" fmla="*/ 0 h 6"/>
                <a:gd name="T6" fmla="*/ 0 w 2"/>
                <a:gd name="T7" fmla="*/ 1 h 6"/>
                <a:gd name="T8" fmla="*/ 0 w 2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6">
                  <a:moveTo>
                    <a:pt x="0" y="6"/>
                  </a:moveTo>
                  <a:cubicBezTo>
                    <a:pt x="1" y="5"/>
                    <a:pt x="2" y="5"/>
                    <a:pt x="2" y="4"/>
                  </a:cubicBezTo>
                  <a:cubicBezTo>
                    <a:pt x="2" y="3"/>
                    <a:pt x="1" y="2"/>
                    <a:pt x="1" y="0"/>
                  </a:cubicBezTo>
                  <a:cubicBezTo>
                    <a:pt x="1" y="0"/>
                    <a:pt x="0" y="1"/>
                    <a:pt x="0" y="1"/>
                  </a:cubicBezTo>
                  <a:cubicBezTo>
                    <a:pt x="0" y="3"/>
                    <a:pt x="0" y="5"/>
                    <a:pt x="0" y="6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92" name="Freeform 7553"/>
            <p:cNvSpPr>
              <a:spLocks/>
            </p:cNvSpPr>
            <p:nvPr/>
          </p:nvSpPr>
          <p:spPr bwMode="auto">
            <a:xfrm>
              <a:off x="5391" y="2832"/>
              <a:ext cx="3" cy="1"/>
            </a:xfrm>
            <a:custGeom>
              <a:avLst/>
              <a:gdLst>
                <a:gd name="T0" fmla="*/ 2 w 2"/>
                <a:gd name="T1" fmla="*/ 0 h 1"/>
                <a:gd name="T2" fmla="*/ 0 w 2"/>
                <a:gd name="T3" fmla="*/ 1 h 1"/>
                <a:gd name="T4" fmla="*/ 0 w 2"/>
                <a:gd name="T5" fmla="*/ 1 h 1"/>
                <a:gd name="T6" fmla="*/ 2 w 2"/>
                <a:gd name="T7" fmla="*/ 1 h 1"/>
                <a:gd name="T8" fmla="*/ 2 w 2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1" y="0"/>
                    <a:pt x="1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93" name="Freeform 7554"/>
            <p:cNvSpPr>
              <a:spLocks/>
            </p:cNvSpPr>
            <p:nvPr/>
          </p:nvSpPr>
          <p:spPr bwMode="auto">
            <a:xfrm>
              <a:off x="5399" y="2830"/>
              <a:ext cx="4" cy="3"/>
            </a:xfrm>
            <a:custGeom>
              <a:avLst/>
              <a:gdLst>
                <a:gd name="T0" fmla="*/ 0 w 4"/>
                <a:gd name="T1" fmla="*/ 1 h 2"/>
                <a:gd name="T2" fmla="*/ 4 w 4"/>
                <a:gd name="T3" fmla="*/ 2 h 2"/>
                <a:gd name="T4" fmla="*/ 4 w 4"/>
                <a:gd name="T5" fmla="*/ 1 h 2"/>
                <a:gd name="T6" fmla="*/ 0 w 4"/>
                <a:gd name="T7" fmla="*/ 0 h 2"/>
                <a:gd name="T8" fmla="*/ 0 w 4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0" y="1"/>
                  </a:moveTo>
                  <a:cubicBezTo>
                    <a:pt x="2" y="1"/>
                    <a:pt x="3" y="2"/>
                    <a:pt x="4" y="2"/>
                  </a:cubicBezTo>
                  <a:cubicBezTo>
                    <a:pt x="4" y="2"/>
                    <a:pt x="4" y="1"/>
                    <a:pt x="4" y="1"/>
                  </a:cubicBezTo>
                  <a:cubicBezTo>
                    <a:pt x="3" y="0"/>
                    <a:pt x="1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94" name="Freeform 7555"/>
            <p:cNvSpPr>
              <a:spLocks/>
            </p:cNvSpPr>
            <p:nvPr/>
          </p:nvSpPr>
          <p:spPr bwMode="auto">
            <a:xfrm>
              <a:off x="5425" y="2834"/>
              <a:ext cx="5" cy="6"/>
            </a:xfrm>
            <a:custGeom>
              <a:avLst/>
              <a:gdLst>
                <a:gd name="T0" fmla="*/ 4 w 4"/>
                <a:gd name="T1" fmla="*/ 3 h 5"/>
                <a:gd name="T2" fmla="*/ 3 w 4"/>
                <a:gd name="T3" fmla="*/ 0 h 5"/>
                <a:gd name="T4" fmla="*/ 0 w 4"/>
                <a:gd name="T5" fmla="*/ 1 h 5"/>
                <a:gd name="T6" fmla="*/ 1 w 4"/>
                <a:gd name="T7" fmla="*/ 5 h 5"/>
                <a:gd name="T8" fmla="*/ 4 w 4"/>
                <a:gd name="T9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5">
                  <a:moveTo>
                    <a:pt x="4" y="3"/>
                  </a:moveTo>
                  <a:cubicBezTo>
                    <a:pt x="3" y="2"/>
                    <a:pt x="3" y="1"/>
                    <a:pt x="3" y="0"/>
                  </a:cubicBezTo>
                  <a:cubicBezTo>
                    <a:pt x="2" y="0"/>
                    <a:pt x="1" y="1"/>
                    <a:pt x="0" y="1"/>
                  </a:cubicBezTo>
                  <a:cubicBezTo>
                    <a:pt x="0" y="3"/>
                    <a:pt x="1" y="4"/>
                    <a:pt x="1" y="5"/>
                  </a:cubicBezTo>
                  <a:cubicBezTo>
                    <a:pt x="2" y="4"/>
                    <a:pt x="3" y="4"/>
                    <a:pt x="4" y="3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95" name="Freeform 7556"/>
            <p:cNvSpPr>
              <a:spLocks/>
            </p:cNvSpPr>
            <p:nvPr/>
          </p:nvSpPr>
          <p:spPr bwMode="auto">
            <a:xfrm>
              <a:off x="5411" y="2805"/>
              <a:ext cx="1" cy="0"/>
            </a:xfrm>
            <a:custGeom>
              <a:avLst/>
              <a:gdLst>
                <a:gd name="T0" fmla="*/ 1 w 1"/>
                <a:gd name="T1" fmla="*/ 0 w 1"/>
                <a:gd name="T2" fmla="*/ 0 w 1"/>
                <a:gd name="T3" fmla="*/ 0 w 1"/>
                <a:gd name="T4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96" name="Freeform 7557"/>
            <p:cNvSpPr>
              <a:spLocks/>
            </p:cNvSpPr>
            <p:nvPr/>
          </p:nvSpPr>
          <p:spPr bwMode="auto">
            <a:xfrm>
              <a:off x="5405" y="2832"/>
              <a:ext cx="3" cy="4"/>
            </a:xfrm>
            <a:custGeom>
              <a:avLst/>
              <a:gdLst>
                <a:gd name="T0" fmla="*/ 3 w 3"/>
                <a:gd name="T1" fmla="*/ 4 h 4"/>
                <a:gd name="T2" fmla="*/ 3 w 3"/>
                <a:gd name="T3" fmla="*/ 2 h 4"/>
                <a:gd name="T4" fmla="*/ 2 w 3"/>
                <a:gd name="T5" fmla="*/ 1 h 4"/>
                <a:gd name="T6" fmla="*/ 2 w 3"/>
                <a:gd name="T7" fmla="*/ 1 h 4"/>
                <a:gd name="T8" fmla="*/ 2 w 3"/>
                <a:gd name="T9" fmla="*/ 1 h 4"/>
                <a:gd name="T10" fmla="*/ 0 w 3"/>
                <a:gd name="T11" fmla="*/ 0 h 4"/>
                <a:gd name="T12" fmla="*/ 0 w 3"/>
                <a:gd name="T13" fmla="*/ 2 h 4"/>
                <a:gd name="T14" fmla="*/ 3 w 3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" h="4">
                  <a:moveTo>
                    <a:pt x="3" y="4"/>
                  </a:moveTo>
                  <a:cubicBezTo>
                    <a:pt x="3" y="3"/>
                    <a:pt x="3" y="2"/>
                    <a:pt x="3" y="2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1"/>
                    <a:pt x="1" y="0"/>
                    <a:pt x="0" y="0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1" y="2"/>
                    <a:pt x="2" y="3"/>
                    <a:pt x="3" y="4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97" name="Freeform 7558"/>
            <p:cNvSpPr>
              <a:spLocks/>
            </p:cNvSpPr>
            <p:nvPr/>
          </p:nvSpPr>
          <p:spPr bwMode="auto">
            <a:xfrm>
              <a:off x="5424" y="2843"/>
              <a:ext cx="1" cy="1"/>
            </a:xfrm>
            <a:custGeom>
              <a:avLst/>
              <a:gdLst>
                <a:gd name="T0" fmla="*/ 1 w 1"/>
                <a:gd name="T1" fmla="*/ 0 h 1"/>
                <a:gd name="T2" fmla="*/ 0 w 1"/>
                <a:gd name="T3" fmla="*/ 0 h 1"/>
                <a:gd name="T4" fmla="*/ 0 w 1"/>
                <a:gd name="T5" fmla="*/ 1 h 1"/>
                <a:gd name="T6" fmla="*/ 1 w 1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1" y="1"/>
                    <a:pt x="1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98" name="Freeform 7559"/>
            <p:cNvSpPr>
              <a:spLocks/>
            </p:cNvSpPr>
            <p:nvPr/>
          </p:nvSpPr>
          <p:spPr bwMode="auto">
            <a:xfrm>
              <a:off x="5456" y="2857"/>
              <a:ext cx="1" cy="3"/>
            </a:xfrm>
            <a:custGeom>
              <a:avLst/>
              <a:gdLst>
                <a:gd name="T0" fmla="*/ 1 w 1"/>
                <a:gd name="T1" fmla="*/ 2 h 2"/>
                <a:gd name="T2" fmla="*/ 1 w 1"/>
                <a:gd name="T3" fmla="*/ 2 h 2"/>
                <a:gd name="T4" fmla="*/ 0 w 1"/>
                <a:gd name="T5" fmla="*/ 0 h 2"/>
                <a:gd name="T6" fmla="*/ 0 w 1"/>
                <a:gd name="T7" fmla="*/ 0 h 2"/>
                <a:gd name="T8" fmla="*/ 1 w 1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2">
                  <a:moveTo>
                    <a:pt x="1" y="2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1" y="1"/>
                    <a:pt x="1" y="2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99" name="Freeform 7560"/>
            <p:cNvSpPr>
              <a:spLocks/>
            </p:cNvSpPr>
            <p:nvPr/>
          </p:nvSpPr>
          <p:spPr bwMode="auto">
            <a:xfrm>
              <a:off x="5429" y="2847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00" name="Freeform 7561"/>
            <p:cNvSpPr>
              <a:spLocks/>
            </p:cNvSpPr>
            <p:nvPr/>
          </p:nvSpPr>
          <p:spPr bwMode="auto">
            <a:xfrm>
              <a:off x="5446" y="2851"/>
              <a:ext cx="3" cy="1"/>
            </a:xfrm>
            <a:custGeom>
              <a:avLst/>
              <a:gdLst>
                <a:gd name="T0" fmla="*/ 1 w 2"/>
                <a:gd name="T1" fmla="*/ 1 h 1"/>
                <a:gd name="T2" fmla="*/ 2 w 2"/>
                <a:gd name="T3" fmla="*/ 1 h 1"/>
                <a:gd name="T4" fmla="*/ 0 w 2"/>
                <a:gd name="T5" fmla="*/ 0 h 1"/>
                <a:gd name="T6" fmla="*/ 1 w 2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1" y="1"/>
                  </a:moveTo>
                  <a:cubicBezTo>
                    <a:pt x="1" y="1"/>
                    <a:pt x="1" y="1"/>
                    <a:pt x="2" y="1"/>
                  </a:cubicBezTo>
                  <a:cubicBezTo>
                    <a:pt x="1" y="1"/>
                    <a:pt x="1" y="1"/>
                    <a:pt x="0" y="0"/>
                  </a:cubicBezTo>
                  <a:cubicBezTo>
                    <a:pt x="0" y="1"/>
                    <a:pt x="0" y="1"/>
                    <a:pt x="1" y="1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01" name="Freeform 7562"/>
            <p:cNvSpPr>
              <a:spLocks/>
            </p:cNvSpPr>
            <p:nvPr/>
          </p:nvSpPr>
          <p:spPr bwMode="auto">
            <a:xfrm>
              <a:off x="5429" y="2846"/>
              <a:ext cx="1" cy="1"/>
            </a:xfrm>
            <a:custGeom>
              <a:avLst/>
              <a:gdLst>
                <a:gd name="T0" fmla="*/ 1 w 1"/>
                <a:gd name="T1" fmla="*/ 0 h 1"/>
                <a:gd name="T2" fmla="*/ 0 w 1"/>
                <a:gd name="T3" fmla="*/ 1 h 1"/>
                <a:gd name="T4" fmla="*/ 0 w 1"/>
                <a:gd name="T5" fmla="*/ 1 h 1"/>
                <a:gd name="T6" fmla="*/ 1 w 1"/>
                <a:gd name="T7" fmla="*/ 1 h 1"/>
                <a:gd name="T8" fmla="*/ 1 w 1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1" y="0"/>
                    <a:pt x="0" y="0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02" name="Freeform 7563"/>
            <p:cNvSpPr>
              <a:spLocks/>
            </p:cNvSpPr>
            <p:nvPr/>
          </p:nvSpPr>
          <p:spPr bwMode="auto">
            <a:xfrm>
              <a:off x="5442" y="2851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03" name="Oval 7564"/>
            <p:cNvSpPr>
              <a:spLocks noChangeArrowheads="1"/>
            </p:cNvSpPr>
            <p:nvPr/>
          </p:nvSpPr>
          <p:spPr bwMode="auto">
            <a:xfrm>
              <a:off x="5446" y="2851"/>
              <a:ext cx="1" cy="1"/>
            </a:xfrm>
            <a:prstGeom prst="ellipse">
              <a:avLst/>
            </a:pr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04" name="Freeform 7565"/>
            <p:cNvSpPr>
              <a:spLocks/>
            </p:cNvSpPr>
            <p:nvPr/>
          </p:nvSpPr>
          <p:spPr bwMode="auto">
            <a:xfrm>
              <a:off x="5449" y="2852"/>
              <a:ext cx="4" cy="3"/>
            </a:xfrm>
            <a:custGeom>
              <a:avLst/>
              <a:gdLst>
                <a:gd name="T0" fmla="*/ 0 w 4"/>
                <a:gd name="T1" fmla="*/ 0 h 2"/>
                <a:gd name="T2" fmla="*/ 0 w 4"/>
                <a:gd name="T3" fmla="*/ 1 h 2"/>
                <a:gd name="T4" fmla="*/ 4 w 4"/>
                <a:gd name="T5" fmla="*/ 2 h 2"/>
                <a:gd name="T6" fmla="*/ 4 w 4"/>
                <a:gd name="T7" fmla="*/ 2 h 2"/>
                <a:gd name="T8" fmla="*/ 0 w 4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0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2" y="1"/>
                    <a:pt x="3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3" y="1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05" name="Freeform 7566"/>
            <p:cNvSpPr>
              <a:spLocks/>
            </p:cNvSpPr>
            <p:nvPr/>
          </p:nvSpPr>
          <p:spPr bwMode="auto">
            <a:xfrm>
              <a:off x="5442" y="2851"/>
              <a:ext cx="3" cy="3"/>
            </a:xfrm>
            <a:custGeom>
              <a:avLst/>
              <a:gdLst>
                <a:gd name="T0" fmla="*/ 0 w 2"/>
                <a:gd name="T1" fmla="*/ 0 h 2"/>
                <a:gd name="T2" fmla="*/ 0 w 2"/>
                <a:gd name="T3" fmla="*/ 2 h 2"/>
                <a:gd name="T4" fmla="*/ 1 w 2"/>
                <a:gd name="T5" fmla="*/ 2 h 2"/>
                <a:gd name="T6" fmla="*/ 2 w 2"/>
                <a:gd name="T7" fmla="*/ 2 h 2"/>
                <a:gd name="T8" fmla="*/ 0 w 2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cubicBezTo>
                    <a:pt x="0" y="1"/>
                    <a:pt x="0" y="1"/>
                    <a:pt x="0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2" y="2"/>
                    <a:pt x="2" y="2"/>
                  </a:cubicBezTo>
                  <a:cubicBezTo>
                    <a:pt x="1" y="1"/>
                    <a:pt x="1" y="1"/>
                    <a:pt x="0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06" name="Freeform 7567"/>
            <p:cNvSpPr>
              <a:spLocks/>
            </p:cNvSpPr>
            <p:nvPr/>
          </p:nvSpPr>
          <p:spPr bwMode="auto">
            <a:xfrm>
              <a:off x="5446" y="2851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07" name="Freeform 7568"/>
            <p:cNvSpPr>
              <a:spLocks/>
            </p:cNvSpPr>
            <p:nvPr/>
          </p:nvSpPr>
          <p:spPr bwMode="auto">
            <a:xfrm>
              <a:off x="5446" y="2851"/>
              <a:ext cx="1" cy="1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1 h 1"/>
                <a:gd name="T4" fmla="*/ 1 w 1"/>
                <a:gd name="T5" fmla="*/ 1 h 1"/>
                <a:gd name="T6" fmla="*/ 0 w 1"/>
                <a:gd name="T7" fmla="*/ 0 h 1"/>
                <a:gd name="T8" fmla="*/ 0 w 1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1" y="1"/>
                  </a:cubicBezTo>
                  <a:cubicBezTo>
                    <a:pt x="0" y="1"/>
                    <a:pt x="0" y="1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08" name="Freeform 7569"/>
            <p:cNvSpPr>
              <a:spLocks/>
            </p:cNvSpPr>
            <p:nvPr/>
          </p:nvSpPr>
          <p:spPr bwMode="auto">
            <a:xfrm>
              <a:off x="5453" y="2855"/>
              <a:ext cx="3" cy="2"/>
            </a:xfrm>
            <a:custGeom>
              <a:avLst/>
              <a:gdLst>
                <a:gd name="T0" fmla="*/ 0 w 2"/>
                <a:gd name="T1" fmla="*/ 0 h 2"/>
                <a:gd name="T2" fmla="*/ 2 w 2"/>
                <a:gd name="T3" fmla="*/ 2 h 2"/>
                <a:gd name="T4" fmla="*/ 2 w 2"/>
                <a:gd name="T5" fmla="*/ 2 h 2"/>
                <a:gd name="T6" fmla="*/ 0 w 2"/>
                <a:gd name="T7" fmla="*/ 0 h 2"/>
                <a:gd name="T8" fmla="*/ 0 w 2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cubicBezTo>
                    <a:pt x="1" y="1"/>
                    <a:pt x="1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1" y="1"/>
                    <a:pt x="1" y="1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09" name="Freeform 7570"/>
            <p:cNvSpPr>
              <a:spLocks/>
            </p:cNvSpPr>
            <p:nvPr/>
          </p:nvSpPr>
          <p:spPr bwMode="auto">
            <a:xfrm>
              <a:off x="5457" y="2860"/>
              <a:ext cx="1" cy="1"/>
            </a:xfrm>
            <a:custGeom>
              <a:avLst/>
              <a:gdLst>
                <a:gd name="T0" fmla="*/ 1 w 1"/>
                <a:gd name="T1" fmla="*/ 1 h 1"/>
                <a:gd name="T2" fmla="*/ 0 w 1"/>
                <a:gd name="T3" fmla="*/ 0 h 1"/>
                <a:gd name="T4" fmla="*/ 0 w 1"/>
                <a:gd name="T5" fmla="*/ 0 h 1"/>
                <a:gd name="T6" fmla="*/ 1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10" name="Freeform 7571"/>
            <p:cNvSpPr>
              <a:spLocks/>
            </p:cNvSpPr>
            <p:nvPr/>
          </p:nvSpPr>
          <p:spPr bwMode="auto">
            <a:xfrm>
              <a:off x="5442" y="2851"/>
              <a:ext cx="4" cy="3"/>
            </a:xfrm>
            <a:custGeom>
              <a:avLst/>
              <a:gdLst>
                <a:gd name="T0" fmla="*/ 0 w 3"/>
                <a:gd name="T1" fmla="*/ 0 h 2"/>
                <a:gd name="T2" fmla="*/ 0 w 3"/>
                <a:gd name="T3" fmla="*/ 0 h 2"/>
                <a:gd name="T4" fmla="*/ 2 w 3"/>
                <a:gd name="T5" fmla="*/ 2 h 2"/>
                <a:gd name="T6" fmla="*/ 3 w 3"/>
                <a:gd name="T7" fmla="*/ 1 h 2"/>
                <a:gd name="T8" fmla="*/ 3 w 3"/>
                <a:gd name="T9" fmla="*/ 0 h 2"/>
                <a:gd name="T10" fmla="*/ 3 w 3"/>
                <a:gd name="T11" fmla="*/ 0 h 2"/>
                <a:gd name="T12" fmla="*/ 0 w 3"/>
                <a:gd name="T13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2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1"/>
                    <a:pt x="1" y="1"/>
                    <a:pt x="2" y="2"/>
                  </a:cubicBezTo>
                  <a:cubicBezTo>
                    <a:pt x="2" y="2"/>
                    <a:pt x="3" y="2"/>
                    <a:pt x="3" y="1"/>
                  </a:cubicBezTo>
                  <a:cubicBezTo>
                    <a:pt x="3" y="1"/>
                    <a:pt x="3" y="1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11" name="Freeform 7572"/>
            <p:cNvSpPr>
              <a:spLocks/>
            </p:cNvSpPr>
            <p:nvPr/>
          </p:nvSpPr>
          <p:spPr bwMode="auto">
            <a:xfrm>
              <a:off x="5390" y="2833"/>
              <a:ext cx="1" cy="1"/>
            </a:xfrm>
            <a:custGeom>
              <a:avLst/>
              <a:gdLst>
                <a:gd name="T0" fmla="*/ 0 w 1"/>
                <a:gd name="T1" fmla="*/ 1 h 1"/>
                <a:gd name="T2" fmla="*/ 1 w 1"/>
                <a:gd name="T3" fmla="*/ 0 h 1"/>
                <a:gd name="T4" fmla="*/ 1 w 1"/>
                <a:gd name="T5" fmla="*/ 0 h 1"/>
                <a:gd name="T6" fmla="*/ 0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1"/>
                    <a:pt x="1" y="1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12" name="Freeform 7573"/>
            <p:cNvSpPr>
              <a:spLocks/>
            </p:cNvSpPr>
            <p:nvPr/>
          </p:nvSpPr>
          <p:spPr bwMode="auto">
            <a:xfrm>
              <a:off x="5424" y="2844"/>
              <a:ext cx="5" cy="2"/>
            </a:xfrm>
            <a:custGeom>
              <a:avLst/>
              <a:gdLst>
                <a:gd name="T0" fmla="*/ 4 w 4"/>
                <a:gd name="T1" fmla="*/ 2 h 2"/>
                <a:gd name="T2" fmla="*/ 3 w 4"/>
                <a:gd name="T3" fmla="*/ 1 h 2"/>
                <a:gd name="T4" fmla="*/ 0 w 4"/>
                <a:gd name="T5" fmla="*/ 0 h 2"/>
                <a:gd name="T6" fmla="*/ 0 w 4"/>
                <a:gd name="T7" fmla="*/ 2 h 2"/>
                <a:gd name="T8" fmla="*/ 4 w 4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4" y="2"/>
                  </a:moveTo>
                  <a:cubicBezTo>
                    <a:pt x="4" y="2"/>
                    <a:pt x="4" y="1"/>
                    <a:pt x="3" y="1"/>
                  </a:cubicBezTo>
                  <a:cubicBezTo>
                    <a:pt x="3" y="1"/>
                    <a:pt x="1" y="0"/>
                    <a:pt x="0" y="0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1" y="2"/>
                    <a:pt x="3" y="2"/>
                    <a:pt x="4" y="2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13" name="Freeform 7574"/>
            <p:cNvSpPr>
              <a:spLocks/>
            </p:cNvSpPr>
            <p:nvPr/>
          </p:nvSpPr>
          <p:spPr bwMode="auto">
            <a:xfrm>
              <a:off x="5424" y="2847"/>
              <a:ext cx="5" cy="5"/>
            </a:xfrm>
            <a:custGeom>
              <a:avLst/>
              <a:gdLst>
                <a:gd name="T0" fmla="*/ 0 w 4"/>
                <a:gd name="T1" fmla="*/ 1 h 4"/>
                <a:gd name="T2" fmla="*/ 1 w 4"/>
                <a:gd name="T3" fmla="*/ 4 h 4"/>
                <a:gd name="T4" fmla="*/ 4 w 4"/>
                <a:gd name="T5" fmla="*/ 0 h 4"/>
                <a:gd name="T6" fmla="*/ 0 w 4"/>
                <a:gd name="T7" fmla="*/ 0 h 4"/>
                <a:gd name="T8" fmla="*/ 0 w 4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1" y="2"/>
                    <a:pt x="1" y="3"/>
                    <a:pt x="1" y="4"/>
                  </a:cubicBezTo>
                  <a:cubicBezTo>
                    <a:pt x="2" y="2"/>
                    <a:pt x="3" y="1"/>
                    <a:pt x="4" y="0"/>
                  </a:cubicBezTo>
                  <a:cubicBezTo>
                    <a:pt x="3" y="0"/>
                    <a:pt x="1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14" name="Freeform 7575"/>
            <p:cNvSpPr>
              <a:spLocks/>
            </p:cNvSpPr>
            <p:nvPr/>
          </p:nvSpPr>
          <p:spPr bwMode="auto">
            <a:xfrm>
              <a:off x="5414" y="2841"/>
              <a:ext cx="3" cy="4"/>
            </a:xfrm>
            <a:custGeom>
              <a:avLst/>
              <a:gdLst>
                <a:gd name="T0" fmla="*/ 1 w 2"/>
                <a:gd name="T1" fmla="*/ 0 h 3"/>
                <a:gd name="T2" fmla="*/ 0 w 2"/>
                <a:gd name="T3" fmla="*/ 3 h 3"/>
                <a:gd name="T4" fmla="*/ 2 w 2"/>
                <a:gd name="T5" fmla="*/ 1 h 3"/>
                <a:gd name="T6" fmla="*/ 1 w 2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">
                  <a:moveTo>
                    <a:pt x="1" y="0"/>
                  </a:moveTo>
                  <a:cubicBezTo>
                    <a:pt x="1" y="1"/>
                    <a:pt x="1" y="2"/>
                    <a:pt x="0" y="3"/>
                  </a:cubicBezTo>
                  <a:cubicBezTo>
                    <a:pt x="1" y="2"/>
                    <a:pt x="1" y="2"/>
                    <a:pt x="2" y="1"/>
                  </a:cubicBezTo>
                  <a:cubicBezTo>
                    <a:pt x="2" y="1"/>
                    <a:pt x="1" y="1"/>
                    <a:pt x="1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15" name="Freeform 7576"/>
            <p:cNvSpPr>
              <a:spLocks/>
            </p:cNvSpPr>
            <p:nvPr/>
          </p:nvSpPr>
          <p:spPr bwMode="auto">
            <a:xfrm>
              <a:off x="5419" y="2849"/>
              <a:ext cx="4" cy="6"/>
            </a:xfrm>
            <a:custGeom>
              <a:avLst/>
              <a:gdLst>
                <a:gd name="T0" fmla="*/ 0 w 3"/>
                <a:gd name="T1" fmla="*/ 1 h 5"/>
                <a:gd name="T2" fmla="*/ 3 w 3"/>
                <a:gd name="T3" fmla="*/ 5 h 5"/>
                <a:gd name="T4" fmla="*/ 1 w 3"/>
                <a:gd name="T5" fmla="*/ 0 h 5"/>
                <a:gd name="T6" fmla="*/ 0 w 3"/>
                <a:gd name="T7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5">
                  <a:moveTo>
                    <a:pt x="0" y="1"/>
                  </a:moveTo>
                  <a:cubicBezTo>
                    <a:pt x="1" y="2"/>
                    <a:pt x="2" y="4"/>
                    <a:pt x="3" y="5"/>
                  </a:cubicBezTo>
                  <a:cubicBezTo>
                    <a:pt x="2" y="3"/>
                    <a:pt x="1" y="2"/>
                    <a:pt x="1" y="0"/>
                  </a:cubicBezTo>
                  <a:cubicBezTo>
                    <a:pt x="0" y="0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16" name="Freeform 7577"/>
            <p:cNvSpPr>
              <a:spLocks/>
            </p:cNvSpPr>
            <p:nvPr/>
          </p:nvSpPr>
          <p:spPr bwMode="auto">
            <a:xfrm>
              <a:off x="5428" y="2856"/>
              <a:ext cx="0" cy="1"/>
            </a:xfrm>
            <a:custGeom>
              <a:avLst/>
              <a:gdLst>
                <a:gd name="T0" fmla="*/ 1 h 1"/>
                <a:gd name="T1" fmla="*/ 0 h 1"/>
                <a:gd name="T2" fmla="*/ 1 h 1"/>
                <a:gd name="T3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cubicBezTo>
                    <a:pt x="0" y="1"/>
                    <a:pt x="0" y="1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17" name="Freeform 7578"/>
            <p:cNvSpPr>
              <a:spLocks/>
            </p:cNvSpPr>
            <p:nvPr/>
          </p:nvSpPr>
          <p:spPr bwMode="auto">
            <a:xfrm>
              <a:off x="5418" y="2858"/>
              <a:ext cx="1" cy="4"/>
            </a:xfrm>
            <a:custGeom>
              <a:avLst/>
              <a:gdLst>
                <a:gd name="T0" fmla="*/ 1 w 1"/>
                <a:gd name="T1" fmla="*/ 3 h 3"/>
                <a:gd name="T2" fmla="*/ 0 w 1"/>
                <a:gd name="T3" fmla="*/ 0 h 3"/>
                <a:gd name="T4" fmla="*/ 1 w 1"/>
                <a:gd name="T5" fmla="*/ 2 h 3"/>
                <a:gd name="T6" fmla="*/ 1 w 1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3">
                  <a:moveTo>
                    <a:pt x="1" y="3"/>
                  </a:moveTo>
                  <a:cubicBezTo>
                    <a:pt x="1" y="3"/>
                    <a:pt x="1" y="1"/>
                    <a:pt x="0" y="0"/>
                  </a:cubicBezTo>
                  <a:cubicBezTo>
                    <a:pt x="0" y="1"/>
                    <a:pt x="1" y="1"/>
                    <a:pt x="1" y="2"/>
                  </a:cubicBezTo>
                  <a:cubicBezTo>
                    <a:pt x="1" y="2"/>
                    <a:pt x="1" y="2"/>
                    <a:pt x="1" y="3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18" name="Freeform 7579"/>
            <p:cNvSpPr>
              <a:spLocks/>
            </p:cNvSpPr>
            <p:nvPr/>
          </p:nvSpPr>
          <p:spPr bwMode="auto">
            <a:xfrm>
              <a:off x="5425" y="2843"/>
              <a:ext cx="3" cy="1"/>
            </a:xfrm>
            <a:custGeom>
              <a:avLst/>
              <a:gdLst>
                <a:gd name="T0" fmla="*/ 2 w 2"/>
                <a:gd name="T1" fmla="*/ 1 h 1"/>
                <a:gd name="T2" fmla="*/ 2 w 2"/>
                <a:gd name="T3" fmla="*/ 0 h 1"/>
                <a:gd name="T4" fmla="*/ 0 w 2"/>
                <a:gd name="T5" fmla="*/ 0 h 1"/>
                <a:gd name="T6" fmla="*/ 2 w 2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2" y="1"/>
                  </a:moveTo>
                  <a:cubicBezTo>
                    <a:pt x="2" y="1"/>
                    <a:pt x="2" y="0"/>
                    <a:pt x="2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1" y="1"/>
                    <a:pt x="1" y="1"/>
                    <a:pt x="2" y="1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19" name="Freeform 7580"/>
            <p:cNvSpPr>
              <a:spLocks/>
            </p:cNvSpPr>
            <p:nvPr/>
          </p:nvSpPr>
          <p:spPr bwMode="auto">
            <a:xfrm>
              <a:off x="5421" y="2867"/>
              <a:ext cx="2" cy="7"/>
            </a:xfrm>
            <a:custGeom>
              <a:avLst/>
              <a:gdLst>
                <a:gd name="T0" fmla="*/ 0 w 2"/>
                <a:gd name="T1" fmla="*/ 0 h 6"/>
                <a:gd name="T2" fmla="*/ 1 w 2"/>
                <a:gd name="T3" fmla="*/ 6 h 6"/>
                <a:gd name="T4" fmla="*/ 1 w 2"/>
                <a:gd name="T5" fmla="*/ 6 h 6"/>
                <a:gd name="T6" fmla="*/ 2 w 2"/>
                <a:gd name="T7" fmla="*/ 3 h 6"/>
                <a:gd name="T8" fmla="*/ 0 w 2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6">
                  <a:moveTo>
                    <a:pt x="0" y="0"/>
                  </a:moveTo>
                  <a:cubicBezTo>
                    <a:pt x="0" y="3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5"/>
                    <a:pt x="2" y="3"/>
                  </a:cubicBezTo>
                  <a:cubicBezTo>
                    <a:pt x="1" y="2"/>
                    <a:pt x="1" y="1"/>
                    <a:pt x="0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20" name="Freeform 7581"/>
            <p:cNvSpPr>
              <a:spLocks/>
            </p:cNvSpPr>
            <p:nvPr/>
          </p:nvSpPr>
          <p:spPr bwMode="auto">
            <a:xfrm>
              <a:off x="5428" y="2841"/>
              <a:ext cx="2" cy="5"/>
            </a:xfrm>
            <a:custGeom>
              <a:avLst/>
              <a:gdLst>
                <a:gd name="T0" fmla="*/ 2 w 2"/>
                <a:gd name="T1" fmla="*/ 4 h 4"/>
                <a:gd name="T2" fmla="*/ 2 w 2"/>
                <a:gd name="T3" fmla="*/ 0 h 4"/>
                <a:gd name="T4" fmla="*/ 0 w 2"/>
                <a:gd name="T5" fmla="*/ 1 h 4"/>
                <a:gd name="T6" fmla="*/ 0 w 2"/>
                <a:gd name="T7" fmla="*/ 2 h 4"/>
                <a:gd name="T8" fmla="*/ 2 w 2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2" y="4"/>
                  </a:moveTo>
                  <a:cubicBezTo>
                    <a:pt x="2" y="2"/>
                    <a:pt x="2" y="1"/>
                    <a:pt x="2" y="0"/>
                  </a:cubicBezTo>
                  <a:cubicBezTo>
                    <a:pt x="1" y="0"/>
                    <a:pt x="1" y="0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1" y="3"/>
                    <a:pt x="2" y="3"/>
                    <a:pt x="2" y="4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21" name="Freeform 7582"/>
            <p:cNvSpPr>
              <a:spLocks/>
            </p:cNvSpPr>
            <p:nvPr/>
          </p:nvSpPr>
          <p:spPr bwMode="auto">
            <a:xfrm>
              <a:off x="5440" y="2852"/>
              <a:ext cx="1" cy="2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1 h 1"/>
                <a:gd name="T4" fmla="*/ 1 w 1"/>
                <a:gd name="T5" fmla="*/ 1 h 1"/>
                <a:gd name="T6" fmla="*/ 1 w 1"/>
                <a:gd name="T7" fmla="*/ 0 h 1"/>
                <a:gd name="T8" fmla="*/ 0 w 1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0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22" name="Freeform 7583"/>
            <p:cNvSpPr>
              <a:spLocks/>
            </p:cNvSpPr>
            <p:nvPr/>
          </p:nvSpPr>
          <p:spPr bwMode="auto">
            <a:xfrm>
              <a:off x="5441" y="2854"/>
              <a:ext cx="1" cy="1"/>
            </a:xfrm>
            <a:custGeom>
              <a:avLst/>
              <a:gdLst>
                <a:gd name="T0" fmla="*/ 0 w 1"/>
                <a:gd name="T1" fmla="*/ 0 h 1"/>
                <a:gd name="T2" fmla="*/ 1 w 1"/>
                <a:gd name="T3" fmla="*/ 1 h 1"/>
                <a:gd name="T4" fmla="*/ 1 w 1"/>
                <a:gd name="T5" fmla="*/ 1 h 1"/>
                <a:gd name="T6" fmla="*/ 1 w 1"/>
                <a:gd name="T7" fmla="*/ 0 h 1"/>
                <a:gd name="T8" fmla="*/ 0 w 1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0"/>
                    <a:pt x="0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23" name="Freeform 7584"/>
            <p:cNvSpPr>
              <a:spLocks/>
            </p:cNvSpPr>
            <p:nvPr/>
          </p:nvSpPr>
          <p:spPr bwMode="auto">
            <a:xfrm>
              <a:off x="5440" y="2854"/>
              <a:ext cx="2" cy="1"/>
            </a:xfrm>
            <a:custGeom>
              <a:avLst/>
              <a:gdLst>
                <a:gd name="T0" fmla="*/ 2 w 2"/>
                <a:gd name="T1" fmla="*/ 1 h 1"/>
                <a:gd name="T2" fmla="*/ 1 w 2"/>
                <a:gd name="T3" fmla="*/ 0 h 1"/>
                <a:gd name="T4" fmla="*/ 0 w 2"/>
                <a:gd name="T5" fmla="*/ 0 h 1"/>
                <a:gd name="T6" fmla="*/ 1 w 2"/>
                <a:gd name="T7" fmla="*/ 1 h 1"/>
                <a:gd name="T8" fmla="*/ 1 w 2"/>
                <a:gd name="T9" fmla="*/ 1 h 1"/>
                <a:gd name="T10" fmla="*/ 2 w 2"/>
                <a:gd name="T11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1">
                  <a:moveTo>
                    <a:pt x="2" y="1"/>
                  </a:moveTo>
                  <a:cubicBezTo>
                    <a:pt x="1" y="1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2" y="1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24" name="Freeform 7585"/>
            <p:cNvSpPr>
              <a:spLocks/>
            </p:cNvSpPr>
            <p:nvPr/>
          </p:nvSpPr>
          <p:spPr bwMode="auto">
            <a:xfrm>
              <a:off x="5435" y="2852"/>
              <a:ext cx="6" cy="4"/>
            </a:xfrm>
            <a:custGeom>
              <a:avLst/>
              <a:gdLst>
                <a:gd name="T0" fmla="*/ 4 w 5"/>
                <a:gd name="T1" fmla="*/ 0 h 3"/>
                <a:gd name="T2" fmla="*/ 0 w 5"/>
                <a:gd name="T3" fmla="*/ 3 h 3"/>
                <a:gd name="T4" fmla="*/ 5 w 5"/>
                <a:gd name="T5" fmla="*/ 2 h 3"/>
                <a:gd name="T6" fmla="*/ 4 w 5"/>
                <a:gd name="T7" fmla="*/ 1 h 3"/>
                <a:gd name="T8" fmla="*/ 4 w 5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3">
                  <a:moveTo>
                    <a:pt x="4" y="0"/>
                  </a:moveTo>
                  <a:cubicBezTo>
                    <a:pt x="2" y="1"/>
                    <a:pt x="1" y="2"/>
                    <a:pt x="0" y="3"/>
                  </a:cubicBezTo>
                  <a:cubicBezTo>
                    <a:pt x="2" y="3"/>
                    <a:pt x="3" y="2"/>
                    <a:pt x="5" y="2"/>
                  </a:cubicBezTo>
                  <a:cubicBezTo>
                    <a:pt x="5" y="2"/>
                    <a:pt x="4" y="1"/>
                    <a:pt x="4" y="1"/>
                  </a:cubicBezTo>
                  <a:cubicBezTo>
                    <a:pt x="4" y="0"/>
                    <a:pt x="4" y="0"/>
                    <a:pt x="4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25" name="Freeform 7586"/>
            <p:cNvSpPr>
              <a:spLocks/>
            </p:cNvSpPr>
            <p:nvPr/>
          </p:nvSpPr>
          <p:spPr bwMode="auto">
            <a:xfrm>
              <a:off x="5441" y="2855"/>
              <a:ext cx="0" cy="1"/>
            </a:xfrm>
            <a:custGeom>
              <a:avLst/>
              <a:gdLst>
                <a:gd name="T0" fmla="*/ 0 h 1"/>
                <a:gd name="T1" fmla="*/ 1 h 1"/>
                <a:gd name="T2" fmla="*/ 0 h 1"/>
                <a:gd name="T3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26" name="Freeform 7587"/>
            <p:cNvSpPr>
              <a:spLocks/>
            </p:cNvSpPr>
            <p:nvPr/>
          </p:nvSpPr>
          <p:spPr bwMode="auto">
            <a:xfrm>
              <a:off x="5428" y="2845"/>
              <a:ext cx="2" cy="1"/>
            </a:xfrm>
            <a:custGeom>
              <a:avLst/>
              <a:gdLst>
                <a:gd name="T0" fmla="*/ 2 w 2"/>
                <a:gd name="T1" fmla="*/ 1 h 1"/>
                <a:gd name="T2" fmla="*/ 0 w 2"/>
                <a:gd name="T3" fmla="*/ 0 h 1"/>
                <a:gd name="T4" fmla="*/ 1 w 2"/>
                <a:gd name="T5" fmla="*/ 1 h 1"/>
                <a:gd name="T6" fmla="*/ 2 w 2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2" y="1"/>
                  </a:moveTo>
                  <a:cubicBezTo>
                    <a:pt x="2" y="1"/>
                    <a:pt x="1" y="0"/>
                    <a:pt x="0" y="0"/>
                  </a:cubicBezTo>
                  <a:cubicBezTo>
                    <a:pt x="1" y="0"/>
                    <a:pt x="1" y="1"/>
                    <a:pt x="1" y="1"/>
                  </a:cubicBezTo>
                  <a:cubicBezTo>
                    <a:pt x="1" y="1"/>
                    <a:pt x="2" y="1"/>
                    <a:pt x="2" y="1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27" name="Freeform 7588"/>
            <p:cNvSpPr>
              <a:spLocks/>
            </p:cNvSpPr>
            <p:nvPr/>
          </p:nvSpPr>
          <p:spPr bwMode="auto">
            <a:xfrm>
              <a:off x="5414" y="2843"/>
              <a:ext cx="4" cy="4"/>
            </a:xfrm>
            <a:custGeom>
              <a:avLst/>
              <a:gdLst>
                <a:gd name="T0" fmla="*/ 1 w 3"/>
                <a:gd name="T1" fmla="*/ 4 h 4"/>
                <a:gd name="T2" fmla="*/ 3 w 3"/>
                <a:gd name="T3" fmla="*/ 2 h 4"/>
                <a:gd name="T4" fmla="*/ 2 w 3"/>
                <a:gd name="T5" fmla="*/ 0 h 4"/>
                <a:gd name="T6" fmla="*/ 0 w 3"/>
                <a:gd name="T7" fmla="*/ 2 h 4"/>
                <a:gd name="T8" fmla="*/ 0 w 3"/>
                <a:gd name="T9" fmla="*/ 3 h 4"/>
                <a:gd name="T10" fmla="*/ 1 w 3"/>
                <a:gd name="T11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4">
                  <a:moveTo>
                    <a:pt x="1" y="4"/>
                  </a:moveTo>
                  <a:cubicBezTo>
                    <a:pt x="2" y="3"/>
                    <a:pt x="2" y="2"/>
                    <a:pt x="3" y="2"/>
                  </a:cubicBezTo>
                  <a:cubicBezTo>
                    <a:pt x="3" y="1"/>
                    <a:pt x="2" y="1"/>
                    <a:pt x="2" y="0"/>
                  </a:cubicBezTo>
                  <a:cubicBezTo>
                    <a:pt x="1" y="1"/>
                    <a:pt x="1" y="1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1" y="3"/>
                    <a:pt x="1" y="4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28" name="Freeform 7589"/>
            <p:cNvSpPr>
              <a:spLocks/>
            </p:cNvSpPr>
            <p:nvPr/>
          </p:nvSpPr>
          <p:spPr bwMode="auto">
            <a:xfrm>
              <a:off x="5417" y="2846"/>
              <a:ext cx="2" cy="3"/>
            </a:xfrm>
            <a:custGeom>
              <a:avLst/>
              <a:gdLst>
                <a:gd name="T0" fmla="*/ 0 w 2"/>
                <a:gd name="T1" fmla="*/ 2 h 2"/>
                <a:gd name="T2" fmla="*/ 0 w 2"/>
                <a:gd name="T3" fmla="*/ 2 h 2"/>
                <a:gd name="T4" fmla="*/ 2 w 2"/>
                <a:gd name="T5" fmla="*/ 1 h 2"/>
                <a:gd name="T6" fmla="*/ 2 w 2"/>
                <a:gd name="T7" fmla="*/ 0 h 2"/>
                <a:gd name="T8" fmla="*/ 0 w 2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1" y="2"/>
                    <a:pt x="2" y="1"/>
                    <a:pt x="2" y="1"/>
                  </a:cubicBezTo>
                  <a:cubicBezTo>
                    <a:pt x="2" y="1"/>
                    <a:pt x="2" y="0"/>
                    <a:pt x="2" y="0"/>
                  </a:cubicBezTo>
                  <a:cubicBezTo>
                    <a:pt x="1" y="0"/>
                    <a:pt x="1" y="1"/>
                    <a:pt x="0" y="2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29" name="Freeform 7590"/>
            <p:cNvSpPr>
              <a:spLocks/>
            </p:cNvSpPr>
            <p:nvPr/>
          </p:nvSpPr>
          <p:spPr bwMode="auto">
            <a:xfrm>
              <a:off x="5418" y="2849"/>
              <a:ext cx="3" cy="1"/>
            </a:xfrm>
            <a:custGeom>
              <a:avLst/>
              <a:gdLst>
                <a:gd name="T0" fmla="*/ 2 w 2"/>
                <a:gd name="T1" fmla="*/ 0 h 1"/>
                <a:gd name="T2" fmla="*/ 0 w 2"/>
                <a:gd name="T3" fmla="*/ 0 h 1"/>
                <a:gd name="T4" fmla="*/ 1 w 2"/>
                <a:gd name="T5" fmla="*/ 1 h 1"/>
                <a:gd name="T6" fmla="*/ 2 w 2"/>
                <a:gd name="T7" fmla="*/ 0 h 1"/>
                <a:gd name="T8" fmla="*/ 2 w 2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1" y="0"/>
                    <a:pt x="0" y="0"/>
                    <a:pt x="0" y="0"/>
                  </a:cubicBezTo>
                  <a:cubicBezTo>
                    <a:pt x="0" y="1"/>
                    <a:pt x="0" y="1"/>
                    <a:pt x="1" y="1"/>
                  </a:cubicBezTo>
                  <a:cubicBezTo>
                    <a:pt x="1" y="1"/>
                    <a:pt x="1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30" name="Freeform 7591"/>
            <p:cNvSpPr>
              <a:spLocks/>
            </p:cNvSpPr>
            <p:nvPr/>
          </p:nvSpPr>
          <p:spPr bwMode="auto">
            <a:xfrm>
              <a:off x="5424" y="2843"/>
              <a:ext cx="4" cy="2"/>
            </a:xfrm>
            <a:custGeom>
              <a:avLst/>
              <a:gdLst>
                <a:gd name="T0" fmla="*/ 0 w 3"/>
                <a:gd name="T1" fmla="*/ 1 h 2"/>
                <a:gd name="T2" fmla="*/ 3 w 3"/>
                <a:gd name="T3" fmla="*/ 2 h 2"/>
                <a:gd name="T4" fmla="*/ 3 w 3"/>
                <a:gd name="T5" fmla="*/ 1 h 2"/>
                <a:gd name="T6" fmla="*/ 1 w 3"/>
                <a:gd name="T7" fmla="*/ 0 h 2"/>
                <a:gd name="T8" fmla="*/ 0 w 3"/>
                <a:gd name="T9" fmla="*/ 1 h 2"/>
                <a:gd name="T10" fmla="*/ 0 w 3"/>
                <a:gd name="T11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2">
                  <a:moveTo>
                    <a:pt x="0" y="1"/>
                  </a:moveTo>
                  <a:cubicBezTo>
                    <a:pt x="1" y="1"/>
                    <a:pt x="3" y="2"/>
                    <a:pt x="3" y="2"/>
                  </a:cubicBezTo>
                  <a:cubicBezTo>
                    <a:pt x="3" y="2"/>
                    <a:pt x="3" y="2"/>
                    <a:pt x="3" y="1"/>
                  </a:cubicBezTo>
                  <a:cubicBezTo>
                    <a:pt x="2" y="1"/>
                    <a:pt x="2" y="1"/>
                    <a:pt x="1" y="0"/>
                  </a:cubicBezTo>
                  <a:cubicBezTo>
                    <a:pt x="1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31" name="Freeform 7592"/>
            <p:cNvSpPr>
              <a:spLocks/>
            </p:cNvSpPr>
            <p:nvPr/>
          </p:nvSpPr>
          <p:spPr bwMode="auto">
            <a:xfrm>
              <a:off x="5428" y="2844"/>
              <a:ext cx="2" cy="2"/>
            </a:xfrm>
            <a:custGeom>
              <a:avLst/>
              <a:gdLst>
                <a:gd name="T0" fmla="*/ 2 w 2"/>
                <a:gd name="T1" fmla="*/ 2 h 2"/>
                <a:gd name="T2" fmla="*/ 2 w 2"/>
                <a:gd name="T3" fmla="*/ 2 h 2"/>
                <a:gd name="T4" fmla="*/ 2 w 2"/>
                <a:gd name="T5" fmla="*/ 2 h 2"/>
                <a:gd name="T6" fmla="*/ 0 w 2"/>
                <a:gd name="T7" fmla="*/ 0 h 2"/>
                <a:gd name="T8" fmla="*/ 0 w 2"/>
                <a:gd name="T9" fmla="*/ 1 h 2"/>
                <a:gd name="T10" fmla="*/ 2 w 2"/>
                <a:gd name="T11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1"/>
                    <a:pt x="1" y="1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2" y="2"/>
                    <a:pt x="2" y="2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32" name="Freeform 7593"/>
            <p:cNvSpPr>
              <a:spLocks/>
            </p:cNvSpPr>
            <p:nvPr/>
          </p:nvSpPr>
          <p:spPr bwMode="auto">
            <a:xfrm>
              <a:off x="5416" y="2845"/>
              <a:ext cx="3" cy="4"/>
            </a:xfrm>
            <a:custGeom>
              <a:avLst/>
              <a:gdLst>
                <a:gd name="T0" fmla="*/ 3 w 3"/>
                <a:gd name="T1" fmla="*/ 1 h 3"/>
                <a:gd name="T2" fmla="*/ 2 w 3"/>
                <a:gd name="T3" fmla="*/ 0 h 3"/>
                <a:gd name="T4" fmla="*/ 0 w 3"/>
                <a:gd name="T5" fmla="*/ 2 h 3"/>
                <a:gd name="T6" fmla="*/ 1 w 3"/>
                <a:gd name="T7" fmla="*/ 3 h 3"/>
                <a:gd name="T8" fmla="*/ 3 w 3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3" y="1"/>
                  </a:moveTo>
                  <a:cubicBezTo>
                    <a:pt x="2" y="1"/>
                    <a:pt x="2" y="0"/>
                    <a:pt x="2" y="0"/>
                  </a:cubicBezTo>
                  <a:cubicBezTo>
                    <a:pt x="1" y="0"/>
                    <a:pt x="1" y="1"/>
                    <a:pt x="0" y="2"/>
                  </a:cubicBezTo>
                  <a:cubicBezTo>
                    <a:pt x="0" y="2"/>
                    <a:pt x="1" y="2"/>
                    <a:pt x="1" y="3"/>
                  </a:cubicBezTo>
                  <a:cubicBezTo>
                    <a:pt x="2" y="2"/>
                    <a:pt x="2" y="1"/>
                    <a:pt x="3" y="1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33" name="Freeform 7594"/>
            <p:cNvSpPr>
              <a:spLocks/>
            </p:cNvSpPr>
            <p:nvPr/>
          </p:nvSpPr>
          <p:spPr bwMode="auto">
            <a:xfrm>
              <a:off x="5424" y="2846"/>
              <a:ext cx="5" cy="1"/>
            </a:xfrm>
            <a:custGeom>
              <a:avLst/>
              <a:gdLst>
                <a:gd name="T0" fmla="*/ 4 w 4"/>
                <a:gd name="T1" fmla="*/ 0 h 1"/>
                <a:gd name="T2" fmla="*/ 0 w 4"/>
                <a:gd name="T3" fmla="*/ 0 h 1"/>
                <a:gd name="T4" fmla="*/ 0 w 4"/>
                <a:gd name="T5" fmla="*/ 1 h 1"/>
                <a:gd name="T6" fmla="*/ 4 w 4"/>
                <a:gd name="T7" fmla="*/ 1 h 1"/>
                <a:gd name="T8" fmla="*/ 4 w 4"/>
                <a:gd name="T9" fmla="*/ 1 h 1"/>
                <a:gd name="T10" fmla="*/ 4 w 4"/>
                <a:gd name="T11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1">
                  <a:moveTo>
                    <a:pt x="4" y="0"/>
                  </a:moveTo>
                  <a:cubicBezTo>
                    <a:pt x="3" y="0"/>
                    <a:pt x="1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3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0"/>
                    <a:pt x="4" y="0"/>
                    <a:pt x="4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34" name="Freeform 7595"/>
            <p:cNvSpPr>
              <a:spLocks/>
            </p:cNvSpPr>
            <p:nvPr/>
          </p:nvSpPr>
          <p:spPr bwMode="auto">
            <a:xfrm>
              <a:off x="5429" y="2846"/>
              <a:ext cx="1" cy="1"/>
            </a:xfrm>
            <a:custGeom>
              <a:avLst/>
              <a:gdLst>
                <a:gd name="T0" fmla="*/ 0 w 1"/>
                <a:gd name="T1" fmla="*/ 1 h 1"/>
                <a:gd name="T2" fmla="*/ 1 w 1"/>
                <a:gd name="T3" fmla="*/ 0 h 1"/>
                <a:gd name="T4" fmla="*/ 1 w 1"/>
                <a:gd name="T5" fmla="*/ 0 h 1"/>
                <a:gd name="T6" fmla="*/ 1 w 1"/>
                <a:gd name="T7" fmla="*/ 0 h 1"/>
                <a:gd name="T8" fmla="*/ 0 w 1"/>
                <a:gd name="T9" fmla="*/ 0 h 1"/>
                <a:gd name="T10" fmla="*/ 0 w 1"/>
                <a:gd name="T11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35" name="Freeform 7596"/>
            <p:cNvSpPr>
              <a:spLocks/>
            </p:cNvSpPr>
            <p:nvPr/>
          </p:nvSpPr>
          <p:spPr bwMode="auto">
            <a:xfrm>
              <a:off x="5417" y="2847"/>
              <a:ext cx="4" cy="2"/>
            </a:xfrm>
            <a:custGeom>
              <a:avLst/>
              <a:gdLst>
                <a:gd name="T0" fmla="*/ 0 w 3"/>
                <a:gd name="T1" fmla="*/ 1 h 1"/>
                <a:gd name="T2" fmla="*/ 1 w 3"/>
                <a:gd name="T3" fmla="*/ 1 h 1"/>
                <a:gd name="T4" fmla="*/ 3 w 3"/>
                <a:gd name="T5" fmla="*/ 1 h 1"/>
                <a:gd name="T6" fmla="*/ 2 w 3"/>
                <a:gd name="T7" fmla="*/ 0 h 1"/>
                <a:gd name="T8" fmla="*/ 0 w 3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1">
                  <a:moveTo>
                    <a:pt x="0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2" y="1"/>
                    <a:pt x="3" y="1"/>
                  </a:cubicBezTo>
                  <a:cubicBezTo>
                    <a:pt x="2" y="1"/>
                    <a:pt x="2" y="0"/>
                    <a:pt x="2" y="0"/>
                  </a:cubicBezTo>
                  <a:cubicBezTo>
                    <a:pt x="2" y="0"/>
                    <a:pt x="1" y="1"/>
                    <a:pt x="0" y="1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36" name="Freeform 7597"/>
            <p:cNvSpPr>
              <a:spLocks/>
            </p:cNvSpPr>
            <p:nvPr/>
          </p:nvSpPr>
          <p:spPr bwMode="auto">
            <a:xfrm>
              <a:off x="5430" y="2846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37" name="Freeform 7598"/>
            <p:cNvSpPr>
              <a:spLocks/>
            </p:cNvSpPr>
            <p:nvPr/>
          </p:nvSpPr>
          <p:spPr bwMode="auto">
            <a:xfrm>
              <a:off x="5442" y="2854"/>
              <a:ext cx="2" cy="1"/>
            </a:xfrm>
            <a:custGeom>
              <a:avLst/>
              <a:gdLst>
                <a:gd name="T0" fmla="*/ 0 w 1"/>
                <a:gd name="T1" fmla="*/ 1 h 1"/>
                <a:gd name="T2" fmla="*/ 1 w 1"/>
                <a:gd name="T3" fmla="*/ 0 h 1"/>
                <a:gd name="T4" fmla="*/ 0 w 1"/>
                <a:gd name="T5" fmla="*/ 0 h 1"/>
                <a:gd name="T6" fmla="*/ 0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38" name="Freeform 7599"/>
            <p:cNvSpPr>
              <a:spLocks/>
            </p:cNvSpPr>
            <p:nvPr/>
          </p:nvSpPr>
          <p:spPr bwMode="auto">
            <a:xfrm>
              <a:off x="5408" y="2833"/>
              <a:ext cx="2" cy="1"/>
            </a:xfrm>
            <a:custGeom>
              <a:avLst/>
              <a:gdLst>
                <a:gd name="T0" fmla="*/ 1 w 1"/>
                <a:gd name="T1" fmla="*/ 1 h 1"/>
                <a:gd name="T2" fmla="*/ 0 w 1"/>
                <a:gd name="T3" fmla="*/ 0 h 1"/>
                <a:gd name="T4" fmla="*/ 0 w 1"/>
                <a:gd name="T5" fmla="*/ 0 h 1"/>
                <a:gd name="T6" fmla="*/ 1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1" y="0"/>
                    <a:pt x="1" y="1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39" name="Freeform 7600"/>
            <p:cNvSpPr>
              <a:spLocks/>
            </p:cNvSpPr>
            <p:nvPr/>
          </p:nvSpPr>
          <p:spPr bwMode="auto">
            <a:xfrm>
              <a:off x="5408" y="2847"/>
              <a:ext cx="2" cy="3"/>
            </a:xfrm>
            <a:custGeom>
              <a:avLst/>
              <a:gdLst>
                <a:gd name="T0" fmla="*/ 0 w 1"/>
                <a:gd name="T1" fmla="*/ 0 h 2"/>
                <a:gd name="T2" fmla="*/ 1 w 1"/>
                <a:gd name="T3" fmla="*/ 2 h 2"/>
                <a:gd name="T4" fmla="*/ 1 w 1"/>
                <a:gd name="T5" fmla="*/ 2 h 2"/>
                <a:gd name="T6" fmla="*/ 0 w 1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2">
                  <a:moveTo>
                    <a:pt x="0" y="0"/>
                  </a:moveTo>
                  <a:cubicBezTo>
                    <a:pt x="0" y="1"/>
                    <a:pt x="0" y="1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0" y="1"/>
                    <a:pt x="0" y="0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40" name="Freeform 7601"/>
            <p:cNvSpPr>
              <a:spLocks/>
            </p:cNvSpPr>
            <p:nvPr/>
          </p:nvSpPr>
          <p:spPr bwMode="auto">
            <a:xfrm>
              <a:off x="5410" y="2834"/>
              <a:ext cx="7" cy="6"/>
            </a:xfrm>
            <a:custGeom>
              <a:avLst/>
              <a:gdLst>
                <a:gd name="T0" fmla="*/ 5 w 6"/>
                <a:gd name="T1" fmla="*/ 5 h 5"/>
                <a:gd name="T2" fmla="*/ 6 w 6"/>
                <a:gd name="T3" fmla="*/ 3 h 5"/>
                <a:gd name="T4" fmla="*/ 0 w 6"/>
                <a:gd name="T5" fmla="*/ 0 h 5"/>
                <a:gd name="T6" fmla="*/ 5 w 6"/>
                <a:gd name="T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5">
                  <a:moveTo>
                    <a:pt x="5" y="5"/>
                  </a:moveTo>
                  <a:cubicBezTo>
                    <a:pt x="6" y="5"/>
                    <a:pt x="6" y="4"/>
                    <a:pt x="6" y="3"/>
                  </a:cubicBezTo>
                  <a:cubicBezTo>
                    <a:pt x="4" y="1"/>
                    <a:pt x="2" y="0"/>
                    <a:pt x="0" y="0"/>
                  </a:cubicBezTo>
                  <a:cubicBezTo>
                    <a:pt x="2" y="1"/>
                    <a:pt x="4" y="3"/>
                    <a:pt x="5" y="5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41" name="Freeform 7602"/>
            <p:cNvSpPr>
              <a:spLocks/>
            </p:cNvSpPr>
            <p:nvPr/>
          </p:nvSpPr>
          <p:spPr bwMode="auto">
            <a:xfrm>
              <a:off x="5440" y="2846"/>
              <a:ext cx="1" cy="1"/>
            </a:xfrm>
            <a:custGeom>
              <a:avLst/>
              <a:gdLst>
                <a:gd name="T0" fmla="*/ 0 w 1"/>
                <a:gd name="T1" fmla="*/ 1 h 1"/>
                <a:gd name="T2" fmla="*/ 1 w 1"/>
                <a:gd name="T3" fmla="*/ 1 h 1"/>
                <a:gd name="T4" fmla="*/ 1 w 1"/>
                <a:gd name="T5" fmla="*/ 0 h 1"/>
                <a:gd name="T6" fmla="*/ 0 w 1"/>
                <a:gd name="T7" fmla="*/ 0 h 1"/>
                <a:gd name="T8" fmla="*/ 0 w 1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42" name="Freeform 7603"/>
            <p:cNvSpPr>
              <a:spLocks/>
            </p:cNvSpPr>
            <p:nvPr/>
          </p:nvSpPr>
          <p:spPr bwMode="auto">
            <a:xfrm>
              <a:off x="5424" y="2855"/>
              <a:ext cx="0" cy="3"/>
            </a:xfrm>
            <a:custGeom>
              <a:avLst/>
              <a:gdLst>
                <a:gd name="T0" fmla="*/ 0 h 3"/>
                <a:gd name="T1" fmla="*/ 2 h 3"/>
                <a:gd name="T2" fmla="*/ 3 h 3"/>
                <a:gd name="T3" fmla="*/ 0 h 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3">
                  <a:moveTo>
                    <a:pt x="0" y="0"/>
                  </a:moveTo>
                  <a:cubicBezTo>
                    <a:pt x="0" y="1"/>
                    <a:pt x="0" y="1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2"/>
                    <a:pt x="0" y="0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43" name="Freeform 7604"/>
            <p:cNvSpPr>
              <a:spLocks/>
            </p:cNvSpPr>
            <p:nvPr/>
          </p:nvSpPr>
          <p:spPr bwMode="auto">
            <a:xfrm>
              <a:off x="5446" y="2850"/>
              <a:ext cx="1" cy="1"/>
            </a:xfrm>
            <a:custGeom>
              <a:avLst/>
              <a:gdLst>
                <a:gd name="T0" fmla="*/ 1 w 1"/>
                <a:gd name="T1" fmla="*/ 1 h 1"/>
                <a:gd name="T2" fmla="*/ 1 w 1"/>
                <a:gd name="T3" fmla="*/ 1 h 1"/>
                <a:gd name="T4" fmla="*/ 0 w 1"/>
                <a:gd name="T5" fmla="*/ 0 h 1"/>
                <a:gd name="T6" fmla="*/ 0 w 1"/>
                <a:gd name="T7" fmla="*/ 0 h 1"/>
                <a:gd name="T8" fmla="*/ 1 w 1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1" y="1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44" name="Freeform 7605"/>
            <p:cNvSpPr>
              <a:spLocks/>
            </p:cNvSpPr>
            <p:nvPr/>
          </p:nvSpPr>
          <p:spPr bwMode="auto">
            <a:xfrm>
              <a:off x="5412" y="2845"/>
              <a:ext cx="2" cy="1"/>
            </a:xfrm>
            <a:custGeom>
              <a:avLst/>
              <a:gdLst>
                <a:gd name="T0" fmla="*/ 2 w 2"/>
                <a:gd name="T1" fmla="*/ 1 h 1"/>
                <a:gd name="T2" fmla="*/ 2 w 2"/>
                <a:gd name="T3" fmla="*/ 1 h 1"/>
                <a:gd name="T4" fmla="*/ 2 w 2"/>
                <a:gd name="T5" fmla="*/ 1 h 1"/>
                <a:gd name="T6" fmla="*/ 0 w 2"/>
                <a:gd name="T7" fmla="*/ 0 h 1"/>
                <a:gd name="T8" fmla="*/ 2 w 2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1">
                  <a:moveTo>
                    <a:pt x="2" y="1"/>
                  </a:move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1" y="0"/>
                    <a:pt x="1" y="1"/>
                    <a:pt x="2" y="1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45" name="Freeform 7606"/>
            <p:cNvSpPr>
              <a:spLocks/>
            </p:cNvSpPr>
            <p:nvPr/>
          </p:nvSpPr>
          <p:spPr bwMode="auto">
            <a:xfrm>
              <a:off x="5449" y="2852"/>
              <a:ext cx="0" cy="2"/>
            </a:xfrm>
            <a:custGeom>
              <a:avLst/>
              <a:gdLst>
                <a:gd name="T0" fmla="*/ 1 h 1"/>
                <a:gd name="T1" fmla="*/ 1 h 1"/>
                <a:gd name="T2" fmla="*/ 0 h 1"/>
                <a:gd name="T3" fmla="*/ 0 h 1"/>
                <a:gd name="T4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46" name="Freeform 7607"/>
            <p:cNvSpPr>
              <a:spLocks/>
            </p:cNvSpPr>
            <p:nvPr/>
          </p:nvSpPr>
          <p:spPr bwMode="auto">
            <a:xfrm>
              <a:off x="5438" y="2846"/>
              <a:ext cx="2" cy="1"/>
            </a:xfrm>
            <a:custGeom>
              <a:avLst/>
              <a:gdLst>
                <a:gd name="T0" fmla="*/ 1 w 2"/>
                <a:gd name="T1" fmla="*/ 1 h 1"/>
                <a:gd name="T2" fmla="*/ 2 w 2"/>
                <a:gd name="T3" fmla="*/ 1 h 1"/>
                <a:gd name="T4" fmla="*/ 2 w 2"/>
                <a:gd name="T5" fmla="*/ 0 h 1"/>
                <a:gd name="T6" fmla="*/ 0 w 2"/>
                <a:gd name="T7" fmla="*/ 0 h 1"/>
                <a:gd name="T8" fmla="*/ 0 w 2"/>
                <a:gd name="T9" fmla="*/ 1 h 1"/>
                <a:gd name="T10" fmla="*/ 1 w 2"/>
                <a:gd name="T11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1">
                  <a:moveTo>
                    <a:pt x="1" y="1"/>
                  </a:move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0"/>
                    <a:pt x="2" y="0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47" name="Freeform 7608"/>
            <p:cNvSpPr>
              <a:spLocks/>
            </p:cNvSpPr>
            <p:nvPr/>
          </p:nvSpPr>
          <p:spPr bwMode="auto">
            <a:xfrm>
              <a:off x="5431" y="2857"/>
              <a:ext cx="2" cy="4"/>
            </a:xfrm>
            <a:custGeom>
              <a:avLst/>
              <a:gdLst>
                <a:gd name="T0" fmla="*/ 0 w 1"/>
                <a:gd name="T1" fmla="*/ 1 h 3"/>
                <a:gd name="T2" fmla="*/ 0 w 1"/>
                <a:gd name="T3" fmla="*/ 3 h 3"/>
                <a:gd name="T4" fmla="*/ 1 w 1"/>
                <a:gd name="T5" fmla="*/ 2 h 3"/>
                <a:gd name="T6" fmla="*/ 1 w 1"/>
                <a:gd name="T7" fmla="*/ 0 h 3"/>
                <a:gd name="T8" fmla="*/ 0 w 1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3">
                  <a:moveTo>
                    <a:pt x="0" y="1"/>
                  </a:move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1" y="3"/>
                    <a:pt x="1" y="2"/>
                  </a:cubicBezTo>
                  <a:cubicBezTo>
                    <a:pt x="1" y="2"/>
                    <a:pt x="1" y="1"/>
                    <a:pt x="1" y="0"/>
                  </a:cubicBezTo>
                  <a:cubicBezTo>
                    <a:pt x="1" y="1"/>
                    <a:pt x="1" y="1"/>
                    <a:pt x="0" y="1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48" name="Freeform 7609"/>
            <p:cNvSpPr>
              <a:spLocks/>
            </p:cNvSpPr>
            <p:nvPr/>
          </p:nvSpPr>
          <p:spPr bwMode="auto">
            <a:xfrm>
              <a:off x="5431" y="2849"/>
              <a:ext cx="7" cy="6"/>
            </a:xfrm>
            <a:custGeom>
              <a:avLst/>
              <a:gdLst>
                <a:gd name="T0" fmla="*/ 5 w 5"/>
                <a:gd name="T1" fmla="*/ 0 h 5"/>
                <a:gd name="T2" fmla="*/ 3 w 5"/>
                <a:gd name="T3" fmla="*/ 0 h 5"/>
                <a:gd name="T4" fmla="*/ 0 w 5"/>
                <a:gd name="T5" fmla="*/ 3 h 5"/>
                <a:gd name="T6" fmla="*/ 0 w 5"/>
                <a:gd name="T7" fmla="*/ 5 h 5"/>
                <a:gd name="T8" fmla="*/ 3 w 5"/>
                <a:gd name="T9" fmla="*/ 4 h 5"/>
                <a:gd name="T10" fmla="*/ 5 w 5"/>
                <a:gd name="T11" fmla="*/ 0 h 5"/>
                <a:gd name="T12" fmla="*/ 5 w 5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5">
                  <a:moveTo>
                    <a:pt x="5" y="0"/>
                  </a:moveTo>
                  <a:cubicBezTo>
                    <a:pt x="4" y="0"/>
                    <a:pt x="3" y="0"/>
                    <a:pt x="3" y="0"/>
                  </a:cubicBezTo>
                  <a:cubicBezTo>
                    <a:pt x="2" y="1"/>
                    <a:pt x="1" y="2"/>
                    <a:pt x="0" y="3"/>
                  </a:cubicBezTo>
                  <a:cubicBezTo>
                    <a:pt x="0" y="3"/>
                    <a:pt x="0" y="4"/>
                    <a:pt x="0" y="5"/>
                  </a:cubicBezTo>
                  <a:cubicBezTo>
                    <a:pt x="1" y="4"/>
                    <a:pt x="2" y="4"/>
                    <a:pt x="3" y="4"/>
                  </a:cubicBezTo>
                  <a:cubicBezTo>
                    <a:pt x="3" y="2"/>
                    <a:pt x="4" y="1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49" name="Freeform 7610"/>
            <p:cNvSpPr>
              <a:spLocks/>
            </p:cNvSpPr>
            <p:nvPr/>
          </p:nvSpPr>
          <p:spPr bwMode="auto">
            <a:xfrm>
              <a:off x="5445" y="2849"/>
              <a:ext cx="1" cy="1"/>
            </a:xfrm>
            <a:custGeom>
              <a:avLst/>
              <a:gdLst>
                <a:gd name="T0" fmla="*/ 1 w 1"/>
                <a:gd name="T1" fmla="*/ 1 h 1"/>
                <a:gd name="T2" fmla="*/ 1 w 1"/>
                <a:gd name="T3" fmla="*/ 1 h 1"/>
                <a:gd name="T4" fmla="*/ 0 w 1"/>
                <a:gd name="T5" fmla="*/ 0 h 1"/>
                <a:gd name="T6" fmla="*/ 1 w 1"/>
                <a:gd name="T7" fmla="*/ 1 h 1"/>
                <a:gd name="T8" fmla="*/ 1 w 1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0" y="0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50" name="Freeform 7611"/>
            <p:cNvSpPr>
              <a:spLocks/>
            </p:cNvSpPr>
            <p:nvPr/>
          </p:nvSpPr>
          <p:spPr bwMode="auto">
            <a:xfrm>
              <a:off x="5396" y="2860"/>
              <a:ext cx="7" cy="4"/>
            </a:xfrm>
            <a:custGeom>
              <a:avLst/>
              <a:gdLst>
                <a:gd name="T0" fmla="*/ 0 w 6"/>
                <a:gd name="T1" fmla="*/ 4 h 4"/>
                <a:gd name="T2" fmla="*/ 6 w 6"/>
                <a:gd name="T3" fmla="*/ 1 h 4"/>
                <a:gd name="T4" fmla="*/ 5 w 6"/>
                <a:gd name="T5" fmla="*/ 0 h 4"/>
                <a:gd name="T6" fmla="*/ 0 w 6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0" y="4"/>
                  </a:moveTo>
                  <a:cubicBezTo>
                    <a:pt x="2" y="2"/>
                    <a:pt x="4" y="1"/>
                    <a:pt x="6" y="1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2" y="1"/>
                    <a:pt x="0" y="4"/>
                    <a:pt x="0" y="4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51" name="Freeform 7612"/>
            <p:cNvSpPr>
              <a:spLocks/>
            </p:cNvSpPr>
            <p:nvPr/>
          </p:nvSpPr>
          <p:spPr bwMode="auto">
            <a:xfrm>
              <a:off x="5406" y="2866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52" name="Oval 7613"/>
            <p:cNvSpPr>
              <a:spLocks noChangeArrowheads="1"/>
            </p:cNvSpPr>
            <p:nvPr/>
          </p:nvSpPr>
          <p:spPr bwMode="auto">
            <a:xfrm>
              <a:off x="5414" y="2846"/>
              <a:ext cx="1" cy="1"/>
            </a:xfrm>
            <a:prstGeom prst="ellipse">
              <a:avLst/>
            </a:pr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53" name="Freeform 7614"/>
            <p:cNvSpPr>
              <a:spLocks/>
            </p:cNvSpPr>
            <p:nvPr/>
          </p:nvSpPr>
          <p:spPr bwMode="auto">
            <a:xfrm>
              <a:off x="5406" y="2846"/>
              <a:ext cx="4" cy="10"/>
            </a:xfrm>
            <a:custGeom>
              <a:avLst/>
              <a:gdLst>
                <a:gd name="T0" fmla="*/ 2 w 3"/>
                <a:gd name="T1" fmla="*/ 1 h 8"/>
                <a:gd name="T2" fmla="*/ 1 w 3"/>
                <a:gd name="T3" fmla="*/ 0 h 8"/>
                <a:gd name="T4" fmla="*/ 0 w 3"/>
                <a:gd name="T5" fmla="*/ 2 h 8"/>
                <a:gd name="T6" fmla="*/ 1 w 3"/>
                <a:gd name="T7" fmla="*/ 8 h 8"/>
                <a:gd name="T8" fmla="*/ 3 w 3"/>
                <a:gd name="T9" fmla="*/ 3 h 8"/>
                <a:gd name="T10" fmla="*/ 2 w 3"/>
                <a:gd name="T11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8">
                  <a:moveTo>
                    <a:pt x="2" y="1"/>
                  </a:moveTo>
                  <a:cubicBezTo>
                    <a:pt x="2" y="0"/>
                    <a:pt x="2" y="0"/>
                    <a:pt x="1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5"/>
                    <a:pt x="1" y="7"/>
                    <a:pt x="1" y="8"/>
                  </a:cubicBezTo>
                  <a:cubicBezTo>
                    <a:pt x="1" y="6"/>
                    <a:pt x="2" y="4"/>
                    <a:pt x="3" y="3"/>
                  </a:cubicBezTo>
                  <a:cubicBezTo>
                    <a:pt x="2" y="2"/>
                    <a:pt x="2" y="2"/>
                    <a:pt x="2" y="1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54" name="Freeform 7615"/>
            <p:cNvSpPr>
              <a:spLocks/>
            </p:cNvSpPr>
            <p:nvPr/>
          </p:nvSpPr>
          <p:spPr bwMode="auto">
            <a:xfrm>
              <a:off x="5407" y="2833"/>
              <a:ext cx="1" cy="0"/>
            </a:xfrm>
            <a:custGeom>
              <a:avLst/>
              <a:gdLst>
                <a:gd name="T0" fmla="*/ 1 w 1"/>
                <a:gd name="T1" fmla="*/ 0 w 1"/>
                <a:gd name="T2" fmla="*/ 0 w 1"/>
                <a:gd name="T3" fmla="*/ 1 w 1"/>
                <a:gd name="T4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55" name="Freeform 7616"/>
            <p:cNvSpPr>
              <a:spLocks/>
            </p:cNvSpPr>
            <p:nvPr/>
          </p:nvSpPr>
          <p:spPr bwMode="auto">
            <a:xfrm>
              <a:off x="5407" y="2858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56" name="Freeform 7617"/>
            <p:cNvSpPr>
              <a:spLocks/>
            </p:cNvSpPr>
            <p:nvPr/>
          </p:nvSpPr>
          <p:spPr bwMode="auto">
            <a:xfrm>
              <a:off x="5405" y="2849"/>
              <a:ext cx="2" cy="9"/>
            </a:xfrm>
            <a:custGeom>
              <a:avLst/>
              <a:gdLst>
                <a:gd name="T0" fmla="*/ 2 w 2"/>
                <a:gd name="T1" fmla="*/ 8 h 8"/>
                <a:gd name="T2" fmla="*/ 2 w 2"/>
                <a:gd name="T3" fmla="*/ 6 h 8"/>
                <a:gd name="T4" fmla="*/ 1 w 2"/>
                <a:gd name="T5" fmla="*/ 0 h 8"/>
                <a:gd name="T6" fmla="*/ 0 w 2"/>
                <a:gd name="T7" fmla="*/ 7 h 8"/>
                <a:gd name="T8" fmla="*/ 1 w 2"/>
                <a:gd name="T9" fmla="*/ 8 h 8"/>
                <a:gd name="T10" fmla="*/ 2 w 2"/>
                <a:gd name="T11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8">
                  <a:moveTo>
                    <a:pt x="2" y="8"/>
                  </a:moveTo>
                  <a:cubicBezTo>
                    <a:pt x="2" y="7"/>
                    <a:pt x="2" y="7"/>
                    <a:pt x="2" y="6"/>
                  </a:cubicBezTo>
                  <a:cubicBezTo>
                    <a:pt x="2" y="5"/>
                    <a:pt x="1" y="3"/>
                    <a:pt x="1" y="0"/>
                  </a:cubicBezTo>
                  <a:cubicBezTo>
                    <a:pt x="1" y="2"/>
                    <a:pt x="0" y="5"/>
                    <a:pt x="0" y="7"/>
                  </a:cubicBezTo>
                  <a:cubicBezTo>
                    <a:pt x="1" y="7"/>
                    <a:pt x="1" y="7"/>
                    <a:pt x="1" y="8"/>
                  </a:cubicBezTo>
                  <a:cubicBezTo>
                    <a:pt x="1" y="8"/>
                    <a:pt x="1" y="8"/>
                    <a:pt x="2" y="8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57" name="Freeform 7618"/>
            <p:cNvSpPr>
              <a:spLocks/>
            </p:cNvSpPr>
            <p:nvPr/>
          </p:nvSpPr>
          <p:spPr bwMode="auto">
            <a:xfrm>
              <a:off x="5406" y="2857"/>
              <a:ext cx="6" cy="3"/>
            </a:xfrm>
            <a:custGeom>
              <a:avLst/>
              <a:gdLst>
                <a:gd name="T0" fmla="*/ 1 w 5"/>
                <a:gd name="T1" fmla="*/ 1 h 2"/>
                <a:gd name="T2" fmla="*/ 1 w 5"/>
                <a:gd name="T3" fmla="*/ 1 h 2"/>
                <a:gd name="T4" fmla="*/ 1 w 5"/>
                <a:gd name="T5" fmla="*/ 1 h 2"/>
                <a:gd name="T6" fmla="*/ 1 w 5"/>
                <a:gd name="T7" fmla="*/ 1 h 2"/>
                <a:gd name="T8" fmla="*/ 0 w 5"/>
                <a:gd name="T9" fmla="*/ 1 h 2"/>
                <a:gd name="T10" fmla="*/ 2 w 5"/>
                <a:gd name="T11" fmla="*/ 2 h 2"/>
                <a:gd name="T12" fmla="*/ 5 w 5"/>
                <a:gd name="T13" fmla="*/ 2 h 2"/>
                <a:gd name="T14" fmla="*/ 4 w 5"/>
                <a:gd name="T15" fmla="*/ 1 h 2"/>
                <a:gd name="T16" fmla="*/ 1 w 5"/>
                <a:gd name="T17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" h="2"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0" y="1"/>
                  </a:cubicBezTo>
                  <a:cubicBezTo>
                    <a:pt x="1" y="1"/>
                    <a:pt x="1" y="2"/>
                    <a:pt x="2" y="2"/>
                  </a:cubicBezTo>
                  <a:cubicBezTo>
                    <a:pt x="3" y="2"/>
                    <a:pt x="4" y="2"/>
                    <a:pt x="5" y="2"/>
                  </a:cubicBezTo>
                  <a:cubicBezTo>
                    <a:pt x="4" y="2"/>
                    <a:pt x="4" y="1"/>
                    <a:pt x="4" y="1"/>
                  </a:cubicBezTo>
                  <a:cubicBezTo>
                    <a:pt x="3" y="0"/>
                    <a:pt x="2" y="0"/>
                    <a:pt x="1" y="1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58" name="Freeform 7619"/>
            <p:cNvSpPr>
              <a:spLocks/>
            </p:cNvSpPr>
            <p:nvPr/>
          </p:nvSpPr>
          <p:spPr bwMode="auto">
            <a:xfrm>
              <a:off x="5406" y="2860"/>
              <a:ext cx="1" cy="0"/>
            </a:xfrm>
            <a:custGeom>
              <a:avLst/>
              <a:gdLst>
                <a:gd name="T0" fmla="*/ 0 w 1"/>
                <a:gd name="T1" fmla="*/ 1 w 1"/>
                <a:gd name="T2" fmla="*/ 0 w 1"/>
                <a:gd name="T3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0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59" name="Freeform 7620"/>
            <p:cNvSpPr>
              <a:spLocks/>
            </p:cNvSpPr>
            <p:nvPr/>
          </p:nvSpPr>
          <p:spPr bwMode="auto">
            <a:xfrm>
              <a:off x="5406" y="2858"/>
              <a:ext cx="1" cy="0"/>
            </a:xfrm>
            <a:custGeom>
              <a:avLst/>
              <a:gdLst>
                <a:gd name="T0" fmla="*/ 0 w 1"/>
                <a:gd name="T1" fmla="*/ 0 w 1"/>
                <a:gd name="T2" fmla="*/ 1 w 1"/>
                <a:gd name="T3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60" name="Freeform 7621"/>
            <p:cNvSpPr>
              <a:spLocks/>
            </p:cNvSpPr>
            <p:nvPr/>
          </p:nvSpPr>
          <p:spPr bwMode="auto">
            <a:xfrm>
              <a:off x="5405" y="2860"/>
              <a:ext cx="1" cy="6"/>
            </a:xfrm>
            <a:custGeom>
              <a:avLst/>
              <a:gdLst>
                <a:gd name="T0" fmla="*/ 1 w 1"/>
                <a:gd name="T1" fmla="*/ 5 h 5"/>
                <a:gd name="T2" fmla="*/ 1 w 1"/>
                <a:gd name="T3" fmla="*/ 5 h 5"/>
                <a:gd name="T4" fmla="*/ 1 w 1"/>
                <a:gd name="T5" fmla="*/ 0 h 5"/>
                <a:gd name="T6" fmla="*/ 0 w 1"/>
                <a:gd name="T7" fmla="*/ 0 h 5"/>
                <a:gd name="T8" fmla="*/ 1 w 1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5">
                  <a:moveTo>
                    <a:pt x="1" y="5"/>
                  </a:moveTo>
                  <a:cubicBezTo>
                    <a:pt x="1" y="5"/>
                    <a:pt x="1" y="5"/>
                    <a:pt x="1" y="5"/>
                  </a:cubicBezTo>
                  <a:cubicBezTo>
                    <a:pt x="1" y="3"/>
                    <a:pt x="1" y="1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0" y="2"/>
                    <a:pt x="1" y="4"/>
                    <a:pt x="1" y="5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61" name="Freeform 7622"/>
            <p:cNvSpPr>
              <a:spLocks/>
            </p:cNvSpPr>
            <p:nvPr/>
          </p:nvSpPr>
          <p:spPr bwMode="auto">
            <a:xfrm>
              <a:off x="5402" y="2858"/>
              <a:ext cx="3" cy="3"/>
            </a:xfrm>
            <a:custGeom>
              <a:avLst/>
              <a:gdLst>
                <a:gd name="T0" fmla="*/ 2 w 2"/>
                <a:gd name="T1" fmla="*/ 0 h 2"/>
                <a:gd name="T2" fmla="*/ 2 w 2"/>
                <a:gd name="T3" fmla="*/ 0 h 2"/>
                <a:gd name="T4" fmla="*/ 0 w 2"/>
                <a:gd name="T5" fmla="*/ 1 h 2"/>
                <a:gd name="T6" fmla="*/ 1 w 2"/>
                <a:gd name="T7" fmla="*/ 2 h 2"/>
                <a:gd name="T8" fmla="*/ 2 w 2"/>
                <a:gd name="T9" fmla="*/ 1 h 2"/>
                <a:gd name="T10" fmla="*/ 2 w 2"/>
                <a:gd name="T11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0" y="1"/>
                  </a:cubicBezTo>
                  <a:cubicBezTo>
                    <a:pt x="0" y="1"/>
                    <a:pt x="1" y="1"/>
                    <a:pt x="1" y="2"/>
                  </a:cubicBezTo>
                  <a:cubicBezTo>
                    <a:pt x="1" y="1"/>
                    <a:pt x="2" y="1"/>
                    <a:pt x="2" y="1"/>
                  </a:cubicBezTo>
                  <a:cubicBezTo>
                    <a:pt x="2" y="1"/>
                    <a:pt x="2" y="1"/>
                    <a:pt x="2" y="0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62" name="Freeform 7623"/>
            <p:cNvSpPr>
              <a:spLocks/>
            </p:cNvSpPr>
            <p:nvPr/>
          </p:nvSpPr>
          <p:spPr bwMode="auto">
            <a:xfrm>
              <a:off x="5405" y="2858"/>
              <a:ext cx="1" cy="2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1 h 1"/>
                <a:gd name="T4" fmla="*/ 1 w 1"/>
                <a:gd name="T5" fmla="*/ 1 h 1"/>
                <a:gd name="T6" fmla="*/ 1 w 1"/>
                <a:gd name="T7" fmla="*/ 1 h 1"/>
                <a:gd name="T8" fmla="*/ 0 w 1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63" name="Oval 7624"/>
            <p:cNvSpPr>
              <a:spLocks noChangeArrowheads="1"/>
            </p:cNvSpPr>
            <p:nvPr/>
          </p:nvSpPr>
          <p:spPr bwMode="auto">
            <a:xfrm>
              <a:off x="5449" y="2854"/>
              <a:ext cx="1" cy="1"/>
            </a:xfrm>
            <a:prstGeom prst="ellipse">
              <a:avLst/>
            </a:pr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64" name="Freeform 7625"/>
            <p:cNvSpPr>
              <a:spLocks/>
            </p:cNvSpPr>
            <p:nvPr/>
          </p:nvSpPr>
          <p:spPr bwMode="auto">
            <a:xfrm>
              <a:off x="5435" y="2847"/>
              <a:ext cx="3" cy="2"/>
            </a:xfrm>
            <a:custGeom>
              <a:avLst/>
              <a:gdLst>
                <a:gd name="T0" fmla="*/ 1 w 2"/>
                <a:gd name="T1" fmla="*/ 0 h 1"/>
                <a:gd name="T2" fmla="*/ 0 w 2"/>
                <a:gd name="T3" fmla="*/ 1 h 1"/>
                <a:gd name="T4" fmla="*/ 2 w 2"/>
                <a:gd name="T5" fmla="*/ 1 h 1"/>
                <a:gd name="T6" fmla="*/ 1 w 2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1" y="0"/>
                  </a:move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1" y="1"/>
                    <a:pt x="2" y="1"/>
                  </a:cubicBezTo>
                  <a:cubicBezTo>
                    <a:pt x="1" y="1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65" name="Freeform 7626"/>
            <p:cNvSpPr>
              <a:spLocks/>
            </p:cNvSpPr>
            <p:nvPr/>
          </p:nvSpPr>
          <p:spPr bwMode="auto">
            <a:xfrm>
              <a:off x="5438" y="2847"/>
              <a:ext cx="1" cy="0"/>
            </a:xfrm>
            <a:custGeom>
              <a:avLst/>
              <a:gdLst>
                <a:gd name="T0" fmla="*/ 0 w 1"/>
                <a:gd name="T1" fmla="*/ 1 w 1"/>
                <a:gd name="T2" fmla="*/ 1 w 1"/>
                <a:gd name="T3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66" name="Freeform 7627"/>
            <p:cNvSpPr>
              <a:spLocks/>
            </p:cNvSpPr>
            <p:nvPr/>
          </p:nvSpPr>
          <p:spPr bwMode="auto">
            <a:xfrm>
              <a:off x="5441" y="2846"/>
              <a:ext cx="1" cy="1"/>
            </a:xfrm>
            <a:custGeom>
              <a:avLst/>
              <a:gdLst>
                <a:gd name="T0" fmla="*/ 1 w 1"/>
                <a:gd name="T1" fmla="*/ 1 h 1"/>
                <a:gd name="T2" fmla="*/ 1 w 1"/>
                <a:gd name="T3" fmla="*/ 0 h 1"/>
                <a:gd name="T4" fmla="*/ 0 w 1"/>
                <a:gd name="T5" fmla="*/ 0 h 1"/>
                <a:gd name="T6" fmla="*/ 0 w 1"/>
                <a:gd name="T7" fmla="*/ 1 h 1"/>
                <a:gd name="T8" fmla="*/ 1 w 1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1" y="1"/>
                    <a:pt x="1" y="1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67" name="Freeform 7628"/>
            <p:cNvSpPr>
              <a:spLocks/>
            </p:cNvSpPr>
            <p:nvPr/>
          </p:nvSpPr>
          <p:spPr bwMode="auto">
            <a:xfrm>
              <a:off x="5442" y="2846"/>
              <a:ext cx="4" cy="4"/>
            </a:xfrm>
            <a:custGeom>
              <a:avLst/>
              <a:gdLst>
                <a:gd name="T0" fmla="*/ 0 w 3"/>
                <a:gd name="T1" fmla="*/ 1 h 3"/>
                <a:gd name="T2" fmla="*/ 3 w 3"/>
                <a:gd name="T3" fmla="*/ 3 h 3"/>
                <a:gd name="T4" fmla="*/ 2 w 3"/>
                <a:gd name="T5" fmla="*/ 2 h 3"/>
                <a:gd name="T6" fmla="*/ 0 w 3"/>
                <a:gd name="T7" fmla="*/ 0 h 3"/>
                <a:gd name="T8" fmla="*/ 0 w 3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0" y="1"/>
                  </a:moveTo>
                  <a:cubicBezTo>
                    <a:pt x="1" y="2"/>
                    <a:pt x="2" y="2"/>
                    <a:pt x="3" y="3"/>
                  </a:cubicBezTo>
                  <a:cubicBezTo>
                    <a:pt x="3" y="3"/>
                    <a:pt x="2" y="2"/>
                    <a:pt x="2" y="2"/>
                  </a:cubicBezTo>
                  <a:cubicBezTo>
                    <a:pt x="2" y="1"/>
                    <a:pt x="1" y="1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68" name="Freeform 7629"/>
            <p:cNvSpPr>
              <a:spLocks/>
            </p:cNvSpPr>
            <p:nvPr/>
          </p:nvSpPr>
          <p:spPr bwMode="auto">
            <a:xfrm>
              <a:off x="5449" y="2854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69" name="Freeform 7630"/>
            <p:cNvSpPr>
              <a:spLocks/>
            </p:cNvSpPr>
            <p:nvPr/>
          </p:nvSpPr>
          <p:spPr bwMode="auto">
            <a:xfrm>
              <a:off x="5405" y="2858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70" name="Freeform 7631"/>
            <p:cNvSpPr>
              <a:spLocks/>
            </p:cNvSpPr>
            <p:nvPr/>
          </p:nvSpPr>
          <p:spPr bwMode="auto">
            <a:xfrm>
              <a:off x="5406" y="2858"/>
              <a:ext cx="2" cy="2"/>
            </a:xfrm>
            <a:custGeom>
              <a:avLst/>
              <a:gdLst>
                <a:gd name="T0" fmla="*/ 0 w 2"/>
                <a:gd name="T1" fmla="*/ 0 h 1"/>
                <a:gd name="T2" fmla="*/ 0 w 2"/>
                <a:gd name="T3" fmla="*/ 1 h 1"/>
                <a:gd name="T4" fmla="*/ 1 w 2"/>
                <a:gd name="T5" fmla="*/ 1 h 1"/>
                <a:gd name="T6" fmla="*/ 2 w 2"/>
                <a:gd name="T7" fmla="*/ 1 h 1"/>
                <a:gd name="T8" fmla="*/ 0 w 2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1">
                  <a:moveTo>
                    <a:pt x="0" y="0"/>
                  </a:move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0" y="1"/>
                    <a:pt x="1" y="1"/>
                  </a:cubicBezTo>
                  <a:cubicBezTo>
                    <a:pt x="1" y="1"/>
                    <a:pt x="1" y="1"/>
                    <a:pt x="2" y="1"/>
                  </a:cubicBezTo>
                  <a:cubicBezTo>
                    <a:pt x="1" y="1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71" name="Freeform 7632"/>
            <p:cNvSpPr>
              <a:spLocks/>
            </p:cNvSpPr>
            <p:nvPr/>
          </p:nvSpPr>
          <p:spPr bwMode="auto">
            <a:xfrm>
              <a:off x="5405" y="2857"/>
              <a:ext cx="1" cy="1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1 h 1"/>
                <a:gd name="T4" fmla="*/ 1 w 1"/>
                <a:gd name="T5" fmla="*/ 1 h 1"/>
                <a:gd name="T6" fmla="*/ 0 w 1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0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72" name="Freeform 7633"/>
            <p:cNvSpPr>
              <a:spLocks/>
            </p:cNvSpPr>
            <p:nvPr/>
          </p:nvSpPr>
          <p:spPr bwMode="auto">
            <a:xfrm>
              <a:off x="5405" y="2858"/>
              <a:ext cx="1" cy="2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  <a:gd name="T4" fmla="*/ 1 w 1"/>
                <a:gd name="T5" fmla="*/ 1 h 1"/>
                <a:gd name="T6" fmla="*/ 1 w 1"/>
                <a:gd name="T7" fmla="*/ 0 h 1"/>
                <a:gd name="T8" fmla="*/ 1 w 1"/>
                <a:gd name="T9" fmla="*/ 0 h 1"/>
                <a:gd name="T10" fmla="*/ 0 w 1"/>
                <a:gd name="T11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1"/>
                    <a:pt x="1" y="1"/>
                  </a:cubicBezTo>
                  <a:cubicBezTo>
                    <a:pt x="1" y="1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73" name="Freeform 7634"/>
            <p:cNvSpPr>
              <a:spLocks/>
            </p:cNvSpPr>
            <p:nvPr/>
          </p:nvSpPr>
          <p:spPr bwMode="auto">
            <a:xfrm>
              <a:off x="5413" y="2858"/>
              <a:ext cx="8" cy="9"/>
            </a:xfrm>
            <a:custGeom>
              <a:avLst/>
              <a:gdLst>
                <a:gd name="T0" fmla="*/ 1 w 6"/>
                <a:gd name="T1" fmla="*/ 0 h 7"/>
                <a:gd name="T2" fmla="*/ 0 w 6"/>
                <a:gd name="T3" fmla="*/ 2 h 7"/>
                <a:gd name="T4" fmla="*/ 6 w 6"/>
                <a:gd name="T5" fmla="*/ 7 h 7"/>
                <a:gd name="T6" fmla="*/ 5 w 6"/>
                <a:gd name="T7" fmla="*/ 2 h 7"/>
                <a:gd name="T8" fmla="*/ 1 w 6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">
                  <a:moveTo>
                    <a:pt x="1" y="0"/>
                  </a:moveTo>
                  <a:cubicBezTo>
                    <a:pt x="1" y="1"/>
                    <a:pt x="1" y="2"/>
                    <a:pt x="0" y="2"/>
                  </a:cubicBezTo>
                  <a:cubicBezTo>
                    <a:pt x="2" y="3"/>
                    <a:pt x="4" y="5"/>
                    <a:pt x="6" y="7"/>
                  </a:cubicBezTo>
                  <a:cubicBezTo>
                    <a:pt x="5" y="5"/>
                    <a:pt x="5" y="4"/>
                    <a:pt x="5" y="2"/>
                  </a:cubicBezTo>
                  <a:cubicBezTo>
                    <a:pt x="3" y="1"/>
                    <a:pt x="2" y="1"/>
                    <a:pt x="1" y="0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9314" name="Group 7836"/>
          <p:cNvGrpSpPr>
            <a:grpSpLocks/>
          </p:cNvGrpSpPr>
          <p:nvPr/>
        </p:nvGrpSpPr>
        <p:grpSpPr bwMode="auto">
          <a:xfrm>
            <a:off x="8047038" y="4394200"/>
            <a:ext cx="603250" cy="168275"/>
            <a:chOff x="5069" y="2768"/>
            <a:chExt cx="380" cy="106"/>
          </a:xfrm>
        </p:grpSpPr>
        <p:sp>
          <p:nvSpPr>
            <p:cNvPr id="10074" name="Freeform 7636"/>
            <p:cNvSpPr>
              <a:spLocks/>
            </p:cNvSpPr>
            <p:nvPr/>
          </p:nvSpPr>
          <p:spPr bwMode="auto">
            <a:xfrm>
              <a:off x="5408" y="2844"/>
              <a:ext cx="6" cy="6"/>
            </a:xfrm>
            <a:custGeom>
              <a:avLst/>
              <a:gdLst>
                <a:gd name="T0" fmla="*/ 0 w 5"/>
                <a:gd name="T1" fmla="*/ 1 h 5"/>
                <a:gd name="T2" fmla="*/ 0 w 5"/>
                <a:gd name="T3" fmla="*/ 3 h 5"/>
                <a:gd name="T4" fmla="*/ 1 w 5"/>
                <a:gd name="T5" fmla="*/ 5 h 5"/>
                <a:gd name="T6" fmla="*/ 3 w 5"/>
                <a:gd name="T7" fmla="*/ 4 h 5"/>
                <a:gd name="T8" fmla="*/ 5 w 5"/>
                <a:gd name="T9" fmla="*/ 2 h 5"/>
                <a:gd name="T10" fmla="*/ 3 w 5"/>
                <a:gd name="T11" fmla="*/ 1 h 5"/>
                <a:gd name="T12" fmla="*/ 0 w 5"/>
                <a:gd name="T13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5">
                  <a:moveTo>
                    <a:pt x="0" y="1"/>
                  </a:moveTo>
                  <a:cubicBezTo>
                    <a:pt x="0" y="2"/>
                    <a:pt x="0" y="2"/>
                    <a:pt x="0" y="3"/>
                  </a:cubicBezTo>
                  <a:cubicBezTo>
                    <a:pt x="0" y="4"/>
                    <a:pt x="1" y="4"/>
                    <a:pt x="1" y="5"/>
                  </a:cubicBezTo>
                  <a:cubicBezTo>
                    <a:pt x="2" y="4"/>
                    <a:pt x="2" y="4"/>
                    <a:pt x="3" y="4"/>
                  </a:cubicBezTo>
                  <a:cubicBezTo>
                    <a:pt x="4" y="3"/>
                    <a:pt x="4" y="3"/>
                    <a:pt x="5" y="2"/>
                  </a:cubicBezTo>
                  <a:cubicBezTo>
                    <a:pt x="4" y="2"/>
                    <a:pt x="4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75" name="Freeform 7637"/>
            <p:cNvSpPr>
              <a:spLocks/>
            </p:cNvSpPr>
            <p:nvPr/>
          </p:nvSpPr>
          <p:spPr bwMode="auto">
            <a:xfrm>
              <a:off x="5421" y="2847"/>
              <a:ext cx="3" cy="10"/>
            </a:xfrm>
            <a:custGeom>
              <a:avLst/>
              <a:gdLst>
                <a:gd name="T0" fmla="*/ 3 w 3"/>
                <a:gd name="T1" fmla="*/ 1 h 8"/>
                <a:gd name="T2" fmla="*/ 3 w 3"/>
                <a:gd name="T3" fmla="*/ 0 h 8"/>
                <a:gd name="T4" fmla="*/ 0 w 3"/>
                <a:gd name="T5" fmla="*/ 1 h 8"/>
                <a:gd name="T6" fmla="*/ 3 w 3"/>
                <a:gd name="T7" fmla="*/ 7 h 8"/>
                <a:gd name="T8" fmla="*/ 2 w 3"/>
                <a:gd name="T9" fmla="*/ 6 h 8"/>
                <a:gd name="T10" fmla="*/ 3 w 3"/>
                <a:gd name="T11" fmla="*/ 8 h 8"/>
                <a:gd name="T12" fmla="*/ 3 w 3"/>
                <a:gd name="T13" fmla="*/ 6 h 8"/>
                <a:gd name="T14" fmla="*/ 3 w 3"/>
                <a:gd name="T15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" h="8">
                  <a:moveTo>
                    <a:pt x="3" y="1"/>
                  </a:moveTo>
                  <a:cubicBezTo>
                    <a:pt x="3" y="1"/>
                    <a:pt x="3" y="1"/>
                    <a:pt x="3" y="0"/>
                  </a:cubicBezTo>
                  <a:cubicBezTo>
                    <a:pt x="2" y="0"/>
                    <a:pt x="1" y="1"/>
                    <a:pt x="0" y="1"/>
                  </a:cubicBezTo>
                  <a:cubicBezTo>
                    <a:pt x="2" y="4"/>
                    <a:pt x="3" y="7"/>
                    <a:pt x="3" y="7"/>
                  </a:cubicBezTo>
                  <a:cubicBezTo>
                    <a:pt x="2" y="7"/>
                    <a:pt x="2" y="7"/>
                    <a:pt x="2" y="6"/>
                  </a:cubicBezTo>
                  <a:cubicBezTo>
                    <a:pt x="2" y="7"/>
                    <a:pt x="2" y="7"/>
                    <a:pt x="3" y="8"/>
                  </a:cubicBezTo>
                  <a:cubicBezTo>
                    <a:pt x="3" y="7"/>
                    <a:pt x="3" y="7"/>
                    <a:pt x="3" y="6"/>
                  </a:cubicBezTo>
                  <a:cubicBezTo>
                    <a:pt x="3" y="5"/>
                    <a:pt x="3" y="3"/>
                    <a:pt x="3" y="1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76" name="Freeform 7638"/>
            <p:cNvSpPr>
              <a:spLocks/>
            </p:cNvSpPr>
            <p:nvPr/>
          </p:nvSpPr>
          <p:spPr bwMode="auto">
            <a:xfrm>
              <a:off x="5421" y="2845"/>
              <a:ext cx="2" cy="2"/>
            </a:xfrm>
            <a:custGeom>
              <a:avLst/>
              <a:gdLst>
                <a:gd name="T0" fmla="*/ 0 w 2"/>
                <a:gd name="T1" fmla="*/ 2 h 2"/>
                <a:gd name="T2" fmla="*/ 2 w 2"/>
                <a:gd name="T3" fmla="*/ 1 h 2"/>
                <a:gd name="T4" fmla="*/ 2 w 2"/>
                <a:gd name="T5" fmla="*/ 0 h 2"/>
                <a:gd name="T6" fmla="*/ 0 w 2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cubicBezTo>
                    <a:pt x="1" y="2"/>
                    <a:pt x="2" y="2"/>
                    <a:pt x="2" y="1"/>
                  </a:cubicBezTo>
                  <a:cubicBezTo>
                    <a:pt x="2" y="1"/>
                    <a:pt x="2" y="1"/>
                    <a:pt x="2" y="0"/>
                  </a:cubicBezTo>
                  <a:cubicBezTo>
                    <a:pt x="1" y="1"/>
                    <a:pt x="1" y="1"/>
                    <a:pt x="0" y="2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77" name="Freeform 7639"/>
            <p:cNvSpPr>
              <a:spLocks/>
            </p:cNvSpPr>
            <p:nvPr/>
          </p:nvSpPr>
          <p:spPr bwMode="auto">
            <a:xfrm>
              <a:off x="5417" y="2854"/>
              <a:ext cx="1" cy="4"/>
            </a:xfrm>
            <a:custGeom>
              <a:avLst/>
              <a:gdLst>
                <a:gd name="T0" fmla="*/ 1 w 1"/>
                <a:gd name="T1" fmla="*/ 4 h 4"/>
                <a:gd name="T2" fmla="*/ 0 w 1"/>
                <a:gd name="T3" fmla="*/ 0 h 4"/>
                <a:gd name="T4" fmla="*/ 0 w 1"/>
                <a:gd name="T5" fmla="*/ 1 h 4"/>
                <a:gd name="T6" fmla="*/ 1 w 1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4">
                  <a:moveTo>
                    <a:pt x="1" y="4"/>
                  </a:moveTo>
                  <a:cubicBezTo>
                    <a:pt x="1" y="3"/>
                    <a:pt x="1" y="1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2"/>
                    <a:pt x="1" y="3"/>
                    <a:pt x="1" y="4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78" name="Freeform 7640"/>
            <p:cNvSpPr>
              <a:spLocks/>
            </p:cNvSpPr>
            <p:nvPr/>
          </p:nvSpPr>
          <p:spPr bwMode="auto">
            <a:xfrm>
              <a:off x="5416" y="2838"/>
              <a:ext cx="3" cy="5"/>
            </a:xfrm>
            <a:custGeom>
              <a:avLst/>
              <a:gdLst>
                <a:gd name="T0" fmla="*/ 1 w 3"/>
                <a:gd name="T1" fmla="*/ 4 h 4"/>
                <a:gd name="T2" fmla="*/ 3 w 3"/>
                <a:gd name="T3" fmla="*/ 2 h 4"/>
                <a:gd name="T4" fmla="*/ 1 w 3"/>
                <a:gd name="T5" fmla="*/ 0 h 4"/>
                <a:gd name="T6" fmla="*/ 0 w 3"/>
                <a:gd name="T7" fmla="*/ 2 h 4"/>
                <a:gd name="T8" fmla="*/ 1 w 3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1" y="4"/>
                  </a:moveTo>
                  <a:cubicBezTo>
                    <a:pt x="2" y="3"/>
                    <a:pt x="2" y="3"/>
                    <a:pt x="3" y="2"/>
                  </a:cubicBezTo>
                  <a:cubicBezTo>
                    <a:pt x="2" y="2"/>
                    <a:pt x="1" y="1"/>
                    <a:pt x="1" y="0"/>
                  </a:cubicBezTo>
                  <a:cubicBezTo>
                    <a:pt x="1" y="1"/>
                    <a:pt x="1" y="2"/>
                    <a:pt x="0" y="2"/>
                  </a:cubicBezTo>
                  <a:cubicBezTo>
                    <a:pt x="1" y="3"/>
                    <a:pt x="1" y="3"/>
                    <a:pt x="1" y="4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79" name="Freeform 7641"/>
            <p:cNvSpPr>
              <a:spLocks/>
            </p:cNvSpPr>
            <p:nvPr/>
          </p:nvSpPr>
          <p:spPr bwMode="auto">
            <a:xfrm>
              <a:off x="5438" y="2849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80" name="Freeform 7642"/>
            <p:cNvSpPr>
              <a:spLocks/>
            </p:cNvSpPr>
            <p:nvPr/>
          </p:nvSpPr>
          <p:spPr bwMode="auto">
            <a:xfrm>
              <a:off x="5431" y="2854"/>
              <a:ext cx="4" cy="4"/>
            </a:xfrm>
            <a:custGeom>
              <a:avLst/>
              <a:gdLst>
                <a:gd name="T0" fmla="*/ 0 w 3"/>
                <a:gd name="T1" fmla="*/ 4 h 4"/>
                <a:gd name="T2" fmla="*/ 1 w 3"/>
                <a:gd name="T3" fmla="*/ 3 h 4"/>
                <a:gd name="T4" fmla="*/ 3 w 3"/>
                <a:gd name="T5" fmla="*/ 0 h 4"/>
                <a:gd name="T6" fmla="*/ 0 w 3"/>
                <a:gd name="T7" fmla="*/ 1 h 4"/>
                <a:gd name="T8" fmla="*/ 0 w 3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0" y="4"/>
                  </a:moveTo>
                  <a:cubicBezTo>
                    <a:pt x="1" y="4"/>
                    <a:pt x="1" y="4"/>
                    <a:pt x="1" y="3"/>
                  </a:cubicBezTo>
                  <a:cubicBezTo>
                    <a:pt x="2" y="2"/>
                    <a:pt x="2" y="1"/>
                    <a:pt x="3" y="0"/>
                  </a:cubicBezTo>
                  <a:cubicBezTo>
                    <a:pt x="2" y="0"/>
                    <a:pt x="1" y="0"/>
                    <a:pt x="0" y="1"/>
                  </a:cubicBezTo>
                  <a:cubicBezTo>
                    <a:pt x="0" y="2"/>
                    <a:pt x="0" y="3"/>
                    <a:pt x="0" y="4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81" name="Freeform 7643"/>
            <p:cNvSpPr>
              <a:spLocks/>
            </p:cNvSpPr>
            <p:nvPr/>
          </p:nvSpPr>
          <p:spPr bwMode="auto">
            <a:xfrm>
              <a:off x="5438" y="2846"/>
              <a:ext cx="0" cy="1"/>
            </a:xfrm>
            <a:custGeom>
              <a:avLst/>
              <a:gdLst>
                <a:gd name="T0" fmla="*/ 0 h 1"/>
                <a:gd name="T1" fmla="*/ 1 h 1"/>
                <a:gd name="T2" fmla="*/ 1 h 1"/>
                <a:gd name="T3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0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82" name="Freeform 7644"/>
            <p:cNvSpPr>
              <a:spLocks/>
            </p:cNvSpPr>
            <p:nvPr/>
          </p:nvSpPr>
          <p:spPr bwMode="auto">
            <a:xfrm>
              <a:off x="5416" y="2850"/>
              <a:ext cx="1" cy="5"/>
            </a:xfrm>
            <a:custGeom>
              <a:avLst/>
              <a:gdLst>
                <a:gd name="T0" fmla="*/ 0 w 1"/>
                <a:gd name="T1" fmla="*/ 2 h 4"/>
                <a:gd name="T2" fmla="*/ 1 w 1"/>
                <a:gd name="T3" fmla="*/ 4 h 4"/>
                <a:gd name="T4" fmla="*/ 1 w 1"/>
                <a:gd name="T5" fmla="*/ 3 h 4"/>
                <a:gd name="T6" fmla="*/ 0 w 1"/>
                <a:gd name="T7" fmla="*/ 0 h 4"/>
                <a:gd name="T8" fmla="*/ 0 w 1"/>
                <a:gd name="T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4">
                  <a:moveTo>
                    <a:pt x="0" y="2"/>
                  </a:moveTo>
                  <a:cubicBezTo>
                    <a:pt x="0" y="2"/>
                    <a:pt x="0" y="3"/>
                    <a:pt x="1" y="4"/>
                  </a:cubicBezTo>
                  <a:cubicBezTo>
                    <a:pt x="1" y="4"/>
                    <a:pt x="1" y="3"/>
                    <a:pt x="1" y="3"/>
                  </a:cubicBezTo>
                  <a:cubicBezTo>
                    <a:pt x="1" y="2"/>
                    <a:pt x="1" y="1"/>
                    <a:pt x="0" y="0"/>
                  </a:cubicBezTo>
                  <a:cubicBezTo>
                    <a:pt x="0" y="1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83" name="Freeform 7645"/>
            <p:cNvSpPr>
              <a:spLocks/>
            </p:cNvSpPr>
            <p:nvPr/>
          </p:nvSpPr>
          <p:spPr bwMode="auto">
            <a:xfrm>
              <a:off x="5412" y="2846"/>
              <a:ext cx="2" cy="4"/>
            </a:xfrm>
            <a:custGeom>
              <a:avLst/>
              <a:gdLst>
                <a:gd name="T0" fmla="*/ 2 w 2"/>
                <a:gd name="T1" fmla="*/ 0 h 3"/>
                <a:gd name="T2" fmla="*/ 2 w 2"/>
                <a:gd name="T3" fmla="*/ 0 h 3"/>
                <a:gd name="T4" fmla="*/ 2 w 2"/>
                <a:gd name="T5" fmla="*/ 0 h 3"/>
                <a:gd name="T6" fmla="*/ 0 w 2"/>
                <a:gd name="T7" fmla="*/ 2 h 3"/>
                <a:gd name="T8" fmla="*/ 1 w 2"/>
                <a:gd name="T9" fmla="*/ 3 h 3"/>
                <a:gd name="T10" fmla="*/ 2 w 2"/>
                <a:gd name="T11" fmla="*/ 1 h 3"/>
                <a:gd name="T12" fmla="*/ 2 w 2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1"/>
                    <a:pt x="1" y="1"/>
                    <a:pt x="0" y="2"/>
                  </a:cubicBezTo>
                  <a:cubicBezTo>
                    <a:pt x="0" y="2"/>
                    <a:pt x="1" y="3"/>
                    <a:pt x="1" y="3"/>
                  </a:cubicBezTo>
                  <a:cubicBezTo>
                    <a:pt x="2" y="3"/>
                    <a:pt x="2" y="2"/>
                    <a:pt x="2" y="1"/>
                  </a:cubicBezTo>
                  <a:cubicBezTo>
                    <a:pt x="2" y="1"/>
                    <a:pt x="2" y="0"/>
                    <a:pt x="2" y="0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84" name="Freeform 7646"/>
            <p:cNvSpPr>
              <a:spLocks/>
            </p:cNvSpPr>
            <p:nvPr/>
          </p:nvSpPr>
          <p:spPr bwMode="auto">
            <a:xfrm>
              <a:off x="5413" y="2858"/>
              <a:ext cx="1" cy="3"/>
            </a:xfrm>
            <a:custGeom>
              <a:avLst/>
              <a:gdLst>
                <a:gd name="T0" fmla="*/ 0 w 1"/>
                <a:gd name="T1" fmla="*/ 0 h 2"/>
                <a:gd name="T2" fmla="*/ 0 w 1"/>
                <a:gd name="T3" fmla="*/ 2 h 2"/>
                <a:gd name="T4" fmla="*/ 0 w 1"/>
                <a:gd name="T5" fmla="*/ 2 h 2"/>
                <a:gd name="T6" fmla="*/ 1 w 1"/>
                <a:gd name="T7" fmla="*/ 0 h 2"/>
                <a:gd name="T8" fmla="*/ 0 w 1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2">
                  <a:moveTo>
                    <a:pt x="0" y="0"/>
                  </a:moveTo>
                  <a:cubicBezTo>
                    <a:pt x="0" y="1"/>
                    <a:pt x="0" y="1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2"/>
                    <a:pt x="1" y="1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85" name="Freeform 7647"/>
            <p:cNvSpPr>
              <a:spLocks/>
            </p:cNvSpPr>
            <p:nvPr/>
          </p:nvSpPr>
          <p:spPr bwMode="auto">
            <a:xfrm>
              <a:off x="5417" y="2840"/>
              <a:ext cx="4" cy="5"/>
            </a:xfrm>
            <a:custGeom>
              <a:avLst/>
              <a:gdLst>
                <a:gd name="T0" fmla="*/ 0 w 3"/>
                <a:gd name="T1" fmla="*/ 2 h 4"/>
                <a:gd name="T2" fmla="*/ 1 w 3"/>
                <a:gd name="T3" fmla="*/ 4 h 4"/>
                <a:gd name="T4" fmla="*/ 3 w 3"/>
                <a:gd name="T5" fmla="*/ 3 h 4"/>
                <a:gd name="T6" fmla="*/ 2 w 3"/>
                <a:gd name="T7" fmla="*/ 0 h 4"/>
                <a:gd name="T8" fmla="*/ 0 w 3"/>
                <a:gd name="T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0" y="2"/>
                  </a:moveTo>
                  <a:cubicBezTo>
                    <a:pt x="1" y="2"/>
                    <a:pt x="1" y="3"/>
                    <a:pt x="1" y="4"/>
                  </a:cubicBezTo>
                  <a:cubicBezTo>
                    <a:pt x="2" y="3"/>
                    <a:pt x="3" y="3"/>
                    <a:pt x="3" y="3"/>
                  </a:cubicBezTo>
                  <a:cubicBezTo>
                    <a:pt x="3" y="2"/>
                    <a:pt x="2" y="1"/>
                    <a:pt x="2" y="0"/>
                  </a:cubicBezTo>
                  <a:cubicBezTo>
                    <a:pt x="1" y="1"/>
                    <a:pt x="1" y="1"/>
                    <a:pt x="0" y="2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86" name="Freeform 7648"/>
            <p:cNvSpPr>
              <a:spLocks/>
            </p:cNvSpPr>
            <p:nvPr/>
          </p:nvSpPr>
          <p:spPr bwMode="auto">
            <a:xfrm>
              <a:off x="5419" y="2845"/>
              <a:ext cx="4" cy="2"/>
            </a:xfrm>
            <a:custGeom>
              <a:avLst/>
              <a:gdLst>
                <a:gd name="T0" fmla="*/ 1 w 3"/>
                <a:gd name="T1" fmla="*/ 2 h 2"/>
                <a:gd name="T2" fmla="*/ 3 w 3"/>
                <a:gd name="T3" fmla="*/ 0 h 2"/>
                <a:gd name="T4" fmla="*/ 2 w 3"/>
                <a:gd name="T5" fmla="*/ 0 h 2"/>
                <a:gd name="T6" fmla="*/ 0 w 3"/>
                <a:gd name="T7" fmla="*/ 1 h 2"/>
                <a:gd name="T8" fmla="*/ 1 w 3"/>
                <a:gd name="T9" fmla="*/ 2 h 2"/>
                <a:gd name="T10" fmla="*/ 1 w 3"/>
                <a:gd name="T11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2">
                  <a:moveTo>
                    <a:pt x="1" y="2"/>
                  </a:moveTo>
                  <a:cubicBezTo>
                    <a:pt x="2" y="1"/>
                    <a:pt x="2" y="1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0" y="1"/>
                  </a:cubicBezTo>
                  <a:cubicBezTo>
                    <a:pt x="0" y="1"/>
                    <a:pt x="0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87" name="Freeform 7649"/>
            <p:cNvSpPr>
              <a:spLocks/>
            </p:cNvSpPr>
            <p:nvPr/>
          </p:nvSpPr>
          <p:spPr bwMode="auto">
            <a:xfrm>
              <a:off x="5407" y="2845"/>
              <a:ext cx="1" cy="2"/>
            </a:xfrm>
            <a:custGeom>
              <a:avLst/>
              <a:gdLst>
                <a:gd name="T0" fmla="*/ 0 w 1"/>
                <a:gd name="T1" fmla="*/ 1 h 2"/>
                <a:gd name="T2" fmla="*/ 1 w 1"/>
                <a:gd name="T3" fmla="*/ 2 h 2"/>
                <a:gd name="T4" fmla="*/ 1 w 1"/>
                <a:gd name="T5" fmla="*/ 0 h 2"/>
                <a:gd name="T6" fmla="*/ 0 w 1"/>
                <a:gd name="T7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2">
                  <a:moveTo>
                    <a:pt x="0" y="1"/>
                  </a:moveTo>
                  <a:cubicBezTo>
                    <a:pt x="1" y="1"/>
                    <a:pt x="1" y="1"/>
                    <a:pt x="1" y="2"/>
                  </a:cubicBezTo>
                  <a:cubicBezTo>
                    <a:pt x="1" y="1"/>
                    <a:pt x="1" y="1"/>
                    <a:pt x="1" y="0"/>
                  </a:cubicBezTo>
                  <a:cubicBezTo>
                    <a:pt x="1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88" name="Freeform 7650"/>
            <p:cNvSpPr>
              <a:spLocks/>
            </p:cNvSpPr>
            <p:nvPr/>
          </p:nvSpPr>
          <p:spPr bwMode="auto">
            <a:xfrm>
              <a:off x="5414" y="2850"/>
              <a:ext cx="2" cy="2"/>
            </a:xfrm>
            <a:custGeom>
              <a:avLst/>
              <a:gdLst>
                <a:gd name="T0" fmla="*/ 0 w 1"/>
                <a:gd name="T1" fmla="*/ 1 h 2"/>
                <a:gd name="T2" fmla="*/ 1 w 1"/>
                <a:gd name="T3" fmla="*/ 2 h 2"/>
                <a:gd name="T4" fmla="*/ 1 w 1"/>
                <a:gd name="T5" fmla="*/ 0 h 2"/>
                <a:gd name="T6" fmla="*/ 1 w 1"/>
                <a:gd name="T7" fmla="*/ 0 h 2"/>
                <a:gd name="T8" fmla="*/ 0 w 1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2">
                  <a:moveTo>
                    <a:pt x="0" y="1"/>
                  </a:moveTo>
                  <a:cubicBezTo>
                    <a:pt x="0" y="1"/>
                    <a:pt x="0" y="1"/>
                    <a:pt x="1" y="2"/>
                  </a:cubicBezTo>
                  <a:cubicBezTo>
                    <a:pt x="1" y="1"/>
                    <a:pt x="1" y="1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89" name="Freeform 7651"/>
            <p:cNvSpPr>
              <a:spLocks/>
            </p:cNvSpPr>
            <p:nvPr/>
          </p:nvSpPr>
          <p:spPr bwMode="auto">
            <a:xfrm>
              <a:off x="5411" y="2858"/>
              <a:ext cx="2" cy="3"/>
            </a:xfrm>
            <a:custGeom>
              <a:avLst/>
              <a:gdLst>
                <a:gd name="T0" fmla="*/ 1 w 2"/>
                <a:gd name="T1" fmla="*/ 1 h 2"/>
                <a:gd name="T2" fmla="*/ 2 w 2"/>
                <a:gd name="T3" fmla="*/ 2 h 2"/>
                <a:gd name="T4" fmla="*/ 2 w 2"/>
                <a:gd name="T5" fmla="*/ 0 h 2"/>
                <a:gd name="T6" fmla="*/ 0 w 2"/>
                <a:gd name="T7" fmla="*/ 0 h 2"/>
                <a:gd name="T8" fmla="*/ 1 w 2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1" y="1"/>
                  </a:moveTo>
                  <a:cubicBezTo>
                    <a:pt x="1" y="2"/>
                    <a:pt x="1" y="2"/>
                    <a:pt x="2" y="2"/>
                  </a:cubicBezTo>
                  <a:cubicBezTo>
                    <a:pt x="2" y="1"/>
                    <a:pt x="2" y="1"/>
                    <a:pt x="2" y="0"/>
                  </a:cubicBezTo>
                  <a:cubicBezTo>
                    <a:pt x="2" y="0"/>
                    <a:pt x="1" y="0"/>
                    <a:pt x="0" y="0"/>
                  </a:cubicBezTo>
                  <a:cubicBezTo>
                    <a:pt x="0" y="0"/>
                    <a:pt x="0" y="1"/>
                    <a:pt x="1" y="1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90" name="Freeform 7652"/>
            <p:cNvSpPr>
              <a:spLocks/>
            </p:cNvSpPr>
            <p:nvPr/>
          </p:nvSpPr>
          <p:spPr bwMode="auto">
            <a:xfrm>
              <a:off x="5413" y="2847"/>
              <a:ext cx="3" cy="3"/>
            </a:xfrm>
            <a:custGeom>
              <a:avLst/>
              <a:gdLst>
                <a:gd name="T0" fmla="*/ 0 w 2"/>
                <a:gd name="T1" fmla="*/ 2 h 2"/>
                <a:gd name="T2" fmla="*/ 0 w 2"/>
                <a:gd name="T3" fmla="*/ 2 h 2"/>
                <a:gd name="T4" fmla="*/ 2 w 2"/>
                <a:gd name="T5" fmla="*/ 2 h 2"/>
                <a:gd name="T6" fmla="*/ 1 w 2"/>
                <a:gd name="T7" fmla="*/ 0 h 2"/>
                <a:gd name="T8" fmla="*/ 0 w 2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1" y="2"/>
                    <a:pt x="1" y="2"/>
                    <a:pt x="2" y="2"/>
                  </a:cubicBezTo>
                  <a:cubicBezTo>
                    <a:pt x="2" y="1"/>
                    <a:pt x="2" y="1"/>
                    <a:pt x="1" y="0"/>
                  </a:cubicBezTo>
                  <a:cubicBezTo>
                    <a:pt x="1" y="1"/>
                    <a:pt x="1" y="2"/>
                    <a:pt x="0" y="2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91" name="Freeform 7653"/>
            <p:cNvSpPr>
              <a:spLocks/>
            </p:cNvSpPr>
            <p:nvPr/>
          </p:nvSpPr>
          <p:spPr bwMode="auto">
            <a:xfrm>
              <a:off x="5418" y="2844"/>
              <a:ext cx="4" cy="2"/>
            </a:xfrm>
            <a:custGeom>
              <a:avLst/>
              <a:gdLst>
                <a:gd name="T0" fmla="*/ 1 w 3"/>
                <a:gd name="T1" fmla="*/ 2 h 2"/>
                <a:gd name="T2" fmla="*/ 3 w 3"/>
                <a:gd name="T3" fmla="*/ 1 h 2"/>
                <a:gd name="T4" fmla="*/ 2 w 3"/>
                <a:gd name="T5" fmla="*/ 0 h 2"/>
                <a:gd name="T6" fmla="*/ 0 w 3"/>
                <a:gd name="T7" fmla="*/ 1 h 2"/>
                <a:gd name="T8" fmla="*/ 1 w 3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2">
                  <a:moveTo>
                    <a:pt x="1" y="2"/>
                  </a:moveTo>
                  <a:cubicBezTo>
                    <a:pt x="2" y="1"/>
                    <a:pt x="2" y="1"/>
                    <a:pt x="3" y="1"/>
                  </a:cubicBezTo>
                  <a:cubicBezTo>
                    <a:pt x="3" y="0"/>
                    <a:pt x="3" y="0"/>
                    <a:pt x="2" y="0"/>
                  </a:cubicBezTo>
                  <a:cubicBezTo>
                    <a:pt x="2" y="0"/>
                    <a:pt x="1" y="0"/>
                    <a:pt x="0" y="1"/>
                  </a:cubicBezTo>
                  <a:cubicBezTo>
                    <a:pt x="1" y="1"/>
                    <a:pt x="1" y="1"/>
                    <a:pt x="1" y="2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92" name="Freeform 7654"/>
            <p:cNvSpPr>
              <a:spLocks/>
            </p:cNvSpPr>
            <p:nvPr/>
          </p:nvSpPr>
          <p:spPr bwMode="auto">
            <a:xfrm>
              <a:off x="5421" y="2846"/>
              <a:ext cx="3" cy="3"/>
            </a:xfrm>
            <a:custGeom>
              <a:avLst/>
              <a:gdLst>
                <a:gd name="T0" fmla="*/ 0 w 3"/>
                <a:gd name="T1" fmla="*/ 1 h 2"/>
                <a:gd name="T2" fmla="*/ 0 w 3"/>
                <a:gd name="T3" fmla="*/ 2 h 2"/>
                <a:gd name="T4" fmla="*/ 0 w 3"/>
                <a:gd name="T5" fmla="*/ 2 h 2"/>
                <a:gd name="T6" fmla="*/ 3 w 3"/>
                <a:gd name="T7" fmla="*/ 1 h 2"/>
                <a:gd name="T8" fmla="*/ 2 w 3"/>
                <a:gd name="T9" fmla="*/ 0 h 2"/>
                <a:gd name="T10" fmla="*/ 0 w 3"/>
                <a:gd name="T11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2">
                  <a:moveTo>
                    <a:pt x="0" y="1"/>
                  </a:moveTo>
                  <a:cubicBezTo>
                    <a:pt x="0" y="1"/>
                    <a:pt x="0" y="1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2"/>
                    <a:pt x="2" y="1"/>
                    <a:pt x="3" y="1"/>
                  </a:cubicBezTo>
                  <a:cubicBezTo>
                    <a:pt x="3" y="1"/>
                    <a:pt x="2" y="1"/>
                    <a:pt x="2" y="0"/>
                  </a:cubicBezTo>
                  <a:cubicBezTo>
                    <a:pt x="2" y="1"/>
                    <a:pt x="1" y="1"/>
                    <a:pt x="0" y="1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93" name="Freeform 7655"/>
            <p:cNvSpPr>
              <a:spLocks/>
            </p:cNvSpPr>
            <p:nvPr/>
          </p:nvSpPr>
          <p:spPr bwMode="auto">
            <a:xfrm>
              <a:off x="5436" y="2847"/>
              <a:ext cx="3" cy="2"/>
            </a:xfrm>
            <a:custGeom>
              <a:avLst/>
              <a:gdLst>
                <a:gd name="T0" fmla="*/ 2 w 2"/>
                <a:gd name="T1" fmla="*/ 0 h 1"/>
                <a:gd name="T2" fmla="*/ 1 w 2"/>
                <a:gd name="T3" fmla="*/ 0 h 1"/>
                <a:gd name="T4" fmla="*/ 1 w 2"/>
                <a:gd name="T5" fmla="*/ 0 h 1"/>
                <a:gd name="T6" fmla="*/ 0 w 2"/>
                <a:gd name="T7" fmla="*/ 0 h 1"/>
                <a:gd name="T8" fmla="*/ 1 w 2"/>
                <a:gd name="T9" fmla="*/ 1 h 1"/>
                <a:gd name="T10" fmla="*/ 1 w 2"/>
                <a:gd name="T11" fmla="*/ 1 h 1"/>
                <a:gd name="T12" fmla="*/ 2 w 2"/>
                <a:gd name="T1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2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2" y="0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94" name="Freeform 7656"/>
            <p:cNvSpPr>
              <a:spLocks/>
            </p:cNvSpPr>
            <p:nvPr/>
          </p:nvSpPr>
          <p:spPr bwMode="auto">
            <a:xfrm>
              <a:off x="5421" y="2847"/>
              <a:ext cx="0" cy="2"/>
            </a:xfrm>
            <a:custGeom>
              <a:avLst/>
              <a:gdLst>
                <a:gd name="T0" fmla="*/ 1 h 1"/>
                <a:gd name="T1" fmla="*/ 0 h 1"/>
                <a:gd name="T2" fmla="*/ 0 h 1"/>
                <a:gd name="T3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95" name="Freeform 7657"/>
            <p:cNvSpPr>
              <a:spLocks/>
            </p:cNvSpPr>
            <p:nvPr/>
          </p:nvSpPr>
          <p:spPr bwMode="auto">
            <a:xfrm>
              <a:off x="5413" y="2850"/>
              <a:ext cx="3" cy="1"/>
            </a:xfrm>
            <a:custGeom>
              <a:avLst/>
              <a:gdLst>
                <a:gd name="T0" fmla="*/ 2 w 2"/>
                <a:gd name="T1" fmla="*/ 0 h 1"/>
                <a:gd name="T2" fmla="*/ 0 w 2"/>
                <a:gd name="T3" fmla="*/ 0 h 1"/>
                <a:gd name="T4" fmla="*/ 1 w 2"/>
                <a:gd name="T5" fmla="*/ 1 h 1"/>
                <a:gd name="T6" fmla="*/ 2 w 2"/>
                <a:gd name="T7" fmla="*/ 0 h 1"/>
                <a:gd name="T8" fmla="*/ 2 w 2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1" y="0"/>
                    <a:pt x="1" y="0"/>
                    <a:pt x="0" y="0"/>
                  </a:cubicBezTo>
                  <a:cubicBezTo>
                    <a:pt x="1" y="0"/>
                    <a:pt x="1" y="0"/>
                    <a:pt x="1" y="1"/>
                  </a:cubicBezTo>
                  <a:cubicBezTo>
                    <a:pt x="1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96" name="Freeform 7658"/>
            <p:cNvSpPr>
              <a:spLocks/>
            </p:cNvSpPr>
            <p:nvPr/>
          </p:nvSpPr>
          <p:spPr bwMode="auto">
            <a:xfrm>
              <a:off x="5428" y="2854"/>
              <a:ext cx="2" cy="2"/>
            </a:xfrm>
            <a:custGeom>
              <a:avLst/>
              <a:gdLst>
                <a:gd name="T0" fmla="*/ 0 w 2"/>
                <a:gd name="T1" fmla="*/ 2 h 2"/>
                <a:gd name="T2" fmla="*/ 2 w 2"/>
                <a:gd name="T3" fmla="*/ 1 h 2"/>
                <a:gd name="T4" fmla="*/ 2 w 2"/>
                <a:gd name="T5" fmla="*/ 0 h 2"/>
                <a:gd name="T6" fmla="*/ 0 w 2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cubicBezTo>
                    <a:pt x="1" y="2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1"/>
                    <a:pt x="1" y="1"/>
                    <a:pt x="0" y="2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97" name="Freeform 7659"/>
            <p:cNvSpPr>
              <a:spLocks/>
            </p:cNvSpPr>
            <p:nvPr/>
          </p:nvSpPr>
          <p:spPr bwMode="auto">
            <a:xfrm>
              <a:off x="5423" y="2852"/>
              <a:ext cx="5" cy="9"/>
            </a:xfrm>
            <a:custGeom>
              <a:avLst/>
              <a:gdLst>
                <a:gd name="T0" fmla="*/ 1 w 4"/>
                <a:gd name="T1" fmla="*/ 2 h 7"/>
                <a:gd name="T2" fmla="*/ 1 w 4"/>
                <a:gd name="T3" fmla="*/ 5 h 7"/>
                <a:gd name="T4" fmla="*/ 1 w 4"/>
                <a:gd name="T5" fmla="*/ 4 h 7"/>
                <a:gd name="T6" fmla="*/ 0 w 4"/>
                <a:gd name="T7" fmla="*/ 7 h 7"/>
                <a:gd name="T8" fmla="*/ 4 w 4"/>
                <a:gd name="T9" fmla="*/ 4 h 7"/>
                <a:gd name="T10" fmla="*/ 2 w 4"/>
                <a:gd name="T11" fmla="*/ 0 h 7"/>
                <a:gd name="T12" fmla="*/ 1 w 4"/>
                <a:gd name="T13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7">
                  <a:moveTo>
                    <a:pt x="1" y="2"/>
                  </a:moveTo>
                  <a:cubicBezTo>
                    <a:pt x="1" y="4"/>
                    <a:pt x="1" y="5"/>
                    <a:pt x="1" y="5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6"/>
                    <a:pt x="0" y="7"/>
                    <a:pt x="0" y="7"/>
                  </a:cubicBezTo>
                  <a:cubicBezTo>
                    <a:pt x="1" y="6"/>
                    <a:pt x="2" y="5"/>
                    <a:pt x="4" y="4"/>
                  </a:cubicBezTo>
                  <a:cubicBezTo>
                    <a:pt x="3" y="2"/>
                    <a:pt x="3" y="1"/>
                    <a:pt x="2" y="0"/>
                  </a:cubicBezTo>
                  <a:cubicBezTo>
                    <a:pt x="2" y="0"/>
                    <a:pt x="1" y="1"/>
                    <a:pt x="1" y="2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98" name="Freeform 7660"/>
            <p:cNvSpPr>
              <a:spLocks/>
            </p:cNvSpPr>
            <p:nvPr/>
          </p:nvSpPr>
          <p:spPr bwMode="auto">
            <a:xfrm>
              <a:off x="5447" y="2851"/>
              <a:ext cx="2" cy="1"/>
            </a:xfrm>
            <a:custGeom>
              <a:avLst/>
              <a:gdLst>
                <a:gd name="T0" fmla="*/ 1 w 1"/>
                <a:gd name="T1" fmla="*/ 1 h 1"/>
                <a:gd name="T2" fmla="*/ 1 w 1"/>
                <a:gd name="T3" fmla="*/ 1 h 1"/>
                <a:gd name="T4" fmla="*/ 0 w 1"/>
                <a:gd name="T5" fmla="*/ 0 h 1"/>
                <a:gd name="T6" fmla="*/ 0 w 1"/>
                <a:gd name="T7" fmla="*/ 0 h 1"/>
                <a:gd name="T8" fmla="*/ 1 w 1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0" y="1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1" y="1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99" name="Freeform 7661"/>
            <p:cNvSpPr>
              <a:spLocks/>
            </p:cNvSpPr>
            <p:nvPr/>
          </p:nvSpPr>
          <p:spPr bwMode="auto">
            <a:xfrm>
              <a:off x="5423" y="2858"/>
              <a:ext cx="8" cy="16"/>
            </a:xfrm>
            <a:custGeom>
              <a:avLst/>
              <a:gdLst>
                <a:gd name="T0" fmla="*/ 7 w 7"/>
                <a:gd name="T1" fmla="*/ 0 h 13"/>
                <a:gd name="T2" fmla="*/ 0 w 7"/>
                <a:gd name="T3" fmla="*/ 10 h 13"/>
                <a:gd name="T4" fmla="*/ 2 w 7"/>
                <a:gd name="T5" fmla="*/ 13 h 13"/>
                <a:gd name="T6" fmla="*/ 7 w 7"/>
                <a:gd name="T7" fmla="*/ 13 h 13"/>
                <a:gd name="T8" fmla="*/ 7 w 7"/>
                <a:gd name="T9" fmla="*/ 4 h 13"/>
                <a:gd name="T10" fmla="*/ 7 w 7"/>
                <a:gd name="T11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13">
                  <a:moveTo>
                    <a:pt x="7" y="0"/>
                  </a:moveTo>
                  <a:cubicBezTo>
                    <a:pt x="4" y="3"/>
                    <a:pt x="1" y="7"/>
                    <a:pt x="0" y="10"/>
                  </a:cubicBezTo>
                  <a:cubicBezTo>
                    <a:pt x="1" y="12"/>
                    <a:pt x="2" y="13"/>
                    <a:pt x="2" y="13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10"/>
                    <a:pt x="7" y="7"/>
                    <a:pt x="7" y="4"/>
                  </a:cubicBezTo>
                  <a:cubicBezTo>
                    <a:pt x="7" y="3"/>
                    <a:pt x="7" y="2"/>
                    <a:pt x="7" y="0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00" name="Freeform 7662"/>
            <p:cNvSpPr>
              <a:spLocks/>
            </p:cNvSpPr>
            <p:nvPr/>
          </p:nvSpPr>
          <p:spPr bwMode="auto">
            <a:xfrm>
              <a:off x="5414" y="2846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01" name="Freeform 7663"/>
            <p:cNvSpPr>
              <a:spLocks/>
            </p:cNvSpPr>
            <p:nvPr/>
          </p:nvSpPr>
          <p:spPr bwMode="auto">
            <a:xfrm>
              <a:off x="5430" y="2852"/>
              <a:ext cx="1" cy="3"/>
            </a:xfrm>
            <a:custGeom>
              <a:avLst/>
              <a:gdLst>
                <a:gd name="T0" fmla="*/ 0 w 1"/>
                <a:gd name="T1" fmla="*/ 1 h 2"/>
                <a:gd name="T2" fmla="*/ 0 w 1"/>
                <a:gd name="T3" fmla="*/ 2 h 2"/>
                <a:gd name="T4" fmla="*/ 1 w 1"/>
                <a:gd name="T5" fmla="*/ 2 h 2"/>
                <a:gd name="T6" fmla="*/ 1 w 1"/>
                <a:gd name="T7" fmla="*/ 0 h 2"/>
                <a:gd name="T8" fmla="*/ 0 w 1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2">
                  <a:moveTo>
                    <a:pt x="0" y="1"/>
                  </a:moveTo>
                  <a:cubicBezTo>
                    <a:pt x="0" y="1"/>
                    <a:pt x="0" y="1"/>
                    <a:pt x="0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1" y="0"/>
                    <a:pt x="1" y="0"/>
                  </a:cubicBezTo>
                  <a:cubicBezTo>
                    <a:pt x="1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02" name="Freeform 7664"/>
            <p:cNvSpPr>
              <a:spLocks/>
            </p:cNvSpPr>
            <p:nvPr/>
          </p:nvSpPr>
          <p:spPr bwMode="auto">
            <a:xfrm>
              <a:off x="5431" y="2858"/>
              <a:ext cx="2" cy="5"/>
            </a:xfrm>
            <a:custGeom>
              <a:avLst/>
              <a:gdLst>
                <a:gd name="T0" fmla="*/ 0 w 1"/>
                <a:gd name="T1" fmla="*/ 0 h 4"/>
                <a:gd name="T2" fmla="*/ 0 w 1"/>
                <a:gd name="T3" fmla="*/ 0 h 4"/>
                <a:gd name="T4" fmla="*/ 0 w 1"/>
                <a:gd name="T5" fmla="*/ 4 h 4"/>
                <a:gd name="T6" fmla="*/ 1 w 1"/>
                <a:gd name="T7" fmla="*/ 1 h 4"/>
                <a:gd name="T8" fmla="*/ 0 w 1"/>
                <a:gd name="T9" fmla="*/ 2 h 4"/>
                <a:gd name="T10" fmla="*/ 0 w 1"/>
                <a:gd name="T1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" h="4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0" y="3"/>
                    <a:pt x="0" y="4"/>
                  </a:cubicBezTo>
                  <a:cubicBezTo>
                    <a:pt x="1" y="3"/>
                    <a:pt x="1" y="2"/>
                    <a:pt x="1" y="1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1"/>
                    <a:pt x="0" y="0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03" name="Oval 7665"/>
            <p:cNvSpPr>
              <a:spLocks noChangeArrowheads="1"/>
            </p:cNvSpPr>
            <p:nvPr/>
          </p:nvSpPr>
          <p:spPr bwMode="auto">
            <a:xfrm>
              <a:off x="5414" y="2846"/>
              <a:ext cx="1" cy="1"/>
            </a:xfrm>
            <a:prstGeom prst="ellipse">
              <a:avLst/>
            </a:pr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04" name="Freeform 7666"/>
            <p:cNvSpPr>
              <a:spLocks/>
            </p:cNvSpPr>
            <p:nvPr/>
          </p:nvSpPr>
          <p:spPr bwMode="auto">
            <a:xfrm>
              <a:off x="5407" y="283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05" name="Freeform 7667"/>
            <p:cNvSpPr>
              <a:spLocks/>
            </p:cNvSpPr>
            <p:nvPr/>
          </p:nvSpPr>
          <p:spPr bwMode="auto">
            <a:xfrm>
              <a:off x="5417" y="2850"/>
              <a:ext cx="14" cy="21"/>
            </a:xfrm>
            <a:custGeom>
              <a:avLst/>
              <a:gdLst>
                <a:gd name="T0" fmla="*/ 9 w 12"/>
                <a:gd name="T1" fmla="*/ 5 h 17"/>
                <a:gd name="T2" fmla="*/ 9 w 12"/>
                <a:gd name="T3" fmla="*/ 6 h 17"/>
                <a:gd name="T4" fmla="*/ 9 w 12"/>
                <a:gd name="T5" fmla="*/ 6 h 17"/>
                <a:gd name="T6" fmla="*/ 5 w 12"/>
                <a:gd name="T7" fmla="*/ 9 h 17"/>
                <a:gd name="T8" fmla="*/ 6 w 12"/>
                <a:gd name="T9" fmla="*/ 6 h 17"/>
                <a:gd name="T10" fmla="*/ 5 w 12"/>
                <a:gd name="T11" fmla="*/ 4 h 17"/>
                <a:gd name="T12" fmla="*/ 2 w 12"/>
                <a:gd name="T13" fmla="*/ 0 h 17"/>
                <a:gd name="T14" fmla="*/ 0 w 12"/>
                <a:gd name="T15" fmla="*/ 3 h 17"/>
                <a:gd name="T16" fmla="*/ 1 w 12"/>
                <a:gd name="T17" fmla="*/ 7 h 17"/>
                <a:gd name="T18" fmla="*/ 2 w 12"/>
                <a:gd name="T19" fmla="*/ 10 h 17"/>
                <a:gd name="T20" fmla="*/ 2 w 12"/>
                <a:gd name="T21" fmla="*/ 9 h 17"/>
                <a:gd name="T22" fmla="*/ 3 w 12"/>
                <a:gd name="T23" fmla="*/ 14 h 17"/>
                <a:gd name="T24" fmla="*/ 5 w 12"/>
                <a:gd name="T25" fmla="*/ 17 h 17"/>
                <a:gd name="T26" fmla="*/ 12 w 12"/>
                <a:gd name="T27" fmla="*/ 7 h 17"/>
                <a:gd name="T28" fmla="*/ 11 w 12"/>
                <a:gd name="T29" fmla="*/ 4 h 17"/>
                <a:gd name="T30" fmla="*/ 9 w 12"/>
                <a:gd name="T31" fmla="*/ 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" h="17">
                  <a:moveTo>
                    <a:pt x="9" y="5"/>
                  </a:move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7" y="7"/>
                    <a:pt x="6" y="8"/>
                    <a:pt x="5" y="9"/>
                  </a:cubicBezTo>
                  <a:cubicBezTo>
                    <a:pt x="5" y="9"/>
                    <a:pt x="5" y="8"/>
                    <a:pt x="6" y="6"/>
                  </a:cubicBezTo>
                  <a:cubicBezTo>
                    <a:pt x="5" y="5"/>
                    <a:pt x="5" y="5"/>
                    <a:pt x="5" y="4"/>
                  </a:cubicBezTo>
                  <a:cubicBezTo>
                    <a:pt x="4" y="3"/>
                    <a:pt x="3" y="1"/>
                    <a:pt x="2" y="0"/>
                  </a:cubicBezTo>
                  <a:cubicBezTo>
                    <a:pt x="1" y="1"/>
                    <a:pt x="1" y="2"/>
                    <a:pt x="0" y="3"/>
                  </a:cubicBezTo>
                  <a:cubicBezTo>
                    <a:pt x="1" y="4"/>
                    <a:pt x="1" y="6"/>
                    <a:pt x="1" y="7"/>
                  </a:cubicBezTo>
                  <a:cubicBezTo>
                    <a:pt x="2" y="8"/>
                    <a:pt x="2" y="10"/>
                    <a:pt x="2" y="10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11"/>
                    <a:pt x="2" y="12"/>
                    <a:pt x="3" y="14"/>
                  </a:cubicBezTo>
                  <a:cubicBezTo>
                    <a:pt x="4" y="15"/>
                    <a:pt x="4" y="16"/>
                    <a:pt x="5" y="17"/>
                  </a:cubicBezTo>
                  <a:cubicBezTo>
                    <a:pt x="6" y="14"/>
                    <a:pt x="9" y="10"/>
                    <a:pt x="12" y="7"/>
                  </a:cubicBezTo>
                  <a:cubicBezTo>
                    <a:pt x="12" y="6"/>
                    <a:pt x="12" y="5"/>
                    <a:pt x="11" y="4"/>
                  </a:cubicBezTo>
                  <a:cubicBezTo>
                    <a:pt x="11" y="4"/>
                    <a:pt x="10" y="5"/>
                    <a:pt x="9" y="5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06" name="Freeform 7668"/>
            <p:cNvSpPr>
              <a:spLocks/>
            </p:cNvSpPr>
            <p:nvPr/>
          </p:nvSpPr>
          <p:spPr bwMode="auto">
            <a:xfrm>
              <a:off x="5424" y="2849"/>
              <a:ext cx="1" cy="6"/>
            </a:xfrm>
            <a:custGeom>
              <a:avLst/>
              <a:gdLst>
                <a:gd name="T0" fmla="*/ 0 w 1"/>
                <a:gd name="T1" fmla="*/ 5 h 5"/>
                <a:gd name="T2" fmla="*/ 1 w 1"/>
                <a:gd name="T3" fmla="*/ 3 h 5"/>
                <a:gd name="T4" fmla="*/ 0 w 1"/>
                <a:gd name="T5" fmla="*/ 0 h 5"/>
                <a:gd name="T6" fmla="*/ 0 w 1"/>
                <a:gd name="T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5">
                  <a:moveTo>
                    <a:pt x="0" y="5"/>
                  </a:moveTo>
                  <a:cubicBezTo>
                    <a:pt x="0" y="4"/>
                    <a:pt x="1" y="3"/>
                    <a:pt x="1" y="3"/>
                  </a:cubicBezTo>
                  <a:cubicBezTo>
                    <a:pt x="1" y="2"/>
                    <a:pt x="1" y="1"/>
                    <a:pt x="0" y="0"/>
                  </a:cubicBezTo>
                  <a:cubicBezTo>
                    <a:pt x="0" y="2"/>
                    <a:pt x="0" y="4"/>
                    <a:pt x="0" y="5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07" name="Freeform 7669"/>
            <p:cNvSpPr>
              <a:spLocks/>
            </p:cNvSpPr>
            <p:nvPr/>
          </p:nvSpPr>
          <p:spPr bwMode="auto">
            <a:xfrm>
              <a:off x="5430" y="2855"/>
              <a:ext cx="1" cy="3"/>
            </a:xfrm>
            <a:custGeom>
              <a:avLst/>
              <a:gdLst>
                <a:gd name="T0" fmla="*/ 1 w 1"/>
                <a:gd name="T1" fmla="*/ 0 h 3"/>
                <a:gd name="T2" fmla="*/ 0 w 1"/>
                <a:gd name="T3" fmla="*/ 0 h 3"/>
                <a:gd name="T4" fmla="*/ 1 w 1"/>
                <a:gd name="T5" fmla="*/ 3 h 3"/>
                <a:gd name="T6" fmla="*/ 1 w 1"/>
                <a:gd name="T7" fmla="*/ 3 h 3"/>
                <a:gd name="T8" fmla="*/ 1 w 1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3">
                  <a:moveTo>
                    <a:pt x="1" y="0"/>
                  </a:moveTo>
                  <a:cubicBezTo>
                    <a:pt x="1" y="0"/>
                    <a:pt x="1" y="0"/>
                    <a:pt x="0" y="0"/>
                  </a:cubicBezTo>
                  <a:cubicBezTo>
                    <a:pt x="1" y="1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2"/>
                    <a:pt x="1" y="1"/>
                    <a:pt x="1" y="0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08" name="Freeform 7670"/>
            <p:cNvSpPr>
              <a:spLocks/>
            </p:cNvSpPr>
            <p:nvPr/>
          </p:nvSpPr>
          <p:spPr bwMode="auto">
            <a:xfrm>
              <a:off x="5414" y="2846"/>
              <a:ext cx="2" cy="1"/>
            </a:xfrm>
            <a:custGeom>
              <a:avLst/>
              <a:gdLst>
                <a:gd name="T0" fmla="*/ 1 w 1"/>
                <a:gd name="T1" fmla="*/ 1 h 1"/>
                <a:gd name="T2" fmla="*/ 0 w 1"/>
                <a:gd name="T3" fmla="*/ 0 h 1"/>
                <a:gd name="T4" fmla="*/ 0 w 1"/>
                <a:gd name="T5" fmla="*/ 0 h 1"/>
                <a:gd name="T6" fmla="*/ 0 w 1"/>
                <a:gd name="T7" fmla="*/ 1 h 1"/>
                <a:gd name="T8" fmla="*/ 1 w 1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09" name="Freeform 7671"/>
            <p:cNvSpPr>
              <a:spLocks/>
            </p:cNvSpPr>
            <p:nvPr/>
          </p:nvSpPr>
          <p:spPr bwMode="auto">
            <a:xfrm>
              <a:off x="5417" y="2849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10" name="Freeform 7672"/>
            <p:cNvSpPr>
              <a:spLocks/>
            </p:cNvSpPr>
            <p:nvPr/>
          </p:nvSpPr>
          <p:spPr bwMode="auto">
            <a:xfrm>
              <a:off x="5416" y="2849"/>
              <a:ext cx="3" cy="5"/>
            </a:xfrm>
            <a:custGeom>
              <a:avLst/>
              <a:gdLst>
                <a:gd name="T0" fmla="*/ 0 w 3"/>
                <a:gd name="T1" fmla="*/ 1 h 4"/>
                <a:gd name="T2" fmla="*/ 0 w 3"/>
                <a:gd name="T3" fmla="*/ 1 h 4"/>
                <a:gd name="T4" fmla="*/ 1 w 3"/>
                <a:gd name="T5" fmla="*/ 4 h 4"/>
                <a:gd name="T6" fmla="*/ 3 w 3"/>
                <a:gd name="T7" fmla="*/ 1 h 4"/>
                <a:gd name="T8" fmla="*/ 2 w 3"/>
                <a:gd name="T9" fmla="*/ 0 h 4"/>
                <a:gd name="T10" fmla="*/ 0 w 3"/>
                <a:gd name="T11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4"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1" y="2"/>
                    <a:pt x="1" y="3"/>
                    <a:pt x="1" y="4"/>
                  </a:cubicBezTo>
                  <a:cubicBezTo>
                    <a:pt x="2" y="3"/>
                    <a:pt x="2" y="2"/>
                    <a:pt x="3" y="1"/>
                  </a:cubicBezTo>
                  <a:cubicBezTo>
                    <a:pt x="2" y="1"/>
                    <a:pt x="2" y="1"/>
                    <a:pt x="2" y="0"/>
                  </a:cubicBezTo>
                  <a:cubicBezTo>
                    <a:pt x="1" y="1"/>
                    <a:pt x="1" y="1"/>
                    <a:pt x="0" y="1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11" name="Freeform 7673"/>
            <p:cNvSpPr>
              <a:spLocks/>
            </p:cNvSpPr>
            <p:nvPr/>
          </p:nvSpPr>
          <p:spPr bwMode="auto">
            <a:xfrm>
              <a:off x="5414" y="2847"/>
              <a:ext cx="3" cy="3"/>
            </a:xfrm>
            <a:custGeom>
              <a:avLst/>
              <a:gdLst>
                <a:gd name="T0" fmla="*/ 1 w 2"/>
                <a:gd name="T1" fmla="*/ 0 h 2"/>
                <a:gd name="T2" fmla="*/ 0 w 2"/>
                <a:gd name="T3" fmla="*/ 0 h 2"/>
                <a:gd name="T4" fmla="*/ 1 w 2"/>
                <a:gd name="T5" fmla="*/ 2 h 2"/>
                <a:gd name="T6" fmla="*/ 2 w 2"/>
                <a:gd name="T7" fmla="*/ 1 h 2"/>
                <a:gd name="T8" fmla="*/ 2 w 2"/>
                <a:gd name="T9" fmla="*/ 1 h 2"/>
                <a:gd name="T10" fmla="*/ 1 w 2"/>
                <a:gd name="T11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2">
                  <a:moveTo>
                    <a:pt x="1" y="0"/>
                  </a:moveTo>
                  <a:cubicBezTo>
                    <a:pt x="1" y="0"/>
                    <a:pt x="1" y="0"/>
                    <a:pt x="0" y="0"/>
                  </a:cubicBezTo>
                  <a:cubicBezTo>
                    <a:pt x="1" y="1"/>
                    <a:pt x="1" y="1"/>
                    <a:pt x="1" y="2"/>
                  </a:cubicBezTo>
                  <a:cubicBezTo>
                    <a:pt x="1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12" name="Freeform 7674"/>
            <p:cNvSpPr>
              <a:spLocks/>
            </p:cNvSpPr>
            <p:nvPr/>
          </p:nvSpPr>
          <p:spPr bwMode="auto">
            <a:xfrm>
              <a:off x="5416" y="2850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13" name="Freeform 7675"/>
            <p:cNvSpPr>
              <a:spLocks/>
            </p:cNvSpPr>
            <p:nvPr/>
          </p:nvSpPr>
          <p:spPr bwMode="auto">
            <a:xfrm>
              <a:off x="5416" y="2849"/>
              <a:ext cx="2" cy="1"/>
            </a:xfrm>
            <a:custGeom>
              <a:avLst/>
              <a:gdLst>
                <a:gd name="T0" fmla="*/ 1 w 2"/>
                <a:gd name="T1" fmla="*/ 0 h 1"/>
                <a:gd name="T2" fmla="*/ 0 w 2"/>
                <a:gd name="T3" fmla="*/ 1 h 1"/>
                <a:gd name="T4" fmla="*/ 2 w 2"/>
                <a:gd name="T5" fmla="*/ 0 h 1"/>
                <a:gd name="T6" fmla="*/ 1 w 2"/>
                <a:gd name="T7" fmla="*/ 0 h 1"/>
                <a:gd name="T8" fmla="*/ 1 w 2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1">
                  <a:moveTo>
                    <a:pt x="1" y="0"/>
                  </a:moveTo>
                  <a:cubicBezTo>
                    <a:pt x="1" y="0"/>
                    <a:pt x="1" y="1"/>
                    <a:pt x="0" y="1"/>
                  </a:cubicBezTo>
                  <a:cubicBezTo>
                    <a:pt x="1" y="1"/>
                    <a:pt x="1" y="1"/>
                    <a:pt x="2" y="0"/>
                  </a:cubicBezTo>
                  <a:cubicBezTo>
                    <a:pt x="2" y="0"/>
                    <a:pt x="2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14" name="Freeform 7676"/>
            <p:cNvSpPr>
              <a:spLocks/>
            </p:cNvSpPr>
            <p:nvPr/>
          </p:nvSpPr>
          <p:spPr bwMode="auto">
            <a:xfrm>
              <a:off x="5416" y="2849"/>
              <a:ext cx="1" cy="1"/>
            </a:xfrm>
            <a:custGeom>
              <a:avLst/>
              <a:gdLst>
                <a:gd name="T0" fmla="*/ 0 w 1"/>
                <a:gd name="T1" fmla="*/ 1 h 1"/>
                <a:gd name="T2" fmla="*/ 0 w 1"/>
                <a:gd name="T3" fmla="*/ 1 h 1"/>
                <a:gd name="T4" fmla="*/ 0 w 1"/>
                <a:gd name="T5" fmla="*/ 1 h 1"/>
                <a:gd name="T6" fmla="*/ 1 w 1"/>
                <a:gd name="T7" fmla="*/ 0 h 1"/>
                <a:gd name="T8" fmla="*/ 0 w 1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0"/>
                    <a:pt x="1" y="0"/>
                  </a:cubicBezTo>
                  <a:cubicBezTo>
                    <a:pt x="1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15" name="Freeform 7677"/>
            <p:cNvSpPr>
              <a:spLocks/>
            </p:cNvSpPr>
            <p:nvPr/>
          </p:nvSpPr>
          <p:spPr bwMode="auto">
            <a:xfrm>
              <a:off x="5206" y="2806"/>
              <a:ext cx="67" cy="68"/>
            </a:xfrm>
            <a:custGeom>
              <a:avLst/>
              <a:gdLst>
                <a:gd name="T0" fmla="*/ 19 w 55"/>
                <a:gd name="T1" fmla="*/ 56 h 56"/>
                <a:gd name="T2" fmla="*/ 55 w 55"/>
                <a:gd name="T3" fmla="*/ 2 h 56"/>
                <a:gd name="T4" fmla="*/ 14 w 55"/>
                <a:gd name="T5" fmla="*/ 46 h 56"/>
                <a:gd name="T6" fmla="*/ 17 w 55"/>
                <a:gd name="T7" fmla="*/ 9 h 56"/>
                <a:gd name="T8" fmla="*/ 12 w 55"/>
                <a:gd name="T9" fmla="*/ 56 h 56"/>
                <a:gd name="T10" fmla="*/ 19 w 55"/>
                <a:gd name="T11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5" h="56">
                  <a:moveTo>
                    <a:pt x="19" y="56"/>
                  </a:moveTo>
                  <a:cubicBezTo>
                    <a:pt x="19" y="56"/>
                    <a:pt x="20" y="9"/>
                    <a:pt x="55" y="2"/>
                  </a:cubicBezTo>
                  <a:cubicBezTo>
                    <a:pt x="55" y="2"/>
                    <a:pt x="28" y="0"/>
                    <a:pt x="14" y="46"/>
                  </a:cubicBezTo>
                  <a:cubicBezTo>
                    <a:pt x="14" y="46"/>
                    <a:pt x="3" y="16"/>
                    <a:pt x="17" y="9"/>
                  </a:cubicBezTo>
                  <a:cubicBezTo>
                    <a:pt x="17" y="9"/>
                    <a:pt x="0" y="8"/>
                    <a:pt x="12" y="56"/>
                  </a:cubicBezTo>
                  <a:lnTo>
                    <a:pt x="19" y="56"/>
                  </a:ln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16" name="Freeform 7678"/>
            <p:cNvSpPr>
              <a:spLocks/>
            </p:cNvSpPr>
            <p:nvPr/>
          </p:nvSpPr>
          <p:spPr bwMode="auto">
            <a:xfrm>
              <a:off x="5251" y="2819"/>
              <a:ext cx="62" cy="55"/>
            </a:xfrm>
            <a:custGeom>
              <a:avLst/>
              <a:gdLst>
                <a:gd name="T0" fmla="*/ 27 w 51"/>
                <a:gd name="T1" fmla="*/ 45 h 45"/>
                <a:gd name="T2" fmla="*/ 0 w 51"/>
                <a:gd name="T3" fmla="*/ 34 h 45"/>
                <a:gd name="T4" fmla="*/ 26 w 51"/>
                <a:gd name="T5" fmla="*/ 34 h 45"/>
                <a:gd name="T6" fmla="*/ 8 w 51"/>
                <a:gd name="T7" fmla="*/ 37 h 45"/>
                <a:gd name="T8" fmla="*/ 26 w 51"/>
                <a:gd name="T9" fmla="*/ 21 h 45"/>
                <a:gd name="T10" fmla="*/ 41 w 51"/>
                <a:gd name="T11" fmla="*/ 4 h 45"/>
                <a:gd name="T12" fmla="*/ 42 w 51"/>
                <a:gd name="T13" fmla="*/ 5 h 45"/>
                <a:gd name="T14" fmla="*/ 41 w 51"/>
                <a:gd name="T15" fmla="*/ 5 h 45"/>
                <a:gd name="T16" fmla="*/ 33 w 51"/>
                <a:gd name="T17" fmla="*/ 22 h 45"/>
                <a:gd name="T18" fmla="*/ 51 w 51"/>
                <a:gd name="T19" fmla="*/ 30 h 45"/>
                <a:gd name="T20" fmla="*/ 35 w 51"/>
                <a:gd name="T21" fmla="*/ 45 h 45"/>
                <a:gd name="T22" fmla="*/ 27 w 51"/>
                <a:gd name="T23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1" h="45">
                  <a:moveTo>
                    <a:pt x="27" y="45"/>
                  </a:moveTo>
                  <a:cubicBezTo>
                    <a:pt x="27" y="45"/>
                    <a:pt x="19" y="20"/>
                    <a:pt x="0" y="34"/>
                  </a:cubicBezTo>
                  <a:cubicBezTo>
                    <a:pt x="0" y="34"/>
                    <a:pt x="13" y="19"/>
                    <a:pt x="26" y="34"/>
                  </a:cubicBezTo>
                  <a:cubicBezTo>
                    <a:pt x="26" y="34"/>
                    <a:pt x="20" y="4"/>
                    <a:pt x="8" y="37"/>
                  </a:cubicBezTo>
                  <a:cubicBezTo>
                    <a:pt x="8" y="37"/>
                    <a:pt x="14" y="10"/>
                    <a:pt x="26" y="21"/>
                  </a:cubicBezTo>
                  <a:cubicBezTo>
                    <a:pt x="26" y="21"/>
                    <a:pt x="24" y="0"/>
                    <a:pt x="41" y="4"/>
                  </a:cubicBezTo>
                  <a:cubicBezTo>
                    <a:pt x="42" y="4"/>
                    <a:pt x="42" y="5"/>
                    <a:pt x="42" y="5"/>
                  </a:cubicBezTo>
                  <a:cubicBezTo>
                    <a:pt x="41" y="5"/>
                    <a:pt x="41" y="5"/>
                    <a:pt x="41" y="5"/>
                  </a:cubicBezTo>
                  <a:cubicBezTo>
                    <a:pt x="41" y="5"/>
                    <a:pt x="25" y="4"/>
                    <a:pt x="33" y="22"/>
                  </a:cubicBezTo>
                  <a:cubicBezTo>
                    <a:pt x="33" y="22"/>
                    <a:pt x="44" y="9"/>
                    <a:pt x="51" y="30"/>
                  </a:cubicBezTo>
                  <a:cubicBezTo>
                    <a:pt x="51" y="30"/>
                    <a:pt x="35" y="0"/>
                    <a:pt x="35" y="45"/>
                  </a:cubicBezTo>
                  <a:lnTo>
                    <a:pt x="27" y="45"/>
                  </a:lnTo>
                  <a:close/>
                </a:path>
              </a:pathLst>
            </a:custGeom>
            <a:solidFill>
              <a:srgbClr val="4DA0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17" name="Freeform 7679"/>
            <p:cNvSpPr>
              <a:spLocks/>
            </p:cNvSpPr>
            <p:nvPr/>
          </p:nvSpPr>
          <p:spPr bwMode="auto">
            <a:xfrm>
              <a:off x="5215" y="2778"/>
              <a:ext cx="58" cy="96"/>
            </a:xfrm>
            <a:custGeom>
              <a:avLst/>
              <a:gdLst>
                <a:gd name="T0" fmla="*/ 35 w 48"/>
                <a:gd name="T1" fmla="*/ 79 h 79"/>
                <a:gd name="T2" fmla="*/ 0 w 48"/>
                <a:gd name="T3" fmla="*/ 10 h 79"/>
                <a:gd name="T4" fmla="*/ 34 w 48"/>
                <a:gd name="T5" fmla="*/ 52 h 79"/>
                <a:gd name="T6" fmla="*/ 48 w 48"/>
                <a:gd name="T7" fmla="*/ 0 h 79"/>
                <a:gd name="T8" fmla="*/ 41 w 48"/>
                <a:gd name="T9" fmla="*/ 79 h 79"/>
                <a:gd name="T10" fmla="*/ 35 w 48"/>
                <a:gd name="T11" fmla="*/ 7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8" h="79">
                  <a:moveTo>
                    <a:pt x="35" y="79"/>
                  </a:moveTo>
                  <a:cubicBezTo>
                    <a:pt x="35" y="79"/>
                    <a:pt x="25" y="8"/>
                    <a:pt x="0" y="10"/>
                  </a:cubicBezTo>
                  <a:cubicBezTo>
                    <a:pt x="0" y="10"/>
                    <a:pt x="20" y="4"/>
                    <a:pt x="34" y="52"/>
                  </a:cubicBezTo>
                  <a:cubicBezTo>
                    <a:pt x="34" y="52"/>
                    <a:pt x="42" y="7"/>
                    <a:pt x="48" y="0"/>
                  </a:cubicBezTo>
                  <a:cubicBezTo>
                    <a:pt x="48" y="0"/>
                    <a:pt x="31" y="54"/>
                    <a:pt x="41" y="79"/>
                  </a:cubicBezTo>
                  <a:lnTo>
                    <a:pt x="35" y="79"/>
                  </a:ln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18" name="Freeform 7680"/>
            <p:cNvSpPr>
              <a:spLocks/>
            </p:cNvSpPr>
            <p:nvPr/>
          </p:nvSpPr>
          <p:spPr bwMode="auto">
            <a:xfrm>
              <a:off x="5211" y="2788"/>
              <a:ext cx="67" cy="86"/>
            </a:xfrm>
            <a:custGeom>
              <a:avLst/>
              <a:gdLst>
                <a:gd name="T0" fmla="*/ 19 w 55"/>
                <a:gd name="T1" fmla="*/ 71 h 71"/>
                <a:gd name="T2" fmla="*/ 55 w 55"/>
                <a:gd name="T3" fmla="*/ 17 h 71"/>
                <a:gd name="T4" fmla="*/ 14 w 55"/>
                <a:gd name="T5" fmla="*/ 61 h 71"/>
                <a:gd name="T6" fmla="*/ 14 w 55"/>
                <a:gd name="T7" fmla="*/ 17 h 71"/>
                <a:gd name="T8" fmla="*/ 12 w 55"/>
                <a:gd name="T9" fmla="*/ 71 h 71"/>
                <a:gd name="T10" fmla="*/ 19 w 55"/>
                <a:gd name="T11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5" h="71">
                  <a:moveTo>
                    <a:pt x="19" y="71"/>
                  </a:moveTo>
                  <a:cubicBezTo>
                    <a:pt x="19" y="71"/>
                    <a:pt x="24" y="5"/>
                    <a:pt x="55" y="17"/>
                  </a:cubicBezTo>
                  <a:cubicBezTo>
                    <a:pt x="55" y="17"/>
                    <a:pt x="31" y="0"/>
                    <a:pt x="14" y="61"/>
                  </a:cubicBezTo>
                  <a:cubicBezTo>
                    <a:pt x="14" y="61"/>
                    <a:pt x="6" y="22"/>
                    <a:pt x="14" y="17"/>
                  </a:cubicBezTo>
                  <a:cubicBezTo>
                    <a:pt x="14" y="17"/>
                    <a:pt x="0" y="23"/>
                    <a:pt x="12" y="71"/>
                  </a:cubicBezTo>
                  <a:lnTo>
                    <a:pt x="19" y="71"/>
                  </a:lnTo>
                  <a:close/>
                </a:path>
              </a:pathLst>
            </a:custGeom>
            <a:solidFill>
              <a:srgbClr val="4DA0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19" name="Freeform 7681"/>
            <p:cNvSpPr>
              <a:spLocks/>
            </p:cNvSpPr>
            <p:nvPr/>
          </p:nvSpPr>
          <p:spPr bwMode="auto">
            <a:xfrm>
              <a:off x="5259" y="2795"/>
              <a:ext cx="68" cy="79"/>
            </a:xfrm>
            <a:custGeom>
              <a:avLst/>
              <a:gdLst>
                <a:gd name="T0" fmla="*/ 26 w 56"/>
                <a:gd name="T1" fmla="*/ 65 h 65"/>
                <a:gd name="T2" fmla="*/ 0 w 56"/>
                <a:gd name="T3" fmla="*/ 32 h 65"/>
                <a:gd name="T4" fmla="*/ 28 w 56"/>
                <a:gd name="T5" fmla="*/ 52 h 65"/>
                <a:gd name="T6" fmla="*/ 16 w 56"/>
                <a:gd name="T7" fmla="*/ 8 h 65"/>
                <a:gd name="T8" fmla="*/ 35 w 56"/>
                <a:gd name="T9" fmla="*/ 54 h 65"/>
                <a:gd name="T10" fmla="*/ 56 w 56"/>
                <a:gd name="T11" fmla="*/ 54 h 65"/>
                <a:gd name="T12" fmla="*/ 36 w 56"/>
                <a:gd name="T13" fmla="*/ 65 h 65"/>
                <a:gd name="T14" fmla="*/ 26 w 56"/>
                <a:gd name="T15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6" h="65">
                  <a:moveTo>
                    <a:pt x="26" y="65"/>
                  </a:moveTo>
                  <a:cubicBezTo>
                    <a:pt x="26" y="65"/>
                    <a:pt x="22" y="21"/>
                    <a:pt x="0" y="32"/>
                  </a:cubicBezTo>
                  <a:cubicBezTo>
                    <a:pt x="0" y="32"/>
                    <a:pt x="16" y="19"/>
                    <a:pt x="28" y="52"/>
                  </a:cubicBezTo>
                  <a:cubicBezTo>
                    <a:pt x="28" y="52"/>
                    <a:pt x="31" y="4"/>
                    <a:pt x="16" y="8"/>
                  </a:cubicBezTo>
                  <a:cubicBezTo>
                    <a:pt x="16" y="8"/>
                    <a:pt x="32" y="0"/>
                    <a:pt x="35" y="54"/>
                  </a:cubicBezTo>
                  <a:cubicBezTo>
                    <a:pt x="35" y="54"/>
                    <a:pt x="45" y="36"/>
                    <a:pt x="56" y="54"/>
                  </a:cubicBezTo>
                  <a:cubicBezTo>
                    <a:pt x="56" y="54"/>
                    <a:pt x="44" y="33"/>
                    <a:pt x="36" y="65"/>
                  </a:cubicBezTo>
                  <a:lnTo>
                    <a:pt x="26" y="65"/>
                  </a:ln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20" name="Freeform 7682"/>
            <p:cNvSpPr>
              <a:spLocks/>
            </p:cNvSpPr>
            <p:nvPr/>
          </p:nvSpPr>
          <p:spPr bwMode="auto">
            <a:xfrm>
              <a:off x="5215" y="2796"/>
              <a:ext cx="95" cy="78"/>
            </a:xfrm>
            <a:custGeom>
              <a:avLst/>
              <a:gdLst>
                <a:gd name="T0" fmla="*/ 40 w 78"/>
                <a:gd name="T1" fmla="*/ 64 h 64"/>
                <a:gd name="T2" fmla="*/ 0 w 78"/>
                <a:gd name="T3" fmla="*/ 36 h 64"/>
                <a:gd name="T4" fmla="*/ 42 w 78"/>
                <a:gd name="T5" fmla="*/ 51 h 64"/>
                <a:gd name="T6" fmla="*/ 64 w 78"/>
                <a:gd name="T7" fmla="*/ 6 h 64"/>
                <a:gd name="T8" fmla="*/ 48 w 78"/>
                <a:gd name="T9" fmla="*/ 52 h 64"/>
                <a:gd name="T10" fmla="*/ 68 w 78"/>
                <a:gd name="T11" fmla="*/ 21 h 64"/>
                <a:gd name="T12" fmla="*/ 55 w 78"/>
                <a:gd name="T13" fmla="*/ 51 h 64"/>
                <a:gd name="T14" fmla="*/ 78 w 78"/>
                <a:gd name="T15" fmla="*/ 49 h 64"/>
                <a:gd name="T16" fmla="*/ 59 w 78"/>
                <a:gd name="T17" fmla="*/ 64 h 64"/>
                <a:gd name="T18" fmla="*/ 40 w 78"/>
                <a:gd name="T19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8" h="64">
                  <a:moveTo>
                    <a:pt x="40" y="64"/>
                  </a:moveTo>
                  <a:cubicBezTo>
                    <a:pt x="40" y="64"/>
                    <a:pt x="29" y="16"/>
                    <a:pt x="0" y="36"/>
                  </a:cubicBezTo>
                  <a:cubicBezTo>
                    <a:pt x="0" y="36"/>
                    <a:pt x="26" y="15"/>
                    <a:pt x="42" y="51"/>
                  </a:cubicBezTo>
                  <a:cubicBezTo>
                    <a:pt x="42" y="51"/>
                    <a:pt x="45" y="0"/>
                    <a:pt x="64" y="6"/>
                  </a:cubicBezTo>
                  <a:cubicBezTo>
                    <a:pt x="64" y="6"/>
                    <a:pt x="45" y="0"/>
                    <a:pt x="48" y="52"/>
                  </a:cubicBezTo>
                  <a:cubicBezTo>
                    <a:pt x="48" y="52"/>
                    <a:pt x="50" y="11"/>
                    <a:pt x="68" y="21"/>
                  </a:cubicBezTo>
                  <a:cubicBezTo>
                    <a:pt x="68" y="21"/>
                    <a:pt x="52" y="15"/>
                    <a:pt x="55" y="51"/>
                  </a:cubicBezTo>
                  <a:cubicBezTo>
                    <a:pt x="55" y="51"/>
                    <a:pt x="73" y="35"/>
                    <a:pt x="78" y="49"/>
                  </a:cubicBezTo>
                  <a:cubicBezTo>
                    <a:pt x="78" y="49"/>
                    <a:pt x="67" y="34"/>
                    <a:pt x="59" y="64"/>
                  </a:cubicBezTo>
                  <a:lnTo>
                    <a:pt x="40" y="64"/>
                  </a:ln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21" name="Freeform 7683"/>
            <p:cNvSpPr>
              <a:spLocks/>
            </p:cNvSpPr>
            <p:nvPr/>
          </p:nvSpPr>
          <p:spPr bwMode="auto">
            <a:xfrm>
              <a:off x="5208" y="2816"/>
              <a:ext cx="47" cy="58"/>
            </a:xfrm>
            <a:custGeom>
              <a:avLst/>
              <a:gdLst>
                <a:gd name="T0" fmla="*/ 22 w 39"/>
                <a:gd name="T1" fmla="*/ 48 h 48"/>
                <a:gd name="T2" fmla="*/ 0 w 39"/>
                <a:gd name="T3" fmla="*/ 36 h 48"/>
                <a:gd name="T4" fmla="*/ 20 w 39"/>
                <a:gd name="T5" fmla="*/ 40 h 48"/>
                <a:gd name="T6" fmla="*/ 11 w 39"/>
                <a:gd name="T7" fmla="*/ 10 h 48"/>
                <a:gd name="T8" fmla="*/ 23 w 39"/>
                <a:gd name="T9" fmla="*/ 38 h 48"/>
                <a:gd name="T10" fmla="*/ 23 w 39"/>
                <a:gd name="T11" fmla="*/ 0 h 48"/>
                <a:gd name="T12" fmla="*/ 27 w 39"/>
                <a:gd name="T13" fmla="*/ 39 h 48"/>
                <a:gd name="T14" fmla="*/ 39 w 39"/>
                <a:gd name="T15" fmla="*/ 32 h 48"/>
                <a:gd name="T16" fmla="*/ 29 w 39"/>
                <a:gd name="T17" fmla="*/ 48 h 48"/>
                <a:gd name="T18" fmla="*/ 22 w 39"/>
                <a:gd name="T19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9" h="48">
                  <a:moveTo>
                    <a:pt x="22" y="48"/>
                  </a:moveTo>
                  <a:cubicBezTo>
                    <a:pt x="22" y="48"/>
                    <a:pt x="13" y="25"/>
                    <a:pt x="0" y="36"/>
                  </a:cubicBezTo>
                  <a:cubicBezTo>
                    <a:pt x="0" y="36"/>
                    <a:pt x="11" y="28"/>
                    <a:pt x="20" y="40"/>
                  </a:cubicBezTo>
                  <a:cubicBezTo>
                    <a:pt x="20" y="40"/>
                    <a:pt x="22" y="14"/>
                    <a:pt x="11" y="10"/>
                  </a:cubicBezTo>
                  <a:cubicBezTo>
                    <a:pt x="11" y="10"/>
                    <a:pt x="23" y="15"/>
                    <a:pt x="23" y="38"/>
                  </a:cubicBezTo>
                  <a:cubicBezTo>
                    <a:pt x="23" y="38"/>
                    <a:pt x="29" y="1"/>
                    <a:pt x="23" y="0"/>
                  </a:cubicBezTo>
                  <a:cubicBezTo>
                    <a:pt x="23" y="0"/>
                    <a:pt x="33" y="0"/>
                    <a:pt x="27" y="39"/>
                  </a:cubicBezTo>
                  <a:cubicBezTo>
                    <a:pt x="27" y="39"/>
                    <a:pt x="31" y="20"/>
                    <a:pt x="39" y="32"/>
                  </a:cubicBezTo>
                  <a:cubicBezTo>
                    <a:pt x="39" y="32"/>
                    <a:pt x="29" y="19"/>
                    <a:pt x="29" y="48"/>
                  </a:cubicBezTo>
                  <a:lnTo>
                    <a:pt x="22" y="48"/>
                  </a:ln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22" name="Freeform 7684"/>
            <p:cNvSpPr>
              <a:spLocks/>
            </p:cNvSpPr>
            <p:nvPr/>
          </p:nvSpPr>
          <p:spPr bwMode="auto">
            <a:xfrm>
              <a:off x="5223" y="2799"/>
              <a:ext cx="71" cy="75"/>
            </a:xfrm>
            <a:custGeom>
              <a:avLst/>
              <a:gdLst>
                <a:gd name="T0" fmla="*/ 28 w 58"/>
                <a:gd name="T1" fmla="*/ 62 h 62"/>
                <a:gd name="T2" fmla="*/ 58 w 58"/>
                <a:gd name="T3" fmla="*/ 19 h 62"/>
                <a:gd name="T4" fmla="*/ 26 w 58"/>
                <a:gd name="T5" fmla="*/ 52 h 62"/>
                <a:gd name="T6" fmla="*/ 0 w 58"/>
                <a:gd name="T7" fmla="*/ 0 h 62"/>
                <a:gd name="T8" fmla="*/ 17 w 58"/>
                <a:gd name="T9" fmla="*/ 62 h 62"/>
                <a:gd name="T10" fmla="*/ 28 w 58"/>
                <a:gd name="T11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8" h="62">
                  <a:moveTo>
                    <a:pt x="28" y="62"/>
                  </a:moveTo>
                  <a:cubicBezTo>
                    <a:pt x="28" y="62"/>
                    <a:pt x="33" y="20"/>
                    <a:pt x="58" y="19"/>
                  </a:cubicBezTo>
                  <a:cubicBezTo>
                    <a:pt x="58" y="19"/>
                    <a:pt x="36" y="17"/>
                    <a:pt x="26" y="52"/>
                  </a:cubicBezTo>
                  <a:cubicBezTo>
                    <a:pt x="26" y="52"/>
                    <a:pt x="17" y="9"/>
                    <a:pt x="0" y="0"/>
                  </a:cubicBezTo>
                  <a:cubicBezTo>
                    <a:pt x="0" y="0"/>
                    <a:pt x="24" y="23"/>
                    <a:pt x="17" y="62"/>
                  </a:cubicBezTo>
                  <a:lnTo>
                    <a:pt x="28" y="62"/>
                  </a:ln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23" name="Freeform 7685"/>
            <p:cNvSpPr>
              <a:spLocks/>
            </p:cNvSpPr>
            <p:nvPr/>
          </p:nvSpPr>
          <p:spPr bwMode="auto">
            <a:xfrm>
              <a:off x="5267" y="2784"/>
              <a:ext cx="76" cy="90"/>
            </a:xfrm>
            <a:custGeom>
              <a:avLst/>
              <a:gdLst>
                <a:gd name="T0" fmla="*/ 33 w 62"/>
                <a:gd name="T1" fmla="*/ 74 h 74"/>
                <a:gd name="T2" fmla="*/ 0 w 62"/>
                <a:gd name="T3" fmla="*/ 21 h 74"/>
                <a:gd name="T4" fmla="*/ 33 w 62"/>
                <a:gd name="T5" fmla="*/ 49 h 74"/>
                <a:gd name="T6" fmla="*/ 24 w 62"/>
                <a:gd name="T7" fmla="*/ 0 h 74"/>
                <a:gd name="T8" fmla="*/ 40 w 62"/>
                <a:gd name="T9" fmla="*/ 55 h 74"/>
                <a:gd name="T10" fmla="*/ 62 w 62"/>
                <a:gd name="T11" fmla="*/ 18 h 74"/>
                <a:gd name="T12" fmla="*/ 43 w 62"/>
                <a:gd name="T13" fmla="*/ 74 h 74"/>
                <a:gd name="T14" fmla="*/ 33 w 62"/>
                <a:gd name="T15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2" h="74">
                  <a:moveTo>
                    <a:pt x="33" y="74"/>
                  </a:moveTo>
                  <a:cubicBezTo>
                    <a:pt x="33" y="74"/>
                    <a:pt x="31" y="17"/>
                    <a:pt x="0" y="21"/>
                  </a:cubicBezTo>
                  <a:cubicBezTo>
                    <a:pt x="0" y="21"/>
                    <a:pt x="20" y="11"/>
                    <a:pt x="33" y="49"/>
                  </a:cubicBezTo>
                  <a:cubicBezTo>
                    <a:pt x="33" y="49"/>
                    <a:pt x="26" y="3"/>
                    <a:pt x="24" y="0"/>
                  </a:cubicBezTo>
                  <a:cubicBezTo>
                    <a:pt x="24" y="0"/>
                    <a:pt x="30" y="14"/>
                    <a:pt x="40" y="55"/>
                  </a:cubicBezTo>
                  <a:cubicBezTo>
                    <a:pt x="40" y="55"/>
                    <a:pt x="47" y="20"/>
                    <a:pt x="62" y="18"/>
                  </a:cubicBezTo>
                  <a:cubicBezTo>
                    <a:pt x="62" y="18"/>
                    <a:pt x="42" y="22"/>
                    <a:pt x="43" y="74"/>
                  </a:cubicBezTo>
                  <a:lnTo>
                    <a:pt x="33" y="74"/>
                  </a:lnTo>
                  <a:close/>
                </a:path>
              </a:pathLst>
            </a:custGeom>
            <a:solidFill>
              <a:srgbClr val="4DA0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24" name="Freeform 7686"/>
            <p:cNvSpPr>
              <a:spLocks/>
            </p:cNvSpPr>
            <p:nvPr/>
          </p:nvSpPr>
          <p:spPr bwMode="auto">
            <a:xfrm>
              <a:off x="5272" y="2824"/>
              <a:ext cx="54" cy="50"/>
            </a:xfrm>
            <a:custGeom>
              <a:avLst/>
              <a:gdLst>
                <a:gd name="T0" fmla="*/ 24 w 44"/>
                <a:gd name="T1" fmla="*/ 41 h 41"/>
                <a:gd name="T2" fmla="*/ 0 w 44"/>
                <a:gd name="T3" fmla="*/ 33 h 41"/>
                <a:gd name="T4" fmla="*/ 20 w 44"/>
                <a:gd name="T5" fmla="*/ 31 h 41"/>
                <a:gd name="T6" fmla="*/ 8 w 44"/>
                <a:gd name="T7" fmla="*/ 34 h 41"/>
                <a:gd name="T8" fmla="*/ 23 w 44"/>
                <a:gd name="T9" fmla="*/ 26 h 41"/>
                <a:gd name="T10" fmla="*/ 9 w 44"/>
                <a:gd name="T11" fmla="*/ 7 h 41"/>
                <a:gd name="T12" fmla="*/ 26 w 44"/>
                <a:gd name="T13" fmla="*/ 27 h 41"/>
                <a:gd name="T14" fmla="*/ 44 w 44"/>
                <a:gd name="T15" fmla="*/ 24 h 41"/>
                <a:gd name="T16" fmla="*/ 29 w 44"/>
                <a:gd name="T17" fmla="*/ 41 h 41"/>
                <a:gd name="T18" fmla="*/ 24 w 44"/>
                <a:gd name="T19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41">
                  <a:moveTo>
                    <a:pt x="24" y="41"/>
                  </a:moveTo>
                  <a:cubicBezTo>
                    <a:pt x="24" y="41"/>
                    <a:pt x="16" y="21"/>
                    <a:pt x="0" y="33"/>
                  </a:cubicBezTo>
                  <a:cubicBezTo>
                    <a:pt x="0" y="33"/>
                    <a:pt x="8" y="23"/>
                    <a:pt x="20" y="31"/>
                  </a:cubicBezTo>
                  <a:cubicBezTo>
                    <a:pt x="20" y="31"/>
                    <a:pt x="11" y="5"/>
                    <a:pt x="8" y="34"/>
                  </a:cubicBezTo>
                  <a:cubicBezTo>
                    <a:pt x="8" y="34"/>
                    <a:pt x="4" y="0"/>
                    <a:pt x="23" y="26"/>
                  </a:cubicBezTo>
                  <a:cubicBezTo>
                    <a:pt x="23" y="26"/>
                    <a:pt x="16" y="7"/>
                    <a:pt x="9" y="7"/>
                  </a:cubicBezTo>
                  <a:cubicBezTo>
                    <a:pt x="9" y="7"/>
                    <a:pt x="21" y="8"/>
                    <a:pt x="26" y="27"/>
                  </a:cubicBezTo>
                  <a:cubicBezTo>
                    <a:pt x="26" y="27"/>
                    <a:pt x="37" y="9"/>
                    <a:pt x="44" y="24"/>
                  </a:cubicBezTo>
                  <a:cubicBezTo>
                    <a:pt x="44" y="24"/>
                    <a:pt x="31" y="5"/>
                    <a:pt x="29" y="41"/>
                  </a:cubicBezTo>
                  <a:lnTo>
                    <a:pt x="24" y="41"/>
                  </a:ln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25" name="Freeform 7687"/>
            <p:cNvSpPr>
              <a:spLocks/>
            </p:cNvSpPr>
            <p:nvPr/>
          </p:nvSpPr>
          <p:spPr bwMode="auto">
            <a:xfrm>
              <a:off x="5180" y="2819"/>
              <a:ext cx="60" cy="55"/>
            </a:xfrm>
            <a:custGeom>
              <a:avLst/>
              <a:gdLst>
                <a:gd name="T0" fmla="*/ 26 w 50"/>
                <a:gd name="T1" fmla="*/ 45 h 45"/>
                <a:gd name="T2" fmla="*/ 0 w 50"/>
                <a:gd name="T3" fmla="*/ 34 h 45"/>
                <a:gd name="T4" fmla="*/ 25 w 50"/>
                <a:gd name="T5" fmla="*/ 34 h 45"/>
                <a:gd name="T6" fmla="*/ 7 w 50"/>
                <a:gd name="T7" fmla="*/ 37 h 45"/>
                <a:gd name="T8" fmla="*/ 25 w 50"/>
                <a:gd name="T9" fmla="*/ 21 h 45"/>
                <a:gd name="T10" fmla="*/ 40 w 50"/>
                <a:gd name="T11" fmla="*/ 4 h 45"/>
                <a:gd name="T12" fmla="*/ 42 w 50"/>
                <a:gd name="T13" fmla="*/ 5 h 45"/>
                <a:gd name="T14" fmla="*/ 40 w 50"/>
                <a:gd name="T15" fmla="*/ 5 h 45"/>
                <a:gd name="T16" fmla="*/ 32 w 50"/>
                <a:gd name="T17" fmla="*/ 22 h 45"/>
                <a:gd name="T18" fmla="*/ 50 w 50"/>
                <a:gd name="T19" fmla="*/ 30 h 45"/>
                <a:gd name="T20" fmla="*/ 34 w 50"/>
                <a:gd name="T21" fmla="*/ 45 h 45"/>
                <a:gd name="T22" fmla="*/ 26 w 50"/>
                <a:gd name="T23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0" h="45">
                  <a:moveTo>
                    <a:pt x="26" y="45"/>
                  </a:moveTo>
                  <a:cubicBezTo>
                    <a:pt x="26" y="45"/>
                    <a:pt x="18" y="20"/>
                    <a:pt x="0" y="34"/>
                  </a:cubicBezTo>
                  <a:cubicBezTo>
                    <a:pt x="0" y="34"/>
                    <a:pt x="12" y="19"/>
                    <a:pt x="25" y="34"/>
                  </a:cubicBezTo>
                  <a:cubicBezTo>
                    <a:pt x="25" y="34"/>
                    <a:pt x="19" y="4"/>
                    <a:pt x="7" y="37"/>
                  </a:cubicBezTo>
                  <a:cubicBezTo>
                    <a:pt x="7" y="37"/>
                    <a:pt x="13" y="10"/>
                    <a:pt x="25" y="21"/>
                  </a:cubicBezTo>
                  <a:cubicBezTo>
                    <a:pt x="25" y="21"/>
                    <a:pt x="23" y="0"/>
                    <a:pt x="40" y="4"/>
                  </a:cubicBezTo>
                  <a:cubicBezTo>
                    <a:pt x="41" y="4"/>
                    <a:pt x="42" y="5"/>
                    <a:pt x="42" y="5"/>
                  </a:cubicBezTo>
                  <a:cubicBezTo>
                    <a:pt x="40" y="5"/>
                    <a:pt x="40" y="5"/>
                    <a:pt x="40" y="5"/>
                  </a:cubicBezTo>
                  <a:cubicBezTo>
                    <a:pt x="40" y="5"/>
                    <a:pt x="24" y="4"/>
                    <a:pt x="32" y="22"/>
                  </a:cubicBezTo>
                  <a:cubicBezTo>
                    <a:pt x="32" y="22"/>
                    <a:pt x="43" y="9"/>
                    <a:pt x="50" y="30"/>
                  </a:cubicBezTo>
                  <a:cubicBezTo>
                    <a:pt x="50" y="30"/>
                    <a:pt x="34" y="0"/>
                    <a:pt x="34" y="45"/>
                  </a:cubicBezTo>
                  <a:lnTo>
                    <a:pt x="26" y="45"/>
                  </a:ln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26" name="Freeform 7688"/>
            <p:cNvSpPr>
              <a:spLocks/>
            </p:cNvSpPr>
            <p:nvPr/>
          </p:nvSpPr>
          <p:spPr bwMode="auto">
            <a:xfrm>
              <a:off x="5222" y="2795"/>
              <a:ext cx="77" cy="79"/>
            </a:xfrm>
            <a:custGeom>
              <a:avLst/>
              <a:gdLst>
                <a:gd name="T0" fmla="*/ 19 w 63"/>
                <a:gd name="T1" fmla="*/ 65 h 65"/>
                <a:gd name="T2" fmla="*/ 63 w 63"/>
                <a:gd name="T3" fmla="*/ 33 h 65"/>
                <a:gd name="T4" fmla="*/ 25 w 63"/>
                <a:gd name="T5" fmla="*/ 44 h 65"/>
                <a:gd name="T6" fmla="*/ 16 w 63"/>
                <a:gd name="T7" fmla="*/ 0 h 65"/>
                <a:gd name="T8" fmla="*/ 18 w 63"/>
                <a:gd name="T9" fmla="*/ 51 h 65"/>
                <a:gd name="T10" fmla="*/ 0 w 63"/>
                <a:gd name="T11" fmla="*/ 42 h 65"/>
                <a:gd name="T12" fmla="*/ 16 w 63"/>
                <a:gd name="T13" fmla="*/ 65 h 65"/>
                <a:gd name="T14" fmla="*/ 19 w 63"/>
                <a:gd name="T15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" h="65">
                  <a:moveTo>
                    <a:pt x="19" y="65"/>
                  </a:moveTo>
                  <a:cubicBezTo>
                    <a:pt x="19" y="65"/>
                    <a:pt x="36" y="16"/>
                    <a:pt x="63" y="33"/>
                  </a:cubicBezTo>
                  <a:cubicBezTo>
                    <a:pt x="63" y="33"/>
                    <a:pt x="48" y="19"/>
                    <a:pt x="25" y="44"/>
                  </a:cubicBezTo>
                  <a:cubicBezTo>
                    <a:pt x="25" y="44"/>
                    <a:pt x="18" y="4"/>
                    <a:pt x="16" y="0"/>
                  </a:cubicBezTo>
                  <a:cubicBezTo>
                    <a:pt x="16" y="0"/>
                    <a:pt x="24" y="32"/>
                    <a:pt x="18" y="51"/>
                  </a:cubicBezTo>
                  <a:cubicBezTo>
                    <a:pt x="18" y="51"/>
                    <a:pt x="12" y="32"/>
                    <a:pt x="0" y="42"/>
                  </a:cubicBezTo>
                  <a:cubicBezTo>
                    <a:pt x="0" y="42"/>
                    <a:pt x="17" y="30"/>
                    <a:pt x="16" y="65"/>
                  </a:cubicBezTo>
                  <a:lnTo>
                    <a:pt x="19" y="65"/>
                  </a:ln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27" name="Freeform 7689"/>
            <p:cNvSpPr>
              <a:spLocks/>
            </p:cNvSpPr>
            <p:nvPr/>
          </p:nvSpPr>
          <p:spPr bwMode="auto">
            <a:xfrm>
              <a:off x="5175" y="2795"/>
              <a:ext cx="68" cy="79"/>
            </a:xfrm>
            <a:custGeom>
              <a:avLst/>
              <a:gdLst>
                <a:gd name="T0" fmla="*/ 30 w 56"/>
                <a:gd name="T1" fmla="*/ 65 h 65"/>
                <a:gd name="T2" fmla="*/ 56 w 56"/>
                <a:gd name="T3" fmla="*/ 32 h 65"/>
                <a:gd name="T4" fmla="*/ 28 w 56"/>
                <a:gd name="T5" fmla="*/ 52 h 65"/>
                <a:gd name="T6" fmla="*/ 40 w 56"/>
                <a:gd name="T7" fmla="*/ 8 h 65"/>
                <a:gd name="T8" fmla="*/ 22 w 56"/>
                <a:gd name="T9" fmla="*/ 54 h 65"/>
                <a:gd name="T10" fmla="*/ 0 w 56"/>
                <a:gd name="T11" fmla="*/ 54 h 65"/>
                <a:gd name="T12" fmla="*/ 21 w 56"/>
                <a:gd name="T13" fmla="*/ 65 h 65"/>
                <a:gd name="T14" fmla="*/ 30 w 56"/>
                <a:gd name="T15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6" h="65">
                  <a:moveTo>
                    <a:pt x="30" y="65"/>
                  </a:moveTo>
                  <a:cubicBezTo>
                    <a:pt x="30" y="65"/>
                    <a:pt x="34" y="21"/>
                    <a:pt x="56" y="32"/>
                  </a:cubicBezTo>
                  <a:cubicBezTo>
                    <a:pt x="56" y="32"/>
                    <a:pt x="40" y="19"/>
                    <a:pt x="28" y="52"/>
                  </a:cubicBezTo>
                  <a:cubicBezTo>
                    <a:pt x="28" y="52"/>
                    <a:pt x="25" y="4"/>
                    <a:pt x="40" y="8"/>
                  </a:cubicBezTo>
                  <a:cubicBezTo>
                    <a:pt x="40" y="8"/>
                    <a:pt x="24" y="0"/>
                    <a:pt x="22" y="54"/>
                  </a:cubicBezTo>
                  <a:cubicBezTo>
                    <a:pt x="22" y="54"/>
                    <a:pt x="11" y="36"/>
                    <a:pt x="0" y="54"/>
                  </a:cubicBezTo>
                  <a:cubicBezTo>
                    <a:pt x="0" y="54"/>
                    <a:pt x="13" y="33"/>
                    <a:pt x="21" y="65"/>
                  </a:cubicBezTo>
                  <a:lnTo>
                    <a:pt x="30" y="65"/>
                  </a:ln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28" name="Freeform 7690"/>
            <p:cNvSpPr>
              <a:spLocks/>
            </p:cNvSpPr>
            <p:nvPr/>
          </p:nvSpPr>
          <p:spPr bwMode="auto">
            <a:xfrm>
              <a:off x="5165" y="2773"/>
              <a:ext cx="75" cy="101"/>
            </a:xfrm>
            <a:custGeom>
              <a:avLst/>
              <a:gdLst>
                <a:gd name="T0" fmla="*/ 29 w 62"/>
                <a:gd name="T1" fmla="*/ 83 h 83"/>
                <a:gd name="T2" fmla="*/ 62 w 62"/>
                <a:gd name="T3" fmla="*/ 30 h 83"/>
                <a:gd name="T4" fmla="*/ 29 w 62"/>
                <a:gd name="T5" fmla="*/ 58 h 83"/>
                <a:gd name="T6" fmla="*/ 44 w 62"/>
                <a:gd name="T7" fmla="*/ 0 h 83"/>
                <a:gd name="T8" fmla="*/ 22 w 62"/>
                <a:gd name="T9" fmla="*/ 64 h 83"/>
                <a:gd name="T10" fmla="*/ 0 w 62"/>
                <a:gd name="T11" fmla="*/ 27 h 83"/>
                <a:gd name="T12" fmla="*/ 19 w 62"/>
                <a:gd name="T13" fmla="*/ 83 h 83"/>
                <a:gd name="T14" fmla="*/ 29 w 62"/>
                <a:gd name="T15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2" h="83">
                  <a:moveTo>
                    <a:pt x="29" y="83"/>
                  </a:moveTo>
                  <a:cubicBezTo>
                    <a:pt x="29" y="83"/>
                    <a:pt x="31" y="26"/>
                    <a:pt x="62" y="30"/>
                  </a:cubicBezTo>
                  <a:cubicBezTo>
                    <a:pt x="62" y="30"/>
                    <a:pt x="42" y="20"/>
                    <a:pt x="29" y="58"/>
                  </a:cubicBezTo>
                  <a:cubicBezTo>
                    <a:pt x="29" y="58"/>
                    <a:pt x="43" y="1"/>
                    <a:pt x="44" y="0"/>
                  </a:cubicBezTo>
                  <a:cubicBezTo>
                    <a:pt x="44" y="0"/>
                    <a:pt x="33" y="23"/>
                    <a:pt x="22" y="64"/>
                  </a:cubicBezTo>
                  <a:cubicBezTo>
                    <a:pt x="22" y="64"/>
                    <a:pt x="16" y="29"/>
                    <a:pt x="0" y="27"/>
                  </a:cubicBezTo>
                  <a:cubicBezTo>
                    <a:pt x="0" y="27"/>
                    <a:pt x="20" y="31"/>
                    <a:pt x="19" y="83"/>
                  </a:cubicBezTo>
                  <a:lnTo>
                    <a:pt x="29" y="83"/>
                  </a:ln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29" name="Freeform 7691"/>
            <p:cNvSpPr>
              <a:spLocks/>
            </p:cNvSpPr>
            <p:nvPr/>
          </p:nvSpPr>
          <p:spPr bwMode="auto">
            <a:xfrm>
              <a:off x="5184" y="2824"/>
              <a:ext cx="53" cy="50"/>
            </a:xfrm>
            <a:custGeom>
              <a:avLst/>
              <a:gdLst>
                <a:gd name="T0" fmla="*/ 19 w 43"/>
                <a:gd name="T1" fmla="*/ 41 h 41"/>
                <a:gd name="T2" fmla="*/ 43 w 43"/>
                <a:gd name="T3" fmla="*/ 33 h 41"/>
                <a:gd name="T4" fmla="*/ 24 w 43"/>
                <a:gd name="T5" fmla="*/ 31 h 41"/>
                <a:gd name="T6" fmla="*/ 35 w 43"/>
                <a:gd name="T7" fmla="*/ 34 h 41"/>
                <a:gd name="T8" fmla="*/ 20 w 43"/>
                <a:gd name="T9" fmla="*/ 26 h 41"/>
                <a:gd name="T10" fmla="*/ 34 w 43"/>
                <a:gd name="T11" fmla="*/ 7 h 41"/>
                <a:gd name="T12" fmla="*/ 17 w 43"/>
                <a:gd name="T13" fmla="*/ 27 h 41"/>
                <a:gd name="T14" fmla="*/ 0 w 43"/>
                <a:gd name="T15" fmla="*/ 24 h 41"/>
                <a:gd name="T16" fmla="*/ 14 w 43"/>
                <a:gd name="T17" fmla="*/ 41 h 41"/>
                <a:gd name="T18" fmla="*/ 19 w 43"/>
                <a:gd name="T19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3" h="41">
                  <a:moveTo>
                    <a:pt x="19" y="41"/>
                  </a:moveTo>
                  <a:cubicBezTo>
                    <a:pt x="19" y="41"/>
                    <a:pt x="27" y="21"/>
                    <a:pt x="43" y="33"/>
                  </a:cubicBezTo>
                  <a:cubicBezTo>
                    <a:pt x="43" y="33"/>
                    <a:pt x="36" y="23"/>
                    <a:pt x="24" y="31"/>
                  </a:cubicBezTo>
                  <a:cubicBezTo>
                    <a:pt x="24" y="31"/>
                    <a:pt x="33" y="5"/>
                    <a:pt x="35" y="34"/>
                  </a:cubicBezTo>
                  <a:cubicBezTo>
                    <a:pt x="35" y="34"/>
                    <a:pt x="40" y="0"/>
                    <a:pt x="20" y="26"/>
                  </a:cubicBezTo>
                  <a:cubicBezTo>
                    <a:pt x="20" y="26"/>
                    <a:pt x="27" y="7"/>
                    <a:pt x="34" y="7"/>
                  </a:cubicBezTo>
                  <a:cubicBezTo>
                    <a:pt x="34" y="7"/>
                    <a:pt x="23" y="8"/>
                    <a:pt x="17" y="27"/>
                  </a:cubicBezTo>
                  <a:cubicBezTo>
                    <a:pt x="17" y="27"/>
                    <a:pt x="7" y="9"/>
                    <a:pt x="0" y="24"/>
                  </a:cubicBezTo>
                  <a:cubicBezTo>
                    <a:pt x="0" y="24"/>
                    <a:pt x="12" y="5"/>
                    <a:pt x="14" y="41"/>
                  </a:cubicBezTo>
                  <a:lnTo>
                    <a:pt x="19" y="41"/>
                  </a:lnTo>
                  <a:close/>
                </a:path>
              </a:pathLst>
            </a:custGeom>
            <a:solidFill>
              <a:srgbClr val="4DA0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30" name="Freeform 7692"/>
            <p:cNvSpPr>
              <a:spLocks/>
            </p:cNvSpPr>
            <p:nvPr/>
          </p:nvSpPr>
          <p:spPr bwMode="auto">
            <a:xfrm>
              <a:off x="5344" y="2819"/>
              <a:ext cx="4" cy="3"/>
            </a:xfrm>
            <a:custGeom>
              <a:avLst/>
              <a:gdLst>
                <a:gd name="T0" fmla="*/ 3 w 3"/>
                <a:gd name="T1" fmla="*/ 2 h 2"/>
                <a:gd name="T2" fmla="*/ 3 w 3"/>
                <a:gd name="T3" fmla="*/ 2 h 2"/>
                <a:gd name="T4" fmla="*/ 0 w 3"/>
                <a:gd name="T5" fmla="*/ 0 h 2"/>
                <a:gd name="T6" fmla="*/ 1 w 3"/>
                <a:gd name="T7" fmla="*/ 2 h 2"/>
                <a:gd name="T8" fmla="*/ 3 w 3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2">
                  <a:moveTo>
                    <a:pt x="3" y="2"/>
                  </a:moveTo>
                  <a:cubicBezTo>
                    <a:pt x="3" y="2"/>
                    <a:pt x="3" y="2"/>
                    <a:pt x="3" y="2"/>
                  </a:cubicBezTo>
                  <a:cubicBezTo>
                    <a:pt x="2" y="1"/>
                    <a:pt x="1" y="1"/>
                    <a:pt x="0" y="0"/>
                  </a:cubicBezTo>
                  <a:cubicBezTo>
                    <a:pt x="0" y="1"/>
                    <a:pt x="1" y="1"/>
                    <a:pt x="1" y="2"/>
                  </a:cubicBezTo>
                  <a:cubicBezTo>
                    <a:pt x="2" y="1"/>
                    <a:pt x="3" y="2"/>
                    <a:pt x="3" y="2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31" name="Freeform 7693"/>
            <p:cNvSpPr>
              <a:spLocks/>
            </p:cNvSpPr>
            <p:nvPr/>
          </p:nvSpPr>
          <p:spPr bwMode="auto">
            <a:xfrm>
              <a:off x="5344" y="2804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32" name="Freeform 7694"/>
            <p:cNvSpPr>
              <a:spLocks/>
            </p:cNvSpPr>
            <p:nvPr/>
          </p:nvSpPr>
          <p:spPr bwMode="auto">
            <a:xfrm>
              <a:off x="5328" y="2810"/>
              <a:ext cx="2" cy="5"/>
            </a:xfrm>
            <a:custGeom>
              <a:avLst/>
              <a:gdLst>
                <a:gd name="T0" fmla="*/ 1 w 2"/>
                <a:gd name="T1" fmla="*/ 0 h 4"/>
                <a:gd name="T2" fmla="*/ 0 w 2"/>
                <a:gd name="T3" fmla="*/ 1 h 4"/>
                <a:gd name="T4" fmla="*/ 1 w 2"/>
                <a:gd name="T5" fmla="*/ 4 h 4"/>
                <a:gd name="T6" fmla="*/ 2 w 2"/>
                <a:gd name="T7" fmla="*/ 1 h 4"/>
                <a:gd name="T8" fmla="*/ 1 w 2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1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3"/>
                    <a:pt x="1" y="4"/>
                  </a:cubicBezTo>
                  <a:cubicBezTo>
                    <a:pt x="1" y="3"/>
                    <a:pt x="2" y="2"/>
                    <a:pt x="2" y="1"/>
                  </a:cubicBezTo>
                  <a:cubicBezTo>
                    <a:pt x="2" y="1"/>
                    <a:pt x="1" y="1"/>
                    <a:pt x="1" y="0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33" name="Freeform 7695"/>
            <p:cNvSpPr>
              <a:spLocks/>
            </p:cNvSpPr>
            <p:nvPr/>
          </p:nvSpPr>
          <p:spPr bwMode="auto">
            <a:xfrm>
              <a:off x="5330" y="2802"/>
              <a:ext cx="14" cy="7"/>
            </a:xfrm>
            <a:custGeom>
              <a:avLst/>
              <a:gdLst>
                <a:gd name="T0" fmla="*/ 11 w 11"/>
                <a:gd name="T1" fmla="*/ 1 h 5"/>
                <a:gd name="T2" fmla="*/ 0 w 11"/>
                <a:gd name="T3" fmla="*/ 4 h 5"/>
                <a:gd name="T4" fmla="*/ 2 w 11"/>
                <a:gd name="T5" fmla="*/ 5 h 5"/>
                <a:gd name="T6" fmla="*/ 11 w 11"/>
                <a:gd name="T7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5">
                  <a:moveTo>
                    <a:pt x="11" y="1"/>
                  </a:moveTo>
                  <a:cubicBezTo>
                    <a:pt x="7" y="0"/>
                    <a:pt x="3" y="1"/>
                    <a:pt x="0" y="4"/>
                  </a:cubicBezTo>
                  <a:cubicBezTo>
                    <a:pt x="1" y="5"/>
                    <a:pt x="1" y="5"/>
                    <a:pt x="2" y="5"/>
                  </a:cubicBezTo>
                  <a:cubicBezTo>
                    <a:pt x="6" y="0"/>
                    <a:pt x="10" y="1"/>
                    <a:pt x="11" y="1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34" name="Freeform 7696"/>
            <p:cNvSpPr>
              <a:spLocks/>
            </p:cNvSpPr>
            <p:nvPr/>
          </p:nvSpPr>
          <p:spPr bwMode="auto">
            <a:xfrm>
              <a:off x="5324" y="2816"/>
              <a:ext cx="2" cy="2"/>
            </a:xfrm>
            <a:custGeom>
              <a:avLst/>
              <a:gdLst>
                <a:gd name="T0" fmla="*/ 1 w 1"/>
                <a:gd name="T1" fmla="*/ 0 h 2"/>
                <a:gd name="T2" fmla="*/ 0 w 1"/>
                <a:gd name="T3" fmla="*/ 2 h 2"/>
                <a:gd name="T4" fmla="*/ 1 w 1"/>
                <a:gd name="T5" fmla="*/ 2 h 2"/>
                <a:gd name="T6" fmla="*/ 1 w 1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cubicBezTo>
                    <a:pt x="1" y="1"/>
                    <a:pt x="1" y="1"/>
                    <a:pt x="0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1"/>
                    <a:pt x="1" y="0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35" name="Freeform 7697"/>
            <p:cNvSpPr>
              <a:spLocks/>
            </p:cNvSpPr>
            <p:nvPr/>
          </p:nvSpPr>
          <p:spPr bwMode="auto">
            <a:xfrm>
              <a:off x="5343" y="2852"/>
              <a:ext cx="1" cy="8"/>
            </a:xfrm>
            <a:custGeom>
              <a:avLst/>
              <a:gdLst>
                <a:gd name="T0" fmla="*/ 1 w 1"/>
                <a:gd name="T1" fmla="*/ 0 h 6"/>
                <a:gd name="T2" fmla="*/ 0 w 1"/>
                <a:gd name="T3" fmla="*/ 6 h 6"/>
                <a:gd name="T4" fmla="*/ 0 w 1"/>
                <a:gd name="T5" fmla="*/ 5 h 6"/>
                <a:gd name="T6" fmla="*/ 1 w 1"/>
                <a:gd name="T7" fmla="*/ 4 h 6"/>
                <a:gd name="T8" fmla="*/ 1 w 1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6">
                  <a:moveTo>
                    <a:pt x="1" y="0"/>
                  </a:moveTo>
                  <a:cubicBezTo>
                    <a:pt x="0" y="3"/>
                    <a:pt x="0" y="6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1" y="5"/>
                    <a:pt x="1" y="4"/>
                    <a:pt x="1" y="4"/>
                  </a:cubicBezTo>
                  <a:cubicBezTo>
                    <a:pt x="1" y="2"/>
                    <a:pt x="1" y="1"/>
                    <a:pt x="1" y="0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36" name="Freeform 7698"/>
            <p:cNvSpPr>
              <a:spLocks/>
            </p:cNvSpPr>
            <p:nvPr/>
          </p:nvSpPr>
          <p:spPr bwMode="auto">
            <a:xfrm>
              <a:off x="5324" y="2871"/>
              <a:ext cx="2" cy="3"/>
            </a:xfrm>
            <a:custGeom>
              <a:avLst/>
              <a:gdLst>
                <a:gd name="T0" fmla="*/ 0 w 1"/>
                <a:gd name="T1" fmla="*/ 3 h 3"/>
                <a:gd name="T2" fmla="*/ 0 w 1"/>
                <a:gd name="T3" fmla="*/ 3 h 3"/>
                <a:gd name="T4" fmla="*/ 1 w 1"/>
                <a:gd name="T5" fmla="*/ 0 h 3"/>
                <a:gd name="T6" fmla="*/ 0 w 1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3">
                  <a:moveTo>
                    <a:pt x="0" y="3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1" y="2"/>
                    <a:pt x="1" y="1"/>
                    <a:pt x="1" y="0"/>
                  </a:cubicBezTo>
                  <a:cubicBezTo>
                    <a:pt x="0" y="2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37" name="Freeform 7699"/>
            <p:cNvSpPr>
              <a:spLocks/>
            </p:cNvSpPr>
            <p:nvPr/>
          </p:nvSpPr>
          <p:spPr bwMode="auto">
            <a:xfrm>
              <a:off x="5266" y="2816"/>
              <a:ext cx="55" cy="58"/>
            </a:xfrm>
            <a:custGeom>
              <a:avLst/>
              <a:gdLst>
                <a:gd name="T0" fmla="*/ 45 w 45"/>
                <a:gd name="T1" fmla="*/ 32 h 48"/>
                <a:gd name="T2" fmla="*/ 42 w 45"/>
                <a:gd name="T3" fmla="*/ 31 h 48"/>
                <a:gd name="T4" fmla="*/ 42 w 45"/>
                <a:gd name="T5" fmla="*/ 35 h 48"/>
                <a:gd name="T6" fmla="*/ 40 w 45"/>
                <a:gd name="T7" fmla="*/ 31 h 48"/>
                <a:gd name="T8" fmla="*/ 35 w 45"/>
                <a:gd name="T9" fmla="*/ 32 h 48"/>
                <a:gd name="T10" fmla="*/ 39 w 45"/>
                <a:gd name="T11" fmla="*/ 29 h 48"/>
                <a:gd name="T12" fmla="*/ 0 w 45"/>
                <a:gd name="T13" fmla="*/ 20 h 48"/>
                <a:gd name="T14" fmla="*/ 40 w 45"/>
                <a:gd name="T15" fmla="*/ 48 h 48"/>
                <a:gd name="T16" fmla="*/ 45 w 45"/>
                <a:gd name="T17" fmla="*/ 48 h 48"/>
                <a:gd name="T18" fmla="*/ 45 w 45"/>
                <a:gd name="T19" fmla="*/ 3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5" h="48">
                  <a:moveTo>
                    <a:pt x="45" y="32"/>
                  </a:moveTo>
                  <a:cubicBezTo>
                    <a:pt x="44" y="31"/>
                    <a:pt x="43" y="31"/>
                    <a:pt x="42" y="31"/>
                  </a:cubicBezTo>
                  <a:cubicBezTo>
                    <a:pt x="42" y="34"/>
                    <a:pt x="42" y="35"/>
                    <a:pt x="42" y="35"/>
                  </a:cubicBezTo>
                  <a:cubicBezTo>
                    <a:pt x="41" y="34"/>
                    <a:pt x="41" y="32"/>
                    <a:pt x="40" y="31"/>
                  </a:cubicBezTo>
                  <a:cubicBezTo>
                    <a:pt x="37" y="31"/>
                    <a:pt x="35" y="32"/>
                    <a:pt x="35" y="32"/>
                  </a:cubicBezTo>
                  <a:cubicBezTo>
                    <a:pt x="36" y="31"/>
                    <a:pt x="37" y="30"/>
                    <a:pt x="39" y="29"/>
                  </a:cubicBezTo>
                  <a:cubicBezTo>
                    <a:pt x="23" y="1"/>
                    <a:pt x="0" y="20"/>
                    <a:pt x="0" y="20"/>
                  </a:cubicBezTo>
                  <a:cubicBezTo>
                    <a:pt x="29" y="0"/>
                    <a:pt x="40" y="48"/>
                    <a:pt x="40" y="48"/>
                  </a:cubicBezTo>
                  <a:cubicBezTo>
                    <a:pt x="45" y="48"/>
                    <a:pt x="45" y="48"/>
                    <a:pt x="45" y="48"/>
                  </a:cubicBezTo>
                  <a:cubicBezTo>
                    <a:pt x="45" y="41"/>
                    <a:pt x="45" y="36"/>
                    <a:pt x="45" y="32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38" name="Freeform 7700"/>
            <p:cNvSpPr>
              <a:spLocks/>
            </p:cNvSpPr>
            <p:nvPr/>
          </p:nvSpPr>
          <p:spPr bwMode="auto">
            <a:xfrm>
              <a:off x="5317" y="2844"/>
              <a:ext cx="3" cy="7"/>
            </a:xfrm>
            <a:custGeom>
              <a:avLst/>
              <a:gdLst>
                <a:gd name="T0" fmla="*/ 1 w 2"/>
                <a:gd name="T1" fmla="*/ 0 h 6"/>
                <a:gd name="T2" fmla="*/ 0 w 2"/>
                <a:gd name="T3" fmla="*/ 6 h 6"/>
                <a:gd name="T4" fmla="*/ 2 w 2"/>
                <a:gd name="T5" fmla="*/ 6 h 6"/>
                <a:gd name="T6" fmla="*/ 1 w 2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6">
                  <a:moveTo>
                    <a:pt x="1" y="0"/>
                  </a:moveTo>
                  <a:cubicBezTo>
                    <a:pt x="1" y="2"/>
                    <a:pt x="1" y="4"/>
                    <a:pt x="0" y="6"/>
                  </a:cubicBezTo>
                  <a:cubicBezTo>
                    <a:pt x="1" y="6"/>
                    <a:pt x="2" y="6"/>
                    <a:pt x="2" y="6"/>
                  </a:cubicBezTo>
                  <a:cubicBezTo>
                    <a:pt x="2" y="3"/>
                    <a:pt x="2" y="2"/>
                    <a:pt x="1" y="0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39" name="Freeform 7701"/>
            <p:cNvSpPr>
              <a:spLocks/>
            </p:cNvSpPr>
            <p:nvPr/>
          </p:nvSpPr>
          <p:spPr bwMode="auto">
            <a:xfrm>
              <a:off x="5320" y="2821"/>
              <a:ext cx="6" cy="30"/>
            </a:xfrm>
            <a:custGeom>
              <a:avLst/>
              <a:gdLst>
                <a:gd name="T0" fmla="*/ 4 w 5"/>
                <a:gd name="T1" fmla="*/ 21 h 25"/>
                <a:gd name="T2" fmla="*/ 5 w 5"/>
                <a:gd name="T3" fmla="*/ 4 h 25"/>
                <a:gd name="T4" fmla="*/ 5 w 5"/>
                <a:gd name="T5" fmla="*/ 3 h 25"/>
                <a:gd name="T6" fmla="*/ 4 w 5"/>
                <a:gd name="T7" fmla="*/ 0 h 25"/>
                <a:gd name="T8" fmla="*/ 0 w 5"/>
                <a:gd name="T9" fmla="*/ 15 h 25"/>
                <a:gd name="T10" fmla="*/ 3 w 5"/>
                <a:gd name="T11" fmla="*/ 25 h 25"/>
                <a:gd name="T12" fmla="*/ 4 w 5"/>
                <a:gd name="T13" fmla="*/ 21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25">
                  <a:moveTo>
                    <a:pt x="4" y="21"/>
                  </a:moveTo>
                  <a:cubicBezTo>
                    <a:pt x="4" y="14"/>
                    <a:pt x="4" y="9"/>
                    <a:pt x="5" y="4"/>
                  </a:cubicBezTo>
                  <a:cubicBezTo>
                    <a:pt x="5" y="4"/>
                    <a:pt x="5" y="4"/>
                    <a:pt x="5" y="3"/>
                  </a:cubicBezTo>
                  <a:cubicBezTo>
                    <a:pt x="5" y="2"/>
                    <a:pt x="4" y="1"/>
                    <a:pt x="4" y="0"/>
                  </a:cubicBezTo>
                  <a:cubicBezTo>
                    <a:pt x="2" y="5"/>
                    <a:pt x="0" y="10"/>
                    <a:pt x="0" y="15"/>
                  </a:cubicBezTo>
                  <a:cubicBezTo>
                    <a:pt x="2" y="20"/>
                    <a:pt x="3" y="25"/>
                    <a:pt x="3" y="25"/>
                  </a:cubicBezTo>
                  <a:cubicBezTo>
                    <a:pt x="3" y="24"/>
                    <a:pt x="4" y="23"/>
                    <a:pt x="4" y="21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40" name="Freeform 7702"/>
            <p:cNvSpPr>
              <a:spLocks/>
            </p:cNvSpPr>
            <p:nvPr/>
          </p:nvSpPr>
          <p:spPr bwMode="auto">
            <a:xfrm>
              <a:off x="5332" y="2821"/>
              <a:ext cx="9" cy="15"/>
            </a:xfrm>
            <a:custGeom>
              <a:avLst/>
              <a:gdLst>
                <a:gd name="T0" fmla="*/ 0 w 8"/>
                <a:gd name="T1" fmla="*/ 7 h 13"/>
                <a:gd name="T2" fmla="*/ 1 w 8"/>
                <a:gd name="T3" fmla="*/ 13 h 13"/>
                <a:gd name="T4" fmla="*/ 5 w 8"/>
                <a:gd name="T5" fmla="*/ 4 h 13"/>
                <a:gd name="T6" fmla="*/ 4 w 8"/>
                <a:gd name="T7" fmla="*/ 4 h 13"/>
                <a:gd name="T8" fmla="*/ 5 w 8"/>
                <a:gd name="T9" fmla="*/ 3 h 13"/>
                <a:gd name="T10" fmla="*/ 6 w 8"/>
                <a:gd name="T11" fmla="*/ 3 h 13"/>
                <a:gd name="T12" fmla="*/ 8 w 8"/>
                <a:gd name="T13" fmla="*/ 1 h 13"/>
                <a:gd name="T14" fmla="*/ 7 w 8"/>
                <a:gd name="T15" fmla="*/ 0 h 13"/>
                <a:gd name="T16" fmla="*/ 0 w 8"/>
                <a:gd name="T17" fmla="*/ 7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13">
                  <a:moveTo>
                    <a:pt x="0" y="7"/>
                  </a:moveTo>
                  <a:cubicBezTo>
                    <a:pt x="0" y="9"/>
                    <a:pt x="1" y="11"/>
                    <a:pt x="1" y="13"/>
                  </a:cubicBezTo>
                  <a:cubicBezTo>
                    <a:pt x="2" y="9"/>
                    <a:pt x="4" y="6"/>
                    <a:pt x="5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3"/>
                    <a:pt x="5" y="3"/>
                  </a:cubicBezTo>
                  <a:cubicBezTo>
                    <a:pt x="5" y="3"/>
                    <a:pt x="6" y="3"/>
                    <a:pt x="6" y="3"/>
                  </a:cubicBezTo>
                  <a:cubicBezTo>
                    <a:pt x="6" y="2"/>
                    <a:pt x="7" y="2"/>
                    <a:pt x="8" y="1"/>
                  </a:cubicBezTo>
                  <a:cubicBezTo>
                    <a:pt x="8" y="1"/>
                    <a:pt x="7" y="0"/>
                    <a:pt x="7" y="0"/>
                  </a:cubicBezTo>
                  <a:cubicBezTo>
                    <a:pt x="4" y="0"/>
                    <a:pt x="1" y="3"/>
                    <a:pt x="0" y="7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41" name="Freeform 7703"/>
            <p:cNvSpPr>
              <a:spLocks/>
            </p:cNvSpPr>
            <p:nvPr/>
          </p:nvSpPr>
          <p:spPr bwMode="auto">
            <a:xfrm>
              <a:off x="5349" y="2836"/>
              <a:ext cx="1" cy="5"/>
            </a:xfrm>
            <a:custGeom>
              <a:avLst/>
              <a:gdLst>
                <a:gd name="T0" fmla="*/ 1 w 1"/>
                <a:gd name="T1" fmla="*/ 0 h 4"/>
                <a:gd name="T2" fmla="*/ 0 w 1"/>
                <a:gd name="T3" fmla="*/ 1 h 4"/>
                <a:gd name="T4" fmla="*/ 1 w 1"/>
                <a:gd name="T5" fmla="*/ 4 h 4"/>
                <a:gd name="T6" fmla="*/ 1 w 1"/>
                <a:gd name="T7" fmla="*/ 3 h 4"/>
                <a:gd name="T8" fmla="*/ 1 w 1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4">
                  <a:moveTo>
                    <a:pt x="1" y="0"/>
                  </a:moveTo>
                  <a:cubicBezTo>
                    <a:pt x="0" y="0"/>
                    <a:pt x="0" y="1"/>
                    <a:pt x="0" y="1"/>
                  </a:cubicBezTo>
                  <a:cubicBezTo>
                    <a:pt x="0" y="2"/>
                    <a:pt x="0" y="3"/>
                    <a:pt x="1" y="4"/>
                  </a:cubicBezTo>
                  <a:cubicBezTo>
                    <a:pt x="1" y="4"/>
                    <a:pt x="1" y="3"/>
                    <a:pt x="1" y="3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42" name="Freeform 7704"/>
            <p:cNvSpPr>
              <a:spLocks/>
            </p:cNvSpPr>
            <p:nvPr/>
          </p:nvSpPr>
          <p:spPr bwMode="auto">
            <a:xfrm>
              <a:off x="5311" y="2804"/>
              <a:ext cx="15" cy="5"/>
            </a:xfrm>
            <a:custGeom>
              <a:avLst/>
              <a:gdLst>
                <a:gd name="T0" fmla="*/ 0 w 12"/>
                <a:gd name="T1" fmla="*/ 4 h 4"/>
                <a:gd name="T2" fmla="*/ 12 w 12"/>
                <a:gd name="T3" fmla="*/ 4 h 4"/>
                <a:gd name="T4" fmla="*/ 12 w 12"/>
                <a:gd name="T5" fmla="*/ 2 h 4"/>
                <a:gd name="T6" fmla="*/ 0 w 12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4">
                  <a:moveTo>
                    <a:pt x="0" y="4"/>
                  </a:moveTo>
                  <a:cubicBezTo>
                    <a:pt x="4" y="3"/>
                    <a:pt x="8" y="3"/>
                    <a:pt x="12" y="4"/>
                  </a:cubicBezTo>
                  <a:cubicBezTo>
                    <a:pt x="12" y="3"/>
                    <a:pt x="12" y="2"/>
                    <a:pt x="12" y="2"/>
                  </a:cubicBezTo>
                  <a:cubicBezTo>
                    <a:pt x="5" y="0"/>
                    <a:pt x="0" y="4"/>
                    <a:pt x="0" y="4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43" name="Freeform 7705"/>
            <p:cNvSpPr>
              <a:spLocks/>
            </p:cNvSpPr>
            <p:nvPr/>
          </p:nvSpPr>
          <p:spPr bwMode="auto">
            <a:xfrm>
              <a:off x="5345" y="2827"/>
              <a:ext cx="5" cy="8"/>
            </a:xfrm>
            <a:custGeom>
              <a:avLst/>
              <a:gdLst>
                <a:gd name="T0" fmla="*/ 2 w 4"/>
                <a:gd name="T1" fmla="*/ 7 h 7"/>
                <a:gd name="T2" fmla="*/ 4 w 4"/>
                <a:gd name="T3" fmla="*/ 6 h 7"/>
                <a:gd name="T4" fmla="*/ 4 w 4"/>
                <a:gd name="T5" fmla="*/ 4 h 7"/>
                <a:gd name="T6" fmla="*/ 1 w 4"/>
                <a:gd name="T7" fmla="*/ 0 h 7"/>
                <a:gd name="T8" fmla="*/ 0 w 4"/>
                <a:gd name="T9" fmla="*/ 1 h 7"/>
                <a:gd name="T10" fmla="*/ 2 w 4"/>
                <a:gd name="T11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7">
                  <a:moveTo>
                    <a:pt x="2" y="7"/>
                  </a:moveTo>
                  <a:cubicBezTo>
                    <a:pt x="3" y="7"/>
                    <a:pt x="3" y="6"/>
                    <a:pt x="4" y="6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3" y="2"/>
                    <a:pt x="2" y="1"/>
                    <a:pt x="1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1" y="3"/>
                    <a:pt x="1" y="5"/>
                    <a:pt x="2" y="7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44" name="Freeform 7706"/>
            <p:cNvSpPr>
              <a:spLocks/>
            </p:cNvSpPr>
            <p:nvPr/>
          </p:nvSpPr>
          <p:spPr bwMode="auto">
            <a:xfrm>
              <a:off x="5341" y="2822"/>
              <a:ext cx="5" cy="2"/>
            </a:xfrm>
            <a:custGeom>
              <a:avLst/>
              <a:gdLst>
                <a:gd name="T0" fmla="*/ 3 w 4"/>
                <a:gd name="T1" fmla="*/ 2 h 2"/>
                <a:gd name="T2" fmla="*/ 4 w 4"/>
                <a:gd name="T3" fmla="*/ 1 h 2"/>
                <a:gd name="T4" fmla="*/ 3 w 4"/>
                <a:gd name="T5" fmla="*/ 0 h 2"/>
                <a:gd name="T6" fmla="*/ 0 w 4"/>
                <a:gd name="T7" fmla="*/ 0 h 2"/>
                <a:gd name="T8" fmla="*/ 1 w 4"/>
                <a:gd name="T9" fmla="*/ 2 h 2"/>
                <a:gd name="T10" fmla="*/ 3 w 4"/>
                <a:gd name="T11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2">
                  <a:moveTo>
                    <a:pt x="3" y="2"/>
                  </a:moveTo>
                  <a:cubicBezTo>
                    <a:pt x="3" y="2"/>
                    <a:pt x="3" y="1"/>
                    <a:pt x="4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1" y="0"/>
                    <a:pt x="0" y="0"/>
                  </a:cubicBezTo>
                  <a:cubicBezTo>
                    <a:pt x="0" y="1"/>
                    <a:pt x="1" y="1"/>
                    <a:pt x="1" y="2"/>
                  </a:cubicBezTo>
                  <a:cubicBezTo>
                    <a:pt x="1" y="2"/>
                    <a:pt x="2" y="2"/>
                    <a:pt x="3" y="2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45" name="Freeform 7707"/>
            <p:cNvSpPr>
              <a:spLocks/>
            </p:cNvSpPr>
            <p:nvPr/>
          </p:nvSpPr>
          <p:spPr bwMode="auto">
            <a:xfrm>
              <a:off x="5330" y="2809"/>
              <a:ext cx="14" cy="12"/>
            </a:xfrm>
            <a:custGeom>
              <a:avLst/>
              <a:gdLst>
                <a:gd name="T0" fmla="*/ 8 w 11"/>
                <a:gd name="T1" fmla="*/ 10 h 10"/>
                <a:gd name="T2" fmla="*/ 11 w 11"/>
                <a:gd name="T3" fmla="*/ 9 h 10"/>
                <a:gd name="T4" fmla="*/ 2 w 11"/>
                <a:gd name="T5" fmla="*/ 0 h 10"/>
                <a:gd name="T6" fmla="*/ 0 w 11"/>
                <a:gd name="T7" fmla="*/ 2 h 10"/>
                <a:gd name="T8" fmla="*/ 8 w 11"/>
                <a:gd name="T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0">
                  <a:moveTo>
                    <a:pt x="8" y="10"/>
                  </a:moveTo>
                  <a:cubicBezTo>
                    <a:pt x="9" y="9"/>
                    <a:pt x="10" y="9"/>
                    <a:pt x="11" y="9"/>
                  </a:cubicBezTo>
                  <a:cubicBezTo>
                    <a:pt x="8" y="5"/>
                    <a:pt x="5" y="2"/>
                    <a:pt x="2" y="0"/>
                  </a:cubicBezTo>
                  <a:cubicBezTo>
                    <a:pt x="1" y="1"/>
                    <a:pt x="1" y="1"/>
                    <a:pt x="0" y="2"/>
                  </a:cubicBezTo>
                  <a:cubicBezTo>
                    <a:pt x="3" y="4"/>
                    <a:pt x="6" y="7"/>
                    <a:pt x="8" y="10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46" name="Freeform 7708"/>
            <p:cNvSpPr>
              <a:spLocks/>
            </p:cNvSpPr>
            <p:nvPr/>
          </p:nvSpPr>
          <p:spPr bwMode="auto">
            <a:xfrm>
              <a:off x="5328" y="2806"/>
              <a:ext cx="2" cy="4"/>
            </a:xfrm>
            <a:custGeom>
              <a:avLst/>
              <a:gdLst>
                <a:gd name="T0" fmla="*/ 1 w 2"/>
                <a:gd name="T1" fmla="*/ 3 h 3"/>
                <a:gd name="T2" fmla="*/ 2 w 2"/>
                <a:gd name="T3" fmla="*/ 1 h 3"/>
                <a:gd name="T4" fmla="*/ 0 w 2"/>
                <a:gd name="T5" fmla="*/ 0 h 3"/>
                <a:gd name="T6" fmla="*/ 0 w 2"/>
                <a:gd name="T7" fmla="*/ 3 h 3"/>
                <a:gd name="T8" fmla="*/ 1 w 2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3">
                  <a:moveTo>
                    <a:pt x="1" y="3"/>
                  </a:moveTo>
                  <a:cubicBezTo>
                    <a:pt x="1" y="3"/>
                    <a:pt x="2" y="2"/>
                    <a:pt x="2" y="1"/>
                  </a:cubicBezTo>
                  <a:cubicBezTo>
                    <a:pt x="1" y="1"/>
                    <a:pt x="0" y="0"/>
                    <a:pt x="0" y="0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0" y="3"/>
                    <a:pt x="0" y="3"/>
                    <a:pt x="1" y="3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47" name="Freeform 7709"/>
            <p:cNvSpPr>
              <a:spLocks/>
            </p:cNvSpPr>
            <p:nvPr/>
          </p:nvSpPr>
          <p:spPr bwMode="auto">
            <a:xfrm>
              <a:off x="5329" y="2807"/>
              <a:ext cx="4" cy="4"/>
            </a:xfrm>
            <a:custGeom>
              <a:avLst/>
              <a:gdLst>
                <a:gd name="T0" fmla="*/ 1 w 3"/>
                <a:gd name="T1" fmla="*/ 3 h 3"/>
                <a:gd name="T2" fmla="*/ 3 w 3"/>
                <a:gd name="T3" fmla="*/ 1 h 3"/>
                <a:gd name="T4" fmla="*/ 1 w 3"/>
                <a:gd name="T5" fmla="*/ 0 h 3"/>
                <a:gd name="T6" fmla="*/ 0 w 3"/>
                <a:gd name="T7" fmla="*/ 2 h 3"/>
                <a:gd name="T8" fmla="*/ 1 w 3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1" y="3"/>
                  </a:moveTo>
                  <a:cubicBezTo>
                    <a:pt x="2" y="2"/>
                    <a:pt x="2" y="2"/>
                    <a:pt x="3" y="1"/>
                  </a:cubicBezTo>
                  <a:cubicBezTo>
                    <a:pt x="2" y="1"/>
                    <a:pt x="2" y="1"/>
                    <a:pt x="1" y="0"/>
                  </a:cubicBezTo>
                  <a:cubicBezTo>
                    <a:pt x="1" y="1"/>
                    <a:pt x="0" y="2"/>
                    <a:pt x="0" y="2"/>
                  </a:cubicBezTo>
                  <a:cubicBezTo>
                    <a:pt x="0" y="3"/>
                    <a:pt x="1" y="3"/>
                    <a:pt x="1" y="3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48" name="Freeform 7710"/>
            <p:cNvSpPr>
              <a:spLocks/>
            </p:cNvSpPr>
            <p:nvPr/>
          </p:nvSpPr>
          <p:spPr bwMode="auto">
            <a:xfrm>
              <a:off x="5340" y="2819"/>
              <a:ext cx="5" cy="3"/>
            </a:xfrm>
            <a:custGeom>
              <a:avLst/>
              <a:gdLst>
                <a:gd name="T0" fmla="*/ 0 w 4"/>
                <a:gd name="T1" fmla="*/ 1 h 2"/>
                <a:gd name="T2" fmla="*/ 1 w 4"/>
                <a:gd name="T3" fmla="*/ 2 h 2"/>
                <a:gd name="T4" fmla="*/ 4 w 4"/>
                <a:gd name="T5" fmla="*/ 2 h 2"/>
                <a:gd name="T6" fmla="*/ 3 w 4"/>
                <a:gd name="T7" fmla="*/ 0 h 2"/>
                <a:gd name="T8" fmla="*/ 0 w 4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0" y="1"/>
                  </a:moveTo>
                  <a:cubicBezTo>
                    <a:pt x="0" y="1"/>
                    <a:pt x="1" y="2"/>
                    <a:pt x="1" y="2"/>
                  </a:cubicBezTo>
                  <a:cubicBezTo>
                    <a:pt x="2" y="2"/>
                    <a:pt x="3" y="2"/>
                    <a:pt x="4" y="2"/>
                  </a:cubicBezTo>
                  <a:cubicBezTo>
                    <a:pt x="4" y="1"/>
                    <a:pt x="3" y="1"/>
                    <a:pt x="3" y="0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49" name="Freeform 7711"/>
            <p:cNvSpPr>
              <a:spLocks/>
            </p:cNvSpPr>
            <p:nvPr/>
          </p:nvSpPr>
          <p:spPr bwMode="auto">
            <a:xfrm>
              <a:off x="5333" y="2845"/>
              <a:ext cx="11" cy="13"/>
            </a:xfrm>
            <a:custGeom>
              <a:avLst/>
              <a:gdLst>
                <a:gd name="T0" fmla="*/ 6 w 9"/>
                <a:gd name="T1" fmla="*/ 0 h 11"/>
                <a:gd name="T2" fmla="*/ 3 w 9"/>
                <a:gd name="T3" fmla="*/ 9 h 11"/>
                <a:gd name="T4" fmla="*/ 2 w 9"/>
                <a:gd name="T5" fmla="*/ 0 h 11"/>
                <a:gd name="T6" fmla="*/ 0 w 9"/>
                <a:gd name="T7" fmla="*/ 4 h 11"/>
                <a:gd name="T8" fmla="*/ 0 w 9"/>
                <a:gd name="T9" fmla="*/ 11 h 11"/>
                <a:gd name="T10" fmla="*/ 9 w 9"/>
                <a:gd name="T11" fmla="*/ 5 h 11"/>
                <a:gd name="T12" fmla="*/ 6 w 9"/>
                <a:gd name="T13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1">
                  <a:moveTo>
                    <a:pt x="6" y="0"/>
                  </a:moveTo>
                  <a:cubicBezTo>
                    <a:pt x="5" y="3"/>
                    <a:pt x="4" y="5"/>
                    <a:pt x="3" y="9"/>
                  </a:cubicBezTo>
                  <a:cubicBezTo>
                    <a:pt x="3" y="9"/>
                    <a:pt x="2" y="5"/>
                    <a:pt x="2" y="0"/>
                  </a:cubicBezTo>
                  <a:cubicBezTo>
                    <a:pt x="1" y="2"/>
                    <a:pt x="0" y="3"/>
                    <a:pt x="0" y="4"/>
                  </a:cubicBezTo>
                  <a:cubicBezTo>
                    <a:pt x="0" y="7"/>
                    <a:pt x="0" y="9"/>
                    <a:pt x="0" y="11"/>
                  </a:cubicBezTo>
                  <a:cubicBezTo>
                    <a:pt x="0" y="11"/>
                    <a:pt x="4" y="8"/>
                    <a:pt x="9" y="5"/>
                  </a:cubicBezTo>
                  <a:cubicBezTo>
                    <a:pt x="8" y="3"/>
                    <a:pt x="7" y="1"/>
                    <a:pt x="6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50" name="Freeform 7712"/>
            <p:cNvSpPr>
              <a:spLocks/>
            </p:cNvSpPr>
            <p:nvPr/>
          </p:nvSpPr>
          <p:spPr bwMode="auto">
            <a:xfrm>
              <a:off x="5341" y="2835"/>
              <a:ext cx="8" cy="10"/>
            </a:xfrm>
            <a:custGeom>
              <a:avLst/>
              <a:gdLst>
                <a:gd name="T0" fmla="*/ 5 w 6"/>
                <a:gd name="T1" fmla="*/ 0 h 8"/>
                <a:gd name="T2" fmla="*/ 0 w 6"/>
                <a:gd name="T3" fmla="*/ 6 h 8"/>
                <a:gd name="T4" fmla="*/ 3 w 6"/>
                <a:gd name="T5" fmla="*/ 8 h 8"/>
                <a:gd name="T6" fmla="*/ 6 w 6"/>
                <a:gd name="T7" fmla="*/ 2 h 8"/>
                <a:gd name="T8" fmla="*/ 5 w 6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">
                  <a:moveTo>
                    <a:pt x="5" y="0"/>
                  </a:moveTo>
                  <a:cubicBezTo>
                    <a:pt x="4" y="2"/>
                    <a:pt x="2" y="3"/>
                    <a:pt x="0" y="6"/>
                  </a:cubicBezTo>
                  <a:cubicBezTo>
                    <a:pt x="2" y="6"/>
                    <a:pt x="2" y="7"/>
                    <a:pt x="3" y="8"/>
                  </a:cubicBezTo>
                  <a:cubicBezTo>
                    <a:pt x="4" y="6"/>
                    <a:pt x="5" y="4"/>
                    <a:pt x="6" y="2"/>
                  </a:cubicBezTo>
                  <a:cubicBezTo>
                    <a:pt x="6" y="2"/>
                    <a:pt x="5" y="1"/>
                    <a:pt x="5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51" name="Freeform 7713"/>
            <p:cNvSpPr>
              <a:spLocks/>
            </p:cNvSpPr>
            <p:nvPr/>
          </p:nvSpPr>
          <p:spPr bwMode="auto">
            <a:xfrm>
              <a:off x="5330" y="2827"/>
              <a:ext cx="2" cy="3"/>
            </a:xfrm>
            <a:custGeom>
              <a:avLst/>
              <a:gdLst>
                <a:gd name="T0" fmla="*/ 0 w 1"/>
                <a:gd name="T1" fmla="*/ 0 h 3"/>
                <a:gd name="T2" fmla="*/ 0 w 1"/>
                <a:gd name="T3" fmla="*/ 3 h 3"/>
                <a:gd name="T4" fmla="*/ 1 w 1"/>
                <a:gd name="T5" fmla="*/ 2 h 3"/>
                <a:gd name="T6" fmla="*/ 0 w 1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3">
                  <a:moveTo>
                    <a:pt x="0" y="0"/>
                  </a:moveTo>
                  <a:cubicBezTo>
                    <a:pt x="0" y="1"/>
                    <a:pt x="0" y="2"/>
                    <a:pt x="0" y="3"/>
                  </a:cubicBezTo>
                  <a:cubicBezTo>
                    <a:pt x="0" y="2"/>
                    <a:pt x="0" y="2"/>
                    <a:pt x="1" y="2"/>
                  </a:cubicBezTo>
                  <a:cubicBezTo>
                    <a:pt x="0" y="1"/>
                    <a:pt x="0" y="1"/>
                    <a:pt x="0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52" name="Freeform 7714"/>
            <p:cNvSpPr>
              <a:spLocks/>
            </p:cNvSpPr>
            <p:nvPr/>
          </p:nvSpPr>
          <p:spPr bwMode="auto">
            <a:xfrm>
              <a:off x="5333" y="2836"/>
              <a:ext cx="1" cy="2"/>
            </a:xfrm>
            <a:custGeom>
              <a:avLst/>
              <a:gdLst>
                <a:gd name="T0" fmla="*/ 1 w 1"/>
                <a:gd name="T1" fmla="*/ 1 h 1"/>
                <a:gd name="T2" fmla="*/ 0 w 1"/>
                <a:gd name="T3" fmla="*/ 0 h 1"/>
                <a:gd name="T4" fmla="*/ 0 w 1"/>
                <a:gd name="T5" fmla="*/ 1 h 1"/>
                <a:gd name="T6" fmla="*/ 1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0" y="1"/>
                    <a:pt x="1" y="1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53" name="Freeform 7715"/>
            <p:cNvSpPr>
              <a:spLocks/>
            </p:cNvSpPr>
            <p:nvPr/>
          </p:nvSpPr>
          <p:spPr bwMode="auto">
            <a:xfrm>
              <a:off x="5337" y="2857"/>
              <a:ext cx="8" cy="17"/>
            </a:xfrm>
            <a:custGeom>
              <a:avLst/>
              <a:gdLst>
                <a:gd name="T0" fmla="*/ 5 w 7"/>
                <a:gd name="T1" fmla="*/ 1 h 14"/>
                <a:gd name="T2" fmla="*/ 0 w 7"/>
                <a:gd name="T3" fmla="*/ 14 h 14"/>
                <a:gd name="T4" fmla="*/ 7 w 7"/>
                <a:gd name="T5" fmla="*/ 14 h 14"/>
                <a:gd name="T6" fmla="*/ 7 w 7"/>
                <a:gd name="T7" fmla="*/ 0 h 14"/>
                <a:gd name="T8" fmla="*/ 5 w 7"/>
                <a:gd name="T9" fmla="*/ 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4">
                  <a:moveTo>
                    <a:pt x="5" y="1"/>
                  </a:moveTo>
                  <a:cubicBezTo>
                    <a:pt x="4" y="4"/>
                    <a:pt x="2" y="8"/>
                    <a:pt x="0" y="14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8"/>
                    <a:pt x="7" y="4"/>
                    <a:pt x="7" y="0"/>
                  </a:cubicBezTo>
                  <a:cubicBezTo>
                    <a:pt x="6" y="1"/>
                    <a:pt x="6" y="1"/>
                    <a:pt x="5" y="1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54" name="Freeform 7716"/>
            <p:cNvSpPr>
              <a:spLocks/>
            </p:cNvSpPr>
            <p:nvPr/>
          </p:nvSpPr>
          <p:spPr bwMode="auto">
            <a:xfrm>
              <a:off x="5318" y="2813"/>
              <a:ext cx="6" cy="8"/>
            </a:xfrm>
            <a:custGeom>
              <a:avLst/>
              <a:gdLst>
                <a:gd name="T0" fmla="*/ 0 w 5"/>
                <a:gd name="T1" fmla="*/ 0 h 6"/>
                <a:gd name="T2" fmla="*/ 5 w 5"/>
                <a:gd name="T3" fmla="*/ 6 h 6"/>
                <a:gd name="T4" fmla="*/ 5 w 5"/>
                <a:gd name="T5" fmla="*/ 4 h 6"/>
                <a:gd name="T6" fmla="*/ 0 w 5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6">
                  <a:moveTo>
                    <a:pt x="0" y="0"/>
                  </a:moveTo>
                  <a:cubicBezTo>
                    <a:pt x="0" y="0"/>
                    <a:pt x="2" y="2"/>
                    <a:pt x="5" y="6"/>
                  </a:cubicBezTo>
                  <a:cubicBezTo>
                    <a:pt x="5" y="5"/>
                    <a:pt x="5" y="4"/>
                    <a:pt x="5" y="4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55" name="Freeform 7717"/>
            <p:cNvSpPr>
              <a:spLocks/>
            </p:cNvSpPr>
            <p:nvPr/>
          </p:nvSpPr>
          <p:spPr bwMode="auto">
            <a:xfrm>
              <a:off x="5313" y="2851"/>
              <a:ext cx="4" cy="3"/>
            </a:xfrm>
            <a:custGeom>
              <a:avLst/>
              <a:gdLst>
                <a:gd name="T0" fmla="*/ 3 w 3"/>
                <a:gd name="T1" fmla="*/ 2 h 2"/>
                <a:gd name="T2" fmla="*/ 3 w 3"/>
                <a:gd name="T3" fmla="*/ 0 h 2"/>
                <a:gd name="T4" fmla="*/ 0 w 3"/>
                <a:gd name="T5" fmla="*/ 0 h 2"/>
                <a:gd name="T6" fmla="*/ 1 w 3"/>
                <a:gd name="T7" fmla="*/ 2 h 2"/>
                <a:gd name="T8" fmla="*/ 3 w 3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2">
                  <a:moveTo>
                    <a:pt x="3" y="2"/>
                  </a:moveTo>
                  <a:cubicBezTo>
                    <a:pt x="3" y="1"/>
                    <a:pt x="3" y="0"/>
                    <a:pt x="3" y="0"/>
                  </a:cubicBezTo>
                  <a:cubicBezTo>
                    <a:pt x="2" y="0"/>
                    <a:pt x="1" y="0"/>
                    <a:pt x="0" y="0"/>
                  </a:cubicBezTo>
                  <a:cubicBezTo>
                    <a:pt x="0" y="1"/>
                    <a:pt x="1" y="1"/>
                    <a:pt x="1" y="2"/>
                  </a:cubicBezTo>
                  <a:cubicBezTo>
                    <a:pt x="2" y="2"/>
                    <a:pt x="2" y="2"/>
                    <a:pt x="3" y="2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56" name="Freeform 7718"/>
            <p:cNvSpPr>
              <a:spLocks/>
            </p:cNvSpPr>
            <p:nvPr/>
          </p:nvSpPr>
          <p:spPr bwMode="auto">
            <a:xfrm>
              <a:off x="5324" y="2850"/>
              <a:ext cx="20" cy="24"/>
            </a:xfrm>
            <a:custGeom>
              <a:avLst/>
              <a:gdLst>
                <a:gd name="T0" fmla="*/ 15 w 16"/>
                <a:gd name="T1" fmla="*/ 8 h 20"/>
                <a:gd name="T2" fmla="*/ 16 w 16"/>
                <a:gd name="T3" fmla="*/ 2 h 20"/>
                <a:gd name="T4" fmla="*/ 16 w 16"/>
                <a:gd name="T5" fmla="*/ 1 h 20"/>
                <a:gd name="T6" fmla="*/ 7 w 16"/>
                <a:gd name="T7" fmla="*/ 7 h 20"/>
                <a:gd name="T8" fmla="*/ 7 w 16"/>
                <a:gd name="T9" fmla="*/ 0 h 20"/>
                <a:gd name="T10" fmla="*/ 1 w 16"/>
                <a:gd name="T11" fmla="*/ 17 h 20"/>
                <a:gd name="T12" fmla="*/ 0 w 16"/>
                <a:gd name="T13" fmla="*/ 20 h 20"/>
                <a:gd name="T14" fmla="*/ 10 w 16"/>
                <a:gd name="T15" fmla="*/ 20 h 20"/>
                <a:gd name="T16" fmla="*/ 15 w 16"/>
                <a:gd name="T17" fmla="*/ 7 h 20"/>
                <a:gd name="T18" fmla="*/ 15 w 16"/>
                <a:gd name="T19" fmla="*/ 8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20">
                  <a:moveTo>
                    <a:pt x="15" y="8"/>
                  </a:moveTo>
                  <a:cubicBezTo>
                    <a:pt x="15" y="8"/>
                    <a:pt x="15" y="5"/>
                    <a:pt x="16" y="2"/>
                  </a:cubicBezTo>
                  <a:cubicBezTo>
                    <a:pt x="16" y="2"/>
                    <a:pt x="16" y="1"/>
                    <a:pt x="16" y="1"/>
                  </a:cubicBezTo>
                  <a:cubicBezTo>
                    <a:pt x="11" y="4"/>
                    <a:pt x="7" y="7"/>
                    <a:pt x="7" y="7"/>
                  </a:cubicBezTo>
                  <a:cubicBezTo>
                    <a:pt x="7" y="5"/>
                    <a:pt x="7" y="3"/>
                    <a:pt x="7" y="0"/>
                  </a:cubicBezTo>
                  <a:cubicBezTo>
                    <a:pt x="4" y="7"/>
                    <a:pt x="2" y="13"/>
                    <a:pt x="1" y="17"/>
                  </a:cubicBezTo>
                  <a:cubicBezTo>
                    <a:pt x="1" y="18"/>
                    <a:pt x="1" y="19"/>
                    <a:pt x="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2" y="14"/>
                    <a:pt x="14" y="10"/>
                    <a:pt x="15" y="7"/>
                  </a:cubicBezTo>
                  <a:cubicBezTo>
                    <a:pt x="15" y="7"/>
                    <a:pt x="15" y="8"/>
                    <a:pt x="15" y="8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57" name="Freeform 7719"/>
            <p:cNvSpPr>
              <a:spLocks/>
            </p:cNvSpPr>
            <p:nvPr/>
          </p:nvSpPr>
          <p:spPr bwMode="auto">
            <a:xfrm>
              <a:off x="5330" y="2829"/>
              <a:ext cx="3" cy="10"/>
            </a:xfrm>
            <a:custGeom>
              <a:avLst/>
              <a:gdLst>
                <a:gd name="T0" fmla="*/ 2 w 2"/>
                <a:gd name="T1" fmla="*/ 7 h 8"/>
                <a:gd name="T2" fmla="*/ 2 w 2"/>
                <a:gd name="T3" fmla="*/ 6 h 8"/>
                <a:gd name="T4" fmla="*/ 1 w 2"/>
                <a:gd name="T5" fmla="*/ 0 h 8"/>
                <a:gd name="T6" fmla="*/ 0 w 2"/>
                <a:gd name="T7" fmla="*/ 1 h 8"/>
                <a:gd name="T8" fmla="*/ 1 w 2"/>
                <a:gd name="T9" fmla="*/ 8 h 8"/>
                <a:gd name="T10" fmla="*/ 2 w 2"/>
                <a:gd name="T11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8">
                  <a:moveTo>
                    <a:pt x="2" y="7"/>
                  </a:moveTo>
                  <a:cubicBezTo>
                    <a:pt x="2" y="7"/>
                    <a:pt x="2" y="6"/>
                    <a:pt x="2" y="6"/>
                  </a:cubicBezTo>
                  <a:cubicBezTo>
                    <a:pt x="2" y="4"/>
                    <a:pt x="1" y="2"/>
                    <a:pt x="1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1" y="5"/>
                    <a:pt x="1" y="8"/>
                    <a:pt x="1" y="8"/>
                  </a:cubicBezTo>
                  <a:cubicBezTo>
                    <a:pt x="2" y="8"/>
                    <a:pt x="2" y="7"/>
                    <a:pt x="2" y="7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58" name="Freeform 7720"/>
            <p:cNvSpPr>
              <a:spLocks/>
            </p:cNvSpPr>
            <p:nvPr/>
          </p:nvSpPr>
          <p:spPr bwMode="auto">
            <a:xfrm>
              <a:off x="5309" y="2851"/>
              <a:ext cx="6" cy="4"/>
            </a:xfrm>
            <a:custGeom>
              <a:avLst/>
              <a:gdLst>
                <a:gd name="T0" fmla="*/ 0 w 5"/>
                <a:gd name="T1" fmla="*/ 3 h 3"/>
                <a:gd name="T2" fmla="*/ 5 w 5"/>
                <a:gd name="T3" fmla="*/ 2 h 3"/>
                <a:gd name="T4" fmla="*/ 4 w 5"/>
                <a:gd name="T5" fmla="*/ 0 h 3"/>
                <a:gd name="T6" fmla="*/ 0 w 5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0" y="3"/>
                  </a:moveTo>
                  <a:cubicBezTo>
                    <a:pt x="0" y="3"/>
                    <a:pt x="2" y="2"/>
                    <a:pt x="5" y="2"/>
                  </a:cubicBezTo>
                  <a:cubicBezTo>
                    <a:pt x="5" y="1"/>
                    <a:pt x="4" y="1"/>
                    <a:pt x="4" y="0"/>
                  </a:cubicBezTo>
                  <a:cubicBezTo>
                    <a:pt x="2" y="1"/>
                    <a:pt x="1" y="2"/>
                    <a:pt x="0" y="3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59" name="Freeform 7721"/>
            <p:cNvSpPr>
              <a:spLocks/>
            </p:cNvSpPr>
            <p:nvPr/>
          </p:nvSpPr>
          <p:spPr bwMode="auto">
            <a:xfrm>
              <a:off x="5324" y="2818"/>
              <a:ext cx="2" cy="6"/>
            </a:xfrm>
            <a:custGeom>
              <a:avLst/>
              <a:gdLst>
                <a:gd name="T0" fmla="*/ 1 w 1"/>
                <a:gd name="T1" fmla="*/ 0 h 5"/>
                <a:gd name="T2" fmla="*/ 0 w 1"/>
                <a:gd name="T3" fmla="*/ 0 h 5"/>
                <a:gd name="T4" fmla="*/ 0 w 1"/>
                <a:gd name="T5" fmla="*/ 2 h 5"/>
                <a:gd name="T6" fmla="*/ 1 w 1"/>
                <a:gd name="T7" fmla="*/ 5 h 5"/>
                <a:gd name="T8" fmla="*/ 1 w 1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5">
                  <a:moveTo>
                    <a:pt x="1" y="0"/>
                  </a:moveTo>
                  <a:cubicBezTo>
                    <a:pt x="1" y="0"/>
                    <a:pt x="1" y="0"/>
                    <a:pt x="0" y="0"/>
                  </a:cubicBezTo>
                  <a:cubicBezTo>
                    <a:pt x="0" y="0"/>
                    <a:pt x="0" y="1"/>
                    <a:pt x="0" y="2"/>
                  </a:cubicBezTo>
                  <a:cubicBezTo>
                    <a:pt x="0" y="3"/>
                    <a:pt x="1" y="4"/>
                    <a:pt x="1" y="5"/>
                  </a:cubicBezTo>
                  <a:cubicBezTo>
                    <a:pt x="1" y="4"/>
                    <a:pt x="1" y="2"/>
                    <a:pt x="1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60" name="Freeform 7722"/>
            <p:cNvSpPr>
              <a:spLocks/>
            </p:cNvSpPr>
            <p:nvPr/>
          </p:nvSpPr>
          <p:spPr bwMode="auto">
            <a:xfrm>
              <a:off x="5317" y="2851"/>
              <a:ext cx="4" cy="4"/>
            </a:xfrm>
            <a:custGeom>
              <a:avLst/>
              <a:gdLst>
                <a:gd name="T0" fmla="*/ 3 w 3"/>
                <a:gd name="T1" fmla="*/ 3 h 3"/>
                <a:gd name="T2" fmla="*/ 2 w 3"/>
                <a:gd name="T3" fmla="*/ 0 h 3"/>
                <a:gd name="T4" fmla="*/ 0 w 3"/>
                <a:gd name="T5" fmla="*/ 0 h 3"/>
                <a:gd name="T6" fmla="*/ 0 w 3"/>
                <a:gd name="T7" fmla="*/ 2 h 3"/>
                <a:gd name="T8" fmla="*/ 3 w 3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3" y="3"/>
                  </a:moveTo>
                  <a:cubicBezTo>
                    <a:pt x="3" y="2"/>
                    <a:pt x="3" y="1"/>
                    <a:pt x="2" y="0"/>
                  </a:cubicBezTo>
                  <a:cubicBezTo>
                    <a:pt x="2" y="0"/>
                    <a:pt x="1" y="0"/>
                    <a:pt x="0" y="0"/>
                  </a:cubicBezTo>
                  <a:cubicBezTo>
                    <a:pt x="0" y="0"/>
                    <a:pt x="0" y="1"/>
                    <a:pt x="0" y="2"/>
                  </a:cubicBezTo>
                  <a:cubicBezTo>
                    <a:pt x="1" y="2"/>
                    <a:pt x="2" y="2"/>
                    <a:pt x="3" y="3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61" name="Freeform 7723"/>
            <p:cNvSpPr>
              <a:spLocks/>
            </p:cNvSpPr>
            <p:nvPr/>
          </p:nvSpPr>
          <p:spPr bwMode="auto">
            <a:xfrm>
              <a:off x="5348" y="2834"/>
              <a:ext cx="2" cy="4"/>
            </a:xfrm>
            <a:custGeom>
              <a:avLst/>
              <a:gdLst>
                <a:gd name="T0" fmla="*/ 2 w 2"/>
                <a:gd name="T1" fmla="*/ 0 h 3"/>
                <a:gd name="T2" fmla="*/ 0 w 2"/>
                <a:gd name="T3" fmla="*/ 1 h 3"/>
                <a:gd name="T4" fmla="*/ 1 w 2"/>
                <a:gd name="T5" fmla="*/ 3 h 3"/>
                <a:gd name="T6" fmla="*/ 2 w 2"/>
                <a:gd name="T7" fmla="*/ 2 h 3"/>
                <a:gd name="T8" fmla="*/ 2 w 2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cubicBezTo>
                    <a:pt x="1" y="0"/>
                    <a:pt x="1" y="1"/>
                    <a:pt x="0" y="1"/>
                  </a:cubicBezTo>
                  <a:cubicBezTo>
                    <a:pt x="0" y="2"/>
                    <a:pt x="1" y="3"/>
                    <a:pt x="1" y="3"/>
                  </a:cubicBezTo>
                  <a:cubicBezTo>
                    <a:pt x="1" y="3"/>
                    <a:pt x="1" y="2"/>
                    <a:pt x="2" y="2"/>
                  </a:cubicBezTo>
                  <a:lnTo>
                    <a:pt x="2" y="0"/>
                  </a:ln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62" name="Freeform 7724"/>
            <p:cNvSpPr>
              <a:spLocks/>
            </p:cNvSpPr>
            <p:nvPr/>
          </p:nvSpPr>
          <p:spPr bwMode="auto">
            <a:xfrm>
              <a:off x="5326" y="2809"/>
              <a:ext cx="2" cy="7"/>
            </a:xfrm>
            <a:custGeom>
              <a:avLst/>
              <a:gdLst>
                <a:gd name="T0" fmla="*/ 2 w 2"/>
                <a:gd name="T1" fmla="*/ 1 h 6"/>
                <a:gd name="T2" fmla="*/ 0 w 2"/>
                <a:gd name="T3" fmla="*/ 0 h 6"/>
                <a:gd name="T4" fmla="*/ 0 w 2"/>
                <a:gd name="T5" fmla="*/ 6 h 6"/>
                <a:gd name="T6" fmla="*/ 2 w 2"/>
                <a:gd name="T7" fmla="*/ 2 h 6"/>
                <a:gd name="T8" fmla="*/ 2 w 2"/>
                <a:gd name="T9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6">
                  <a:moveTo>
                    <a:pt x="2" y="1"/>
                  </a:moveTo>
                  <a:cubicBezTo>
                    <a:pt x="1" y="1"/>
                    <a:pt x="0" y="0"/>
                    <a:pt x="0" y="0"/>
                  </a:cubicBezTo>
                  <a:cubicBezTo>
                    <a:pt x="0" y="2"/>
                    <a:pt x="0" y="4"/>
                    <a:pt x="0" y="6"/>
                  </a:cubicBezTo>
                  <a:cubicBezTo>
                    <a:pt x="1" y="5"/>
                    <a:pt x="1" y="3"/>
                    <a:pt x="2" y="2"/>
                  </a:cubicBezTo>
                  <a:cubicBezTo>
                    <a:pt x="2" y="2"/>
                    <a:pt x="2" y="1"/>
                    <a:pt x="2" y="1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63" name="Freeform 7725"/>
            <p:cNvSpPr>
              <a:spLocks/>
            </p:cNvSpPr>
            <p:nvPr/>
          </p:nvSpPr>
          <p:spPr bwMode="auto">
            <a:xfrm>
              <a:off x="5321" y="2768"/>
              <a:ext cx="7" cy="38"/>
            </a:xfrm>
            <a:custGeom>
              <a:avLst/>
              <a:gdLst>
                <a:gd name="T0" fmla="*/ 0 w 6"/>
                <a:gd name="T1" fmla="*/ 0 h 31"/>
                <a:gd name="T2" fmla="*/ 4 w 6"/>
                <a:gd name="T3" fmla="*/ 31 h 31"/>
                <a:gd name="T4" fmla="*/ 6 w 6"/>
                <a:gd name="T5" fmla="*/ 31 h 31"/>
                <a:gd name="T6" fmla="*/ 0 w 6"/>
                <a:gd name="T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31">
                  <a:moveTo>
                    <a:pt x="0" y="0"/>
                  </a:moveTo>
                  <a:cubicBezTo>
                    <a:pt x="0" y="0"/>
                    <a:pt x="2" y="14"/>
                    <a:pt x="4" y="31"/>
                  </a:cubicBezTo>
                  <a:cubicBezTo>
                    <a:pt x="4" y="31"/>
                    <a:pt x="5" y="31"/>
                    <a:pt x="6" y="31"/>
                  </a:cubicBezTo>
                  <a:cubicBezTo>
                    <a:pt x="3" y="17"/>
                    <a:pt x="1" y="2"/>
                    <a:pt x="0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64" name="Freeform 7726"/>
            <p:cNvSpPr>
              <a:spLocks/>
            </p:cNvSpPr>
            <p:nvPr/>
          </p:nvSpPr>
          <p:spPr bwMode="auto">
            <a:xfrm>
              <a:off x="5335" y="2845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65" name="Freeform 7727"/>
            <p:cNvSpPr>
              <a:spLocks/>
            </p:cNvSpPr>
            <p:nvPr/>
          </p:nvSpPr>
          <p:spPr bwMode="auto">
            <a:xfrm>
              <a:off x="5346" y="2819"/>
              <a:ext cx="4" cy="5"/>
            </a:xfrm>
            <a:custGeom>
              <a:avLst/>
              <a:gdLst>
                <a:gd name="T0" fmla="*/ 1 w 3"/>
                <a:gd name="T1" fmla="*/ 2 h 4"/>
                <a:gd name="T2" fmla="*/ 0 w 3"/>
                <a:gd name="T3" fmla="*/ 3 h 4"/>
                <a:gd name="T4" fmla="*/ 0 w 3"/>
                <a:gd name="T5" fmla="*/ 4 h 4"/>
                <a:gd name="T6" fmla="*/ 1 w 3"/>
                <a:gd name="T7" fmla="*/ 4 h 4"/>
                <a:gd name="T8" fmla="*/ 3 w 3"/>
                <a:gd name="T9" fmla="*/ 3 h 4"/>
                <a:gd name="T10" fmla="*/ 3 w 3"/>
                <a:gd name="T11" fmla="*/ 0 h 4"/>
                <a:gd name="T12" fmla="*/ 1 w 3"/>
                <a:gd name="T13" fmla="*/ 2 h 4"/>
                <a:gd name="T14" fmla="*/ 2 w 3"/>
                <a:gd name="T15" fmla="*/ 2 h 4"/>
                <a:gd name="T16" fmla="*/ 1 w 3"/>
                <a:gd name="T17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" h="4">
                  <a:moveTo>
                    <a:pt x="1" y="2"/>
                  </a:moveTo>
                  <a:cubicBezTo>
                    <a:pt x="1" y="2"/>
                    <a:pt x="0" y="3"/>
                    <a:pt x="0" y="3"/>
                  </a:cubicBezTo>
                  <a:cubicBezTo>
                    <a:pt x="0" y="3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3"/>
                    <a:pt x="3" y="3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1"/>
                    <a:pt x="2" y="1"/>
                    <a:pt x="1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1" y="2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66" name="Freeform 7728"/>
            <p:cNvSpPr>
              <a:spLocks/>
            </p:cNvSpPr>
            <p:nvPr/>
          </p:nvSpPr>
          <p:spPr bwMode="auto">
            <a:xfrm>
              <a:off x="5301" y="2827"/>
              <a:ext cx="19" cy="17"/>
            </a:xfrm>
            <a:custGeom>
              <a:avLst/>
              <a:gdLst>
                <a:gd name="T0" fmla="*/ 0 w 15"/>
                <a:gd name="T1" fmla="*/ 9 h 14"/>
                <a:gd name="T2" fmla="*/ 14 w 15"/>
                <a:gd name="T3" fmla="*/ 14 h 14"/>
                <a:gd name="T4" fmla="*/ 15 w 15"/>
                <a:gd name="T5" fmla="*/ 10 h 14"/>
                <a:gd name="T6" fmla="*/ 0 w 15"/>
                <a:gd name="T7" fmla="*/ 9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4">
                  <a:moveTo>
                    <a:pt x="0" y="9"/>
                  </a:moveTo>
                  <a:cubicBezTo>
                    <a:pt x="0" y="9"/>
                    <a:pt x="10" y="0"/>
                    <a:pt x="14" y="14"/>
                  </a:cubicBezTo>
                  <a:cubicBezTo>
                    <a:pt x="14" y="13"/>
                    <a:pt x="14" y="12"/>
                    <a:pt x="15" y="10"/>
                  </a:cubicBezTo>
                  <a:cubicBezTo>
                    <a:pt x="12" y="5"/>
                    <a:pt x="7" y="1"/>
                    <a:pt x="0" y="9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67" name="Freeform 7729"/>
            <p:cNvSpPr>
              <a:spLocks/>
            </p:cNvSpPr>
            <p:nvPr/>
          </p:nvSpPr>
          <p:spPr bwMode="auto">
            <a:xfrm>
              <a:off x="5324" y="2857"/>
              <a:ext cx="0" cy="3"/>
            </a:xfrm>
            <a:custGeom>
              <a:avLst/>
              <a:gdLst>
                <a:gd name="T0" fmla="*/ 2 h 2"/>
                <a:gd name="T1" fmla="*/ 1 h 2"/>
                <a:gd name="T2" fmla="*/ 0 h 2"/>
                <a:gd name="T3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cubicBezTo>
                    <a:pt x="0" y="2"/>
                    <a:pt x="0" y="2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68" name="Freeform 7730"/>
            <p:cNvSpPr>
              <a:spLocks/>
            </p:cNvSpPr>
            <p:nvPr/>
          </p:nvSpPr>
          <p:spPr bwMode="auto">
            <a:xfrm>
              <a:off x="5324" y="2824"/>
              <a:ext cx="4" cy="28"/>
            </a:xfrm>
            <a:custGeom>
              <a:avLst/>
              <a:gdLst>
                <a:gd name="T0" fmla="*/ 3 w 3"/>
                <a:gd name="T1" fmla="*/ 9 h 23"/>
                <a:gd name="T2" fmla="*/ 1 w 3"/>
                <a:gd name="T3" fmla="*/ 0 h 23"/>
                <a:gd name="T4" fmla="*/ 1 w 3"/>
                <a:gd name="T5" fmla="*/ 1 h 23"/>
                <a:gd name="T6" fmla="*/ 0 w 3"/>
                <a:gd name="T7" fmla="*/ 18 h 23"/>
                <a:gd name="T8" fmla="*/ 0 w 3"/>
                <a:gd name="T9" fmla="*/ 23 h 23"/>
                <a:gd name="T10" fmla="*/ 1 w 3"/>
                <a:gd name="T11" fmla="*/ 23 h 23"/>
                <a:gd name="T12" fmla="*/ 3 w 3"/>
                <a:gd name="T13" fmla="*/ 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23">
                  <a:moveTo>
                    <a:pt x="3" y="9"/>
                  </a:moveTo>
                  <a:cubicBezTo>
                    <a:pt x="3" y="6"/>
                    <a:pt x="2" y="3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7"/>
                    <a:pt x="1" y="13"/>
                    <a:pt x="0" y="18"/>
                  </a:cubicBezTo>
                  <a:cubicBezTo>
                    <a:pt x="0" y="20"/>
                    <a:pt x="0" y="21"/>
                    <a:pt x="0" y="23"/>
                  </a:cubicBezTo>
                  <a:cubicBezTo>
                    <a:pt x="0" y="23"/>
                    <a:pt x="0" y="23"/>
                    <a:pt x="1" y="23"/>
                  </a:cubicBezTo>
                  <a:cubicBezTo>
                    <a:pt x="1" y="19"/>
                    <a:pt x="2" y="14"/>
                    <a:pt x="3" y="9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69" name="Freeform 7731"/>
            <p:cNvSpPr>
              <a:spLocks/>
            </p:cNvSpPr>
            <p:nvPr/>
          </p:nvSpPr>
          <p:spPr bwMode="auto">
            <a:xfrm>
              <a:off x="5327" y="2815"/>
              <a:ext cx="3" cy="12"/>
            </a:xfrm>
            <a:custGeom>
              <a:avLst/>
              <a:gdLst>
                <a:gd name="T0" fmla="*/ 2 w 3"/>
                <a:gd name="T1" fmla="*/ 0 h 10"/>
                <a:gd name="T2" fmla="*/ 0 w 3"/>
                <a:gd name="T3" fmla="*/ 5 h 10"/>
                <a:gd name="T4" fmla="*/ 3 w 3"/>
                <a:gd name="T5" fmla="*/ 10 h 10"/>
                <a:gd name="T6" fmla="*/ 2 w 3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0">
                  <a:moveTo>
                    <a:pt x="2" y="0"/>
                  </a:moveTo>
                  <a:cubicBezTo>
                    <a:pt x="1" y="2"/>
                    <a:pt x="1" y="3"/>
                    <a:pt x="0" y="5"/>
                  </a:cubicBezTo>
                  <a:cubicBezTo>
                    <a:pt x="1" y="6"/>
                    <a:pt x="2" y="8"/>
                    <a:pt x="3" y="10"/>
                  </a:cubicBezTo>
                  <a:cubicBezTo>
                    <a:pt x="3" y="7"/>
                    <a:pt x="2" y="4"/>
                    <a:pt x="2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70" name="Freeform 7732"/>
            <p:cNvSpPr>
              <a:spLocks/>
            </p:cNvSpPr>
            <p:nvPr/>
          </p:nvSpPr>
          <p:spPr bwMode="auto">
            <a:xfrm>
              <a:off x="5334" y="2826"/>
              <a:ext cx="11" cy="17"/>
            </a:xfrm>
            <a:custGeom>
              <a:avLst/>
              <a:gdLst>
                <a:gd name="T0" fmla="*/ 0 w 9"/>
                <a:gd name="T1" fmla="*/ 10 h 14"/>
                <a:gd name="T2" fmla="*/ 0 w 9"/>
                <a:gd name="T3" fmla="*/ 14 h 14"/>
                <a:gd name="T4" fmla="*/ 2 w 9"/>
                <a:gd name="T5" fmla="*/ 13 h 14"/>
                <a:gd name="T6" fmla="*/ 9 w 9"/>
                <a:gd name="T7" fmla="*/ 2 h 14"/>
                <a:gd name="T8" fmla="*/ 8 w 9"/>
                <a:gd name="T9" fmla="*/ 0 h 14"/>
                <a:gd name="T10" fmla="*/ 7 w 9"/>
                <a:gd name="T11" fmla="*/ 0 h 14"/>
                <a:gd name="T12" fmla="*/ 0 w 9"/>
                <a:gd name="T13" fmla="*/ 1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4">
                  <a:moveTo>
                    <a:pt x="0" y="10"/>
                  </a:moveTo>
                  <a:cubicBezTo>
                    <a:pt x="0" y="11"/>
                    <a:pt x="0" y="13"/>
                    <a:pt x="0" y="14"/>
                  </a:cubicBezTo>
                  <a:cubicBezTo>
                    <a:pt x="1" y="14"/>
                    <a:pt x="2" y="13"/>
                    <a:pt x="2" y="13"/>
                  </a:cubicBezTo>
                  <a:cubicBezTo>
                    <a:pt x="4" y="9"/>
                    <a:pt x="6" y="6"/>
                    <a:pt x="9" y="2"/>
                  </a:cubicBezTo>
                  <a:cubicBezTo>
                    <a:pt x="8" y="2"/>
                    <a:pt x="8" y="1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cubicBezTo>
                    <a:pt x="5" y="3"/>
                    <a:pt x="2" y="6"/>
                    <a:pt x="0" y="1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71" name="Freeform 7733"/>
            <p:cNvSpPr>
              <a:spLocks/>
            </p:cNvSpPr>
            <p:nvPr/>
          </p:nvSpPr>
          <p:spPr bwMode="auto">
            <a:xfrm>
              <a:off x="5326" y="2824"/>
              <a:ext cx="0" cy="2"/>
            </a:xfrm>
            <a:custGeom>
              <a:avLst/>
              <a:gdLst>
                <a:gd name="T0" fmla="*/ 0 h 1"/>
                <a:gd name="T1" fmla="*/ 1 h 1"/>
                <a:gd name="T2" fmla="*/ 0 h 1"/>
                <a:gd name="T3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72" name="Freeform 7734"/>
            <p:cNvSpPr>
              <a:spLocks/>
            </p:cNvSpPr>
            <p:nvPr/>
          </p:nvSpPr>
          <p:spPr bwMode="auto">
            <a:xfrm>
              <a:off x="5327" y="2852"/>
              <a:ext cx="2" cy="3"/>
            </a:xfrm>
            <a:custGeom>
              <a:avLst/>
              <a:gdLst>
                <a:gd name="T0" fmla="*/ 1 w 2"/>
                <a:gd name="T1" fmla="*/ 2 h 2"/>
                <a:gd name="T2" fmla="*/ 2 w 2"/>
                <a:gd name="T3" fmla="*/ 0 h 2"/>
                <a:gd name="T4" fmla="*/ 0 w 2"/>
                <a:gd name="T5" fmla="*/ 1 h 2"/>
                <a:gd name="T6" fmla="*/ 1 w 2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1" y="2"/>
                  </a:moveTo>
                  <a:cubicBezTo>
                    <a:pt x="1" y="1"/>
                    <a:pt x="2" y="0"/>
                    <a:pt x="2" y="0"/>
                  </a:cubicBezTo>
                  <a:cubicBezTo>
                    <a:pt x="1" y="0"/>
                    <a:pt x="1" y="1"/>
                    <a:pt x="0" y="1"/>
                  </a:cubicBezTo>
                  <a:cubicBezTo>
                    <a:pt x="1" y="2"/>
                    <a:pt x="1" y="2"/>
                    <a:pt x="1" y="2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73" name="Freeform 7735"/>
            <p:cNvSpPr>
              <a:spLocks/>
            </p:cNvSpPr>
            <p:nvPr/>
          </p:nvSpPr>
          <p:spPr bwMode="auto">
            <a:xfrm>
              <a:off x="5321" y="2855"/>
              <a:ext cx="6" cy="19"/>
            </a:xfrm>
            <a:custGeom>
              <a:avLst/>
              <a:gdLst>
                <a:gd name="T0" fmla="*/ 3 w 5"/>
                <a:gd name="T1" fmla="*/ 3 h 16"/>
                <a:gd name="T2" fmla="*/ 3 w 5"/>
                <a:gd name="T3" fmla="*/ 4 h 16"/>
                <a:gd name="T4" fmla="*/ 3 w 5"/>
                <a:gd name="T5" fmla="*/ 2 h 16"/>
                <a:gd name="T6" fmla="*/ 0 w 5"/>
                <a:gd name="T7" fmla="*/ 0 h 16"/>
                <a:gd name="T8" fmla="*/ 0 w 5"/>
                <a:gd name="T9" fmla="*/ 16 h 16"/>
                <a:gd name="T10" fmla="*/ 3 w 5"/>
                <a:gd name="T11" fmla="*/ 16 h 16"/>
                <a:gd name="T12" fmla="*/ 4 w 5"/>
                <a:gd name="T13" fmla="*/ 13 h 16"/>
                <a:gd name="T14" fmla="*/ 3 w 5"/>
                <a:gd name="T15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" h="16">
                  <a:moveTo>
                    <a:pt x="3" y="3"/>
                  </a:move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3"/>
                    <a:pt x="3" y="2"/>
                  </a:cubicBezTo>
                  <a:cubicBezTo>
                    <a:pt x="2" y="1"/>
                    <a:pt x="1" y="0"/>
                    <a:pt x="0" y="0"/>
                  </a:cubicBezTo>
                  <a:cubicBezTo>
                    <a:pt x="0" y="4"/>
                    <a:pt x="0" y="9"/>
                    <a:pt x="0" y="16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3" y="16"/>
                    <a:pt x="3" y="15"/>
                    <a:pt x="4" y="13"/>
                  </a:cubicBezTo>
                  <a:cubicBezTo>
                    <a:pt x="5" y="8"/>
                    <a:pt x="4" y="5"/>
                    <a:pt x="3" y="3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74" name="Freeform 7736"/>
            <p:cNvSpPr>
              <a:spLocks/>
            </p:cNvSpPr>
            <p:nvPr/>
          </p:nvSpPr>
          <p:spPr bwMode="auto">
            <a:xfrm>
              <a:off x="5326" y="2835"/>
              <a:ext cx="3" cy="19"/>
            </a:xfrm>
            <a:custGeom>
              <a:avLst/>
              <a:gdLst>
                <a:gd name="T0" fmla="*/ 2 w 3"/>
                <a:gd name="T1" fmla="*/ 0 h 15"/>
                <a:gd name="T2" fmla="*/ 0 w 3"/>
                <a:gd name="T3" fmla="*/ 14 h 15"/>
                <a:gd name="T4" fmla="*/ 1 w 3"/>
                <a:gd name="T5" fmla="*/ 15 h 15"/>
                <a:gd name="T6" fmla="*/ 3 w 3"/>
                <a:gd name="T7" fmla="*/ 11 h 15"/>
                <a:gd name="T8" fmla="*/ 2 w 3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15">
                  <a:moveTo>
                    <a:pt x="2" y="0"/>
                  </a:moveTo>
                  <a:cubicBezTo>
                    <a:pt x="1" y="5"/>
                    <a:pt x="0" y="10"/>
                    <a:pt x="0" y="14"/>
                  </a:cubicBezTo>
                  <a:cubicBezTo>
                    <a:pt x="0" y="15"/>
                    <a:pt x="1" y="15"/>
                    <a:pt x="1" y="15"/>
                  </a:cubicBezTo>
                  <a:cubicBezTo>
                    <a:pt x="2" y="14"/>
                    <a:pt x="2" y="12"/>
                    <a:pt x="3" y="11"/>
                  </a:cubicBezTo>
                  <a:cubicBezTo>
                    <a:pt x="3" y="7"/>
                    <a:pt x="3" y="4"/>
                    <a:pt x="2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75" name="Freeform 7737"/>
            <p:cNvSpPr>
              <a:spLocks/>
            </p:cNvSpPr>
            <p:nvPr/>
          </p:nvSpPr>
          <p:spPr bwMode="auto">
            <a:xfrm>
              <a:off x="5348" y="2822"/>
              <a:ext cx="1" cy="0"/>
            </a:xfrm>
            <a:custGeom>
              <a:avLst/>
              <a:gdLst>
                <a:gd name="T0" fmla="*/ 1 w 1"/>
                <a:gd name="T1" fmla="*/ 0 w 1"/>
                <a:gd name="T2" fmla="*/ 0 w 1"/>
                <a:gd name="T3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1" y="0"/>
                    <a:pt x="1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76" name="Freeform 7738"/>
            <p:cNvSpPr>
              <a:spLocks/>
            </p:cNvSpPr>
            <p:nvPr/>
          </p:nvSpPr>
          <p:spPr bwMode="auto">
            <a:xfrm>
              <a:off x="5326" y="2811"/>
              <a:ext cx="3" cy="10"/>
            </a:xfrm>
            <a:custGeom>
              <a:avLst/>
              <a:gdLst>
                <a:gd name="T0" fmla="*/ 1 w 3"/>
                <a:gd name="T1" fmla="*/ 8 h 8"/>
                <a:gd name="T2" fmla="*/ 3 w 3"/>
                <a:gd name="T3" fmla="*/ 3 h 8"/>
                <a:gd name="T4" fmla="*/ 2 w 3"/>
                <a:gd name="T5" fmla="*/ 0 h 8"/>
                <a:gd name="T6" fmla="*/ 0 w 3"/>
                <a:gd name="T7" fmla="*/ 4 h 8"/>
                <a:gd name="T8" fmla="*/ 0 w 3"/>
                <a:gd name="T9" fmla="*/ 6 h 8"/>
                <a:gd name="T10" fmla="*/ 1 w 3"/>
                <a:gd name="T11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8">
                  <a:moveTo>
                    <a:pt x="1" y="8"/>
                  </a:moveTo>
                  <a:cubicBezTo>
                    <a:pt x="2" y="6"/>
                    <a:pt x="2" y="5"/>
                    <a:pt x="3" y="3"/>
                  </a:cubicBezTo>
                  <a:cubicBezTo>
                    <a:pt x="2" y="2"/>
                    <a:pt x="2" y="1"/>
                    <a:pt x="2" y="0"/>
                  </a:cubicBezTo>
                  <a:cubicBezTo>
                    <a:pt x="1" y="1"/>
                    <a:pt x="1" y="3"/>
                    <a:pt x="0" y="4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0" y="7"/>
                    <a:pt x="1" y="7"/>
                    <a:pt x="1" y="8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77" name="Freeform 7739"/>
            <p:cNvSpPr>
              <a:spLocks/>
            </p:cNvSpPr>
            <p:nvPr/>
          </p:nvSpPr>
          <p:spPr bwMode="auto">
            <a:xfrm>
              <a:off x="5318" y="2839"/>
              <a:ext cx="6" cy="13"/>
            </a:xfrm>
            <a:custGeom>
              <a:avLst/>
              <a:gdLst>
                <a:gd name="T0" fmla="*/ 5 w 5"/>
                <a:gd name="T1" fmla="*/ 11 h 11"/>
                <a:gd name="T2" fmla="*/ 5 w 5"/>
                <a:gd name="T3" fmla="*/ 6 h 11"/>
                <a:gd name="T4" fmla="*/ 4 w 5"/>
                <a:gd name="T5" fmla="*/ 10 h 11"/>
                <a:gd name="T6" fmla="*/ 1 w 5"/>
                <a:gd name="T7" fmla="*/ 0 h 11"/>
                <a:gd name="T8" fmla="*/ 0 w 5"/>
                <a:gd name="T9" fmla="*/ 4 h 11"/>
                <a:gd name="T10" fmla="*/ 1 w 5"/>
                <a:gd name="T11" fmla="*/ 10 h 11"/>
                <a:gd name="T12" fmla="*/ 5 w 5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11">
                  <a:moveTo>
                    <a:pt x="5" y="11"/>
                  </a:moveTo>
                  <a:cubicBezTo>
                    <a:pt x="5" y="9"/>
                    <a:pt x="5" y="8"/>
                    <a:pt x="5" y="6"/>
                  </a:cubicBezTo>
                  <a:cubicBezTo>
                    <a:pt x="5" y="8"/>
                    <a:pt x="4" y="9"/>
                    <a:pt x="4" y="10"/>
                  </a:cubicBezTo>
                  <a:cubicBezTo>
                    <a:pt x="4" y="10"/>
                    <a:pt x="3" y="5"/>
                    <a:pt x="1" y="0"/>
                  </a:cubicBezTo>
                  <a:cubicBezTo>
                    <a:pt x="0" y="2"/>
                    <a:pt x="0" y="3"/>
                    <a:pt x="0" y="4"/>
                  </a:cubicBezTo>
                  <a:cubicBezTo>
                    <a:pt x="1" y="6"/>
                    <a:pt x="1" y="7"/>
                    <a:pt x="1" y="10"/>
                  </a:cubicBezTo>
                  <a:cubicBezTo>
                    <a:pt x="3" y="10"/>
                    <a:pt x="4" y="10"/>
                    <a:pt x="5" y="11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78" name="Freeform 7740"/>
            <p:cNvSpPr>
              <a:spLocks/>
            </p:cNvSpPr>
            <p:nvPr/>
          </p:nvSpPr>
          <p:spPr bwMode="auto">
            <a:xfrm>
              <a:off x="5345" y="2823"/>
              <a:ext cx="1" cy="1"/>
            </a:xfrm>
            <a:custGeom>
              <a:avLst/>
              <a:gdLst>
                <a:gd name="T0" fmla="*/ 1 w 1"/>
                <a:gd name="T1" fmla="*/ 1 h 1"/>
                <a:gd name="T2" fmla="*/ 1 w 1"/>
                <a:gd name="T3" fmla="*/ 0 h 1"/>
                <a:gd name="T4" fmla="*/ 0 w 1"/>
                <a:gd name="T5" fmla="*/ 1 h 1"/>
                <a:gd name="T6" fmla="*/ 1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1" y="1"/>
                    <a:pt x="1" y="0"/>
                    <a:pt x="1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79" name="Freeform 7741"/>
            <p:cNvSpPr>
              <a:spLocks/>
            </p:cNvSpPr>
            <p:nvPr/>
          </p:nvSpPr>
          <p:spPr bwMode="auto">
            <a:xfrm>
              <a:off x="5344" y="2826"/>
              <a:ext cx="2" cy="2"/>
            </a:xfrm>
            <a:custGeom>
              <a:avLst/>
              <a:gdLst>
                <a:gd name="T0" fmla="*/ 2 w 2"/>
                <a:gd name="T1" fmla="*/ 1 h 2"/>
                <a:gd name="T2" fmla="*/ 0 w 2"/>
                <a:gd name="T3" fmla="*/ 0 h 2"/>
                <a:gd name="T4" fmla="*/ 1 w 2"/>
                <a:gd name="T5" fmla="*/ 2 h 2"/>
                <a:gd name="T6" fmla="*/ 2 w 2"/>
                <a:gd name="T7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2" y="1"/>
                  </a:moveTo>
                  <a:cubicBezTo>
                    <a:pt x="1" y="1"/>
                    <a:pt x="0" y="0"/>
                    <a:pt x="0" y="0"/>
                  </a:cubicBezTo>
                  <a:cubicBezTo>
                    <a:pt x="0" y="1"/>
                    <a:pt x="0" y="2"/>
                    <a:pt x="1" y="2"/>
                  </a:cubicBezTo>
                  <a:cubicBezTo>
                    <a:pt x="1" y="2"/>
                    <a:pt x="1" y="1"/>
                    <a:pt x="2" y="1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80" name="Freeform 7742"/>
            <p:cNvSpPr>
              <a:spLocks/>
            </p:cNvSpPr>
            <p:nvPr/>
          </p:nvSpPr>
          <p:spPr bwMode="auto">
            <a:xfrm>
              <a:off x="5326" y="2806"/>
              <a:ext cx="2" cy="4"/>
            </a:xfrm>
            <a:custGeom>
              <a:avLst/>
              <a:gdLst>
                <a:gd name="T0" fmla="*/ 2 w 2"/>
                <a:gd name="T1" fmla="*/ 0 h 3"/>
                <a:gd name="T2" fmla="*/ 0 w 2"/>
                <a:gd name="T3" fmla="*/ 0 h 3"/>
                <a:gd name="T4" fmla="*/ 0 w 2"/>
                <a:gd name="T5" fmla="*/ 2 h 3"/>
                <a:gd name="T6" fmla="*/ 2 w 2"/>
                <a:gd name="T7" fmla="*/ 3 h 3"/>
                <a:gd name="T8" fmla="*/ 2 w 2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0" y="1"/>
                    <a:pt x="0" y="2"/>
                  </a:cubicBezTo>
                  <a:cubicBezTo>
                    <a:pt x="0" y="2"/>
                    <a:pt x="1" y="3"/>
                    <a:pt x="2" y="3"/>
                  </a:cubicBezTo>
                  <a:cubicBezTo>
                    <a:pt x="2" y="2"/>
                    <a:pt x="2" y="1"/>
                    <a:pt x="2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81" name="Freeform 7743"/>
            <p:cNvSpPr>
              <a:spLocks/>
            </p:cNvSpPr>
            <p:nvPr/>
          </p:nvSpPr>
          <p:spPr bwMode="auto">
            <a:xfrm>
              <a:off x="5326" y="2821"/>
              <a:ext cx="4" cy="14"/>
            </a:xfrm>
            <a:custGeom>
              <a:avLst/>
              <a:gdLst>
                <a:gd name="T0" fmla="*/ 2 w 4"/>
                <a:gd name="T1" fmla="*/ 12 h 12"/>
                <a:gd name="T2" fmla="*/ 4 w 4"/>
                <a:gd name="T3" fmla="*/ 8 h 12"/>
                <a:gd name="T4" fmla="*/ 4 w 4"/>
                <a:gd name="T5" fmla="*/ 5 h 12"/>
                <a:gd name="T6" fmla="*/ 1 w 4"/>
                <a:gd name="T7" fmla="*/ 0 h 12"/>
                <a:gd name="T8" fmla="*/ 0 w 4"/>
                <a:gd name="T9" fmla="*/ 3 h 12"/>
                <a:gd name="T10" fmla="*/ 2 w 4"/>
                <a:gd name="T11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12">
                  <a:moveTo>
                    <a:pt x="2" y="12"/>
                  </a:moveTo>
                  <a:cubicBezTo>
                    <a:pt x="3" y="11"/>
                    <a:pt x="4" y="9"/>
                    <a:pt x="4" y="8"/>
                  </a:cubicBezTo>
                  <a:cubicBezTo>
                    <a:pt x="4" y="7"/>
                    <a:pt x="4" y="6"/>
                    <a:pt x="4" y="5"/>
                  </a:cubicBezTo>
                  <a:cubicBezTo>
                    <a:pt x="3" y="3"/>
                    <a:pt x="2" y="1"/>
                    <a:pt x="1" y="0"/>
                  </a:cubicBezTo>
                  <a:cubicBezTo>
                    <a:pt x="1" y="1"/>
                    <a:pt x="1" y="2"/>
                    <a:pt x="0" y="3"/>
                  </a:cubicBezTo>
                  <a:cubicBezTo>
                    <a:pt x="1" y="6"/>
                    <a:pt x="2" y="9"/>
                    <a:pt x="2" y="12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82" name="Freeform 7744"/>
            <p:cNvSpPr>
              <a:spLocks/>
            </p:cNvSpPr>
            <p:nvPr/>
          </p:nvSpPr>
          <p:spPr bwMode="auto">
            <a:xfrm>
              <a:off x="5333" y="2845"/>
              <a:ext cx="2" cy="5"/>
            </a:xfrm>
            <a:custGeom>
              <a:avLst/>
              <a:gdLst>
                <a:gd name="T0" fmla="*/ 2 w 2"/>
                <a:gd name="T1" fmla="*/ 0 h 4"/>
                <a:gd name="T2" fmla="*/ 0 w 2"/>
                <a:gd name="T3" fmla="*/ 2 h 4"/>
                <a:gd name="T4" fmla="*/ 0 w 2"/>
                <a:gd name="T5" fmla="*/ 4 h 4"/>
                <a:gd name="T6" fmla="*/ 2 w 2"/>
                <a:gd name="T7" fmla="*/ 0 h 4"/>
                <a:gd name="T8" fmla="*/ 2 w 2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2" y="0"/>
                  </a:move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0" y="3"/>
                    <a:pt x="0" y="4"/>
                  </a:cubicBezTo>
                  <a:cubicBezTo>
                    <a:pt x="0" y="3"/>
                    <a:pt x="1" y="2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83" name="Freeform 7745"/>
            <p:cNvSpPr>
              <a:spLocks/>
            </p:cNvSpPr>
            <p:nvPr/>
          </p:nvSpPr>
          <p:spPr bwMode="auto">
            <a:xfrm>
              <a:off x="5324" y="2852"/>
              <a:ext cx="2" cy="6"/>
            </a:xfrm>
            <a:custGeom>
              <a:avLst/>
              <a:gdLst>
                <a:gd name="T0" fmla="*/ 0 w 1"/>
                <a:gd name="T1" fmla="*/ 0 h 5"/>
                <a:gd name="T2" fmla="*/ 0 w 1"/>
                <a:gd name="T3" fmla="*/ 4 h 5"/>
                <a:gd name="T4" fmla="*/ 0 w 1"/>
                <a:gd name="T5" fmla="*/ 5 h 5"/>
                <a:gd name="T6" fmla="*/ 1 w 1"/>
                <a:gd name="T7" fmla="*/ 0 h 5"/>
                <a:gd name="T8" fmla="*/ 0 w 1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5">
                  <a:moveTo>
                    <a:pt x="0" y="0"/>
                  </a:moveTo>
                  <a:cubicBezTo>
                    <a:pt x="0" y="1"/>
                    <a:pt x="0" y="3"/>
                    <a:pt x="0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0" y="3"/>
                    <a:pt x="0" y="2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84" name="Freeform 7746"/>
            <p:cNvSpPr>
              <a:spLocks/>
            </p:cNvSpPr>
            <p:nvPr/>
          </p:nvSpPr>
          <p:spPr bwMode="auto">
            <a:xfrm>
              <a:off x="5333" y="2838"/>
              <a:ext cx="1" cy="6"/>
            </a:xfrm>
            <a:custGeom>
              <a:avLst/>
              <a:gdLst>
                <a:gd name="T0" fmla="*/ 0 w 1"/>
                <a:gd name="T1" fmla="*/ 0 h 5"/>
                <a:gd name="T2" fmla="*/ 0 w 1"/>
                <a:gd name="T3" fmla="*/ 5 h 5"/>
                <a:gd name="T4" fmla="*/ 1 w 1"/>
                <a:gd name="T5" fmla="*/ 4 h 5"/>
                <a:gd name="T6" fmla="*/ 1 w 1"/>
                <a:gd name="T7" fmla="*/ 0 h 5"/>
                <a:gd name="T8" fmla="*/ 0 w 1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5">
                  <a:moveTo>
                    <a:pt x="0" y="0"/>
                  </a:moveTo>
                  <a:cubicBezTo>
                    <a:pt x="0" y="1"/>
                    <a:pt x="0" y="3"/>
                    <a:pt x="0" y="5"/>
                  </a:cubicBezTo>
                  <a:cubicBezTo>
                    <a:pt x="0" y="5"/>
                    <a:pt x="1" y="4"/>
                    <a:pt x="1" y="4"/>
                  </a:cubicBezTo>
                  <a:cubicBezTo>
                    <a:pt x="1" y="3"/>
                    <a:pt x="1" y="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85" name="Freeform 7747"/>
            <p:cNvSpPr>
              <a:spLocks/>
            </p:cNvSpPr>
            <p:nvPr/>
          </p:nvSpPr>
          <p:spPr bwMode="auto">
            <a:xfrm>
              <a:off x="5320" y="2851"/>
              <a:ext cx="4" cy="6"/>
            </a:xfrm>
            <a:custGeom>
              <a:avLst/>
              <a:gdLst>
                <a:gd name="T0" fmla="*/ 0 w 4"/>
                <a:gd name="T1" fmla="*/ 0 h 5"/>
                <a:gd name="T2" fmla="*/ 1 w 4"/>
                <a:gd name="T3" fmla="*/ 3 h 5"/>
                <a:gd name="T4" fmla="*/ 4 w 4"/>
                <a:gd name="T5" fmla="*/ 5 h 5"/>
                <a:gd name="T6" fmla="*/ 4 w 4"/>
                <a:gd name="T7" fmla="*/ 1 h 5"/>
                <a:gd name="T8" fmla="*/ 0 w 4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5">
                  <a:moveTo>
                    <a:pt x="0" y="0"/>
                  </a:moveTo>
                  <a:cubicBezTo>
                    <a:pt x="1" y="1"/>
                    <a:pt x="1" y="2"/>
                    <a:pt x="1" y="3"/>
                  </a:cubicBezTo>
                  <a:cubicBezTo>
                    <a:pt x="2" y="3"/>
                    <a:pt x="3" y="4"/>
                    <a:pt x="4" y="5"/>
                  </a:cubicBezTo>
                  <a:cubicBezTo>
                    <a:pt x="4" y="4"/>
                    <a:pt x="4" y="2"/>
                    <a:pt x="4" y="1"/>
                  </a:cubicBezTo>
                  <a:cubicBezTo>
                    <a:pt x="3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86" name="Freeform 7748"/>
            <p:cNvSpPr>
              <a:spLocks/>
            </p:cNvSpPr>
            <p:nvPr/>
          </p:nvSpPr>
          <p:spPr bwMode="auto">
            <a:xfrm>
              <a:off x="5324" y="2847"/>
              <a:ext cx="9" cy="24"/>
            </a:xfrm>
            <a:custGeom>
              <a:avLst/>
              <a:gdLst>
                <a:gd name="T0" fmla="*/ 7 w 7"/>
                <a:gd name="T1" fmla="*/ 0 h 19"/>
                <a:gd name="T2" fmla="*/ 4 w 7"/>
                <a:gd name="T3" fmla="*/ 4 h 19"/>
                <a:gd name="T4" fmla="*/ 3 w 7"/>
                <a:gd name="T5" fmla="*/ 6 h 19"/>
                <a:gd name="T6" fmla="*/ 2 w 7"/>
                <a:gd name="T7" fmla="*/ 5 h 19"/>
                <a:gd name="T8" fmla="*/ 2 w 7"/>
                <a:gd name="T9" fmla="*/ 7 h 19"/>
                <a:gd name="T10" fmla="*/ 2 w 7"/>
                <a:gd name="T11" fmla="*/ 5 h 19"/>
                <a:gd name="T12" fmla="*/ 1 w 7"/>
                <a:gd name="T13" fmla="*/ 4 h 19"/>
                <a:gd name="T14" fmla="*/ 0 w 7"/>
                <a:gd name="T15" fmla="*/ 9 h 19"/>
                <a:gd name="T16" fmla="*/ 1 w 7"/>
                <a:gd name="T17" fmla="*/ 19 h 19"/>
                <a:gd name="T18" fmla="*/ 7 w 7"/>
                <a:gd name="T19" fmla="*/ 2 h 19"/>
                <a:gd name="T20" fmla="*/ 7 w 7"/>
                <a:gd name="T21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" h="19">
                  <a:moveTo>
                    <a:pt x="7" y="0"/>
                  </a:moveTo>
                  <a:cubicBezTo>
                    <a:pt x="6" y="1"/>
                    <a:pt x="5" y="2"/>
                    <a:pt x="4" y="4"/>
                  </a:cubicBezTo>
                  <a:cubicBezTo>
                    <a:pt x="4" y="4"/>
                    <a:pt x="3" y="5"/>
                    <a:pt x="3" y="6"/>
                  </a:cubicBezTo>
                  <a:cubicBezTo>
                    <a:pt x="3" y="6"/>
                    <a:pt x="3" y="6"/>
                    <a:pt x="2" y="5"/>
                  </a:cubicBezTo>
                  <a:cubicBezTo>
                    <a:pt x="2" y="6"/>
                    <a:pt x="2" y="7"/>
                    <a:pt x="2" y="7"/>
                  </a:cubicBezTo>
                  <a:cubicBezTo>
                    <a:pt x="2" y="6"/>
                    <a:pt x="2" y="6"/>
                    <a:pt x="2" y="5"/>
                  </a:cubicBezTo>
                  <a:cubicBezTo>
                    <a:pt x="2" y="5"/>
                    <a:pt x="1" y="5"/>
                    <a:pt x="1" y="4"/>
                  </a:cubicBezTo>
                  <a:cubicBezTo>
                    <a:pt x="0" y="6"/>
                    <a:pt x="0" y="7"/>
                    <a:pt x="0" y="9"/>
                  </a:cubicBezTo>
                  <a:cubicBezTo>
                    <a:pt x="1" y="11"/>
                    <a:pt x="2" y="14"/>
                    <a:pt x="1" y="19"/>
                  </a:cubicBezTo>
                  <a:cubicBezTo>
                    <a:pt x="2" y="15"/>
                    <a:pt x="4" y="9"/>
                    <a:pt x="7" y="2"/>
                  </a:cubicBezTo>
                  <a:cubicBezTo>
                    <a:pt x="7" y="1"/>
                    <a:pt x="7" y="0"/>
                    <a:pt x="7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87" name="Freeform 7749"/>
            <p:cNvSpPr>
              <a:spLocks/>
            </p:cNvSpPr>
            <p:nvPr/>
          </p:nvSpPr>
          <p:spPr bwMode="auto">
            <a:xfrm>
              <a:off x="5326" y="2818"/>
              <a:ext cx="1" cy="6"/>
            </a:xfrm>
            <a:custGeom>
              <a:avLst/>
              <a:gdLst>
                <a:gd name="T0" fmla="*/ 1 w 1"/>
                <a:gd name="T1" fmla="*/ 2 h 5"/>
                <a:gd name="T2" fmla="*/ 0 w 1"/>
                <a:gd name="T3" fmla="*/ 0 h 5"/>
                <a:gd name="T4" fmla="*/ 0 w 1"/>
                <a:gd name="T5" fmla="*/ 5 h 5"/>
                <a:gd name="T6" fmla="*/ 0 w 1"/>
                <a:gd name="T7" fmla="*/ 5 h 5"/>
                <a:gd name="T8" fmla="*/ 1 w 1"/>
                <a:gd name="T9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5">
                  <a:moveTo>
                    <a:pt x="1" y="2"/>
                  </a:moveTo>
                  <a:cubicBezTo>
                    <a:pt x="1" y="1"/>
                    <a:pt x="0" y="1"/>
                    <a:pt x="0" y="0"/>
                  </a:cubicBezTo>
                  <a:cubicBezTo>
                    <a:pt x="0" y="2"/>
                    <a:pt x="0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" y="4"/>
                    <a:pt x="1" y="3"/>
                    <a:pt x="1" y="2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88" name="Freeform 7750"/>
            <p:cNvSpPr>
              <a:spLocks/>
            </p:cNvSpPr>
            <p:nvPr/>
          </p:nvSpPr>
          <p:spPr bwMode="auto">
            <a:xfrm>
              <a:off x="5328" y="2830"/>
              <a:ext cx="5" cy="19"/>
            </a:xfrm>
            <a:custGeom>
              <a:avLst/>
              <a:gdLst>
                <a:gd name="T0" fmla="*/ 1 w 4"/>
                <a:gd name="T1" fmla="*/ 15 h 15"/>
                <a:gd name="T2" fmla="*/ 4 w 4"/>
                <a:gd name="T3" fmla="*/ 11 h 15"/>
                <a:gd name="T4" fmla="*/ 4 w 4"/>
                <a:gd name="T5" fmla="*/ 6 h 15"/>
                <a:gd name="T6" fmla="*/ 3 w 4"/>
                <a:gd name="T7" fmla="*/ 7 h 15"/>
                <a:gd name="T8" fmla="*/ 2 w 4"/>
                <a:gd name="T9" fmla="*/ 0 h 15"/>
                <a:gd name="T10" fmla="*/ 0 w 4"/>
                <a:gd name="T11" fmla="*/ 4 h 15"/>
                <a:gd name="T12" fmla="*/ 1 w 4"/>
                <a:gd name="T13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15">
                  <a:moveTo>
                    <a:pt x="1" y="15"/>
                  </a:moveTo>
                  <a:cubicBezTo>
                    <a:pt x="2" y="13"/>
                    <a:pt x="3" y="12"/>
                    <a:pt x="4" y="11"/>
                  </a:cubicBezTo>
                  <a:cubicBezTo>
                    <a:pt x="4" y="9"/>
                    <a:pt x="4" y="7"/>
                    <a:pt x="4" y="6"/>
                  </a:cubicBezTo>
                  <a:cubicBezTo>
                    <a:pt x="4" y="6"/>
                    <a:pt x="4" y="7"/>
                    <a:pt x="3" y="7"/>
                  </a:cubicBezTo>
                  <a:cubicBezTo>
                    <a:pt x="3" y="7"/>
                    <a:pt x="3" y="4"/>
                    <a:pt x="2" y="0"/>
                  </a:cubicBezTo>
                  <a:cubicBezTo>
                    <a:pt x="2" y="1"/>
                    <a:pt x="1" y="3"/>
                    <a:pt x="0" y="4"/>
                  </a:cubicBezTo>
                  <a:cubicBezTo>
                    <a:pt x="1" y="8"/>
                    <a:pt x="1" y="11"/>
                    <a:pt x="1" y="15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89" name="Freeform 7751"/>
            <p:cNvSpPr>
              <a:spLocks/>
            </p:cNvSpPr>
            <p:nvPr/>
          </p:nvSpPr>
          <p:spPr bwMode="auto">
            <a:xfrm>
              <a:off x="5335" y="2768"/>
              <a:ext cx="15" cy="37"/>
            </a:xfrm>
            <a:custGeom>
              <a:avLst/>
              <a:gdLst>
                <a:gd name="T0" fmla="*/ 0 w 12"/>
                <a:gd name="T1" fmla="*/ 0 h 30"/>
                <a:gd name="T2" fmla="*/ 12 w 12"/>
                <a:gd name="T3" fmla="*/ 30 h 30"/>
                <a:gd name="T4" fmla="*/ 12 w 12"/>
                <a:gd name="T5" fmla="*/ 22 h 30"/>
                <a:gd name="T6" fmla="*/ 0 w 12"/>
                <a:gd name="T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30">
                  <a:moveTo>
                    <a:pt x="0" y="0"/>
                  </a:moveTo>
                  <a:cubicBezTo>
                    <a:pt x="0" y="0"/>
                    <a:pt x="6" y="13"/>
                    <a:pt x="12" y="30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7" y="11"/>
                    <a:pt x="3" y="2"/>
                    <a:pt x="0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90" name="Freeform 7752"/>
            <p:cNvSpPr>
              <a:spLocks/>
            </p:cNvSpPr>
            <p:nvPr/>
          </p:nvSpPr>
          <p:spPr bwMode="auto">
            <a:xfrm>
              <a:off x="5335" y="2841"/>
              <a:ext cx="6" cy="4"/>
            </a:xfrm>
            <a:custGeom>
              <a:avLst/>
              <a:gdLst>
                <a:gd name="T0" fmla="*/ 1 w 5"/>
                <a:gd name="T1" fmla="*/ 0 h 3"/>
                <a:gd name="T2" fmla="*/ 0 w 5"/>
                <a:gd name="T3" fmla="*/ 3 h 3"/>
                <a:gd name="T4" fmla="*/ 4 w 5"/>
                <a:gd name="T5" fmla="*/ 3 h 3"/>
                <a:gd name="T6" fmla="*/ 5 w 5"/>
                <a:gd name="T7" fmla="*/ 1 h 3"/>
                <a:gd name="T8" fmla="*/ 1 w 5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3">
                  <a:moveTo>
                    <a:pt x="1" y="0"/>
                  </a:moveTo>
                  <a:cubicBezTo>
                    <a:pt x="1" y="1"/>
                    <a:pt x="0" y="2"/>
                    <a:pt x="0" y="3"/>
                  </a:cubicBezTo>
                  <a:cubicBezTo>
                    <a:pt x="1" y="2"/>
                    <a:pt x="3" y="2"/>
                    <a:pt x="4" y="3"/>
                  </a:cubicBezTo>
                  <a:cubicBezTo>
                    <a:pt x="5" y="2"/>
                    <a:pt x="5" y="2"/>
                    <a:pt x="5" y="1"/>
                  </a:cubicBezTo>
                  <a:cubicBezTo>
                    <a:pt x="4" y="0"/>
                    <a:pt x="3" y="0"/>
                    <a:pt x="1" y="0"/>
                  </a:cubicBezTo>
                  <a:close/>
                </a:path>
              </a:pathLst>
            </a:custGeom>
            <a:solidFill>
              <a:srgbClr val="4DA0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91" name="Freeform 7753"/>
            <p:cNvSpPr>
              <a:spLocks/>
            </p:cNvSpPr>
            <p:nvPr/>
          </p:nvSpPr>
          <p:spPr bwMode="auto">
            <a:xfrm>
              <a:off x="5344" y="2841"/>
              <a:ext cx="6" cy="10"/>
            </a:xfrm>
            <a:custGeom>
              <a:avLst/>
              <a:gdLst>
                <a:gd name="T0" fmla="*/ 5 w 5"/>
                <a:gd name="T1" fmla="*/ 1 h 8"/>
                <a:gd name="T2" fmla="*/ 5 w 5"/>
                <a:gd name="T3" fmla="*/ 0 h 8"/>
                <a:gd name="T4" fmla="*/ 3 w 5"/>
                <a:gd name="T5" fmla="*/ 4 h 8"/>
                <a:gd name="T6" fmla="*/ 1 w 5"/>
                <a:gd name="T7" fmla="*/ 3 h 8"/>
                <a:gd name="T8" fmla="*/ 0 w 5"/>
                <a:gd name="T9" fmla="*/ 8 h 8"/>
                <a:gd name="T10" fmla="*/ 5 w 5"/>
                <a:gd name="T11" fmla="*/ 7 h 8"/>
                <a:gd name="T12" fmla="*/ 5 w 5"/>
                <a:gd name="T13" fmla="*/ 3 h 8"/>
                <a:gd name="T14" fmla="*/ 5 w 5"/>
                <a:gd name="T15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" h="8">
                  <a:moveTo>
                    <a:pt x="5" y="1"/>
                  </a:moveTo>
                  <a:cubicBezTo>
                    <a:pt x="5" y="1"/>
                    <a:pt x="5" y="0"/>
                    <a:pt x="5" y="0"/>
                  </a:cubicBezTo>
                  <a:cubicBezTo>
                    <a:pt x="4" y="1"/>
                    <a:pt x="4" y="3"/>
                    <a:pt x="3" y="4"/>
                  </a:cubicBezTo>
                  <a:cubicBezTo>
                    <a:pt x="3" y="4"/>
                    <a:pt x="2" y="3"/>
                    <a:pt x="1" y="3"/>
                  </a:cubicBezTo>
                  <a:cubicBezTo>
                    <a:pt x="1" y="5"/>
                    <a:pt x="0" y="6"/>
                    <a:pt x="0" y="8"/>
                  </a:cubicBezTo>
                  <a:cubicBezTo>
                    <a:pt x="1" y="7"/>
                    <a:pt x="3" y="7"/>
                    <a:pt x="5" y="7"/>
                  </a:cubicBezTo>
                  <a:cubicBezTo>
                    <a:pt x="5" y="3"/>
                    <a:pt x="5" y="3"/>
                    <a:pt x="5" y="3"/>
                  </a:cubicBezTo>
                  <a:lnTo>
                    <a:pt x="5" y="1"/>
                  </a:lnTo>
                  <a:close/>
                </a:path>
              </a:pathLst>
            </a:custGeom>
            <a:solidFill>
              <a:srgbClr val="4DA0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92" name="Freeform 7754"/>
            <p:cNvSpPr>
              <a:spLocks/>
            </p:cNvSpPr>
            <p:nvPr/>
          </p:nvSpPr>
          <p:spPr bwMode="auto">
            <a:xfrm>
              <a:off x="5344" y="2852"/>
              <a:ext cx="6" cy="5"/>
            </a:xfrm>
            <a:custGeom>
              <a:avLst/>
              <a:gdLst>
                <a:gd name="T0" fmla="*/ 0 w 5"/>
                <a:gd name="T1" fmla="*/ 4 h 4"/>
                <a:gd name="T2" fmla="*/ 1 w 5"/>
                <a:gd name="T3" fmla="*/ 4 h 4"/>
                <a:gd name="T4" fmla="*/ 5 w 5"/>
                <a:gd name="T5" fmla="*/ 2 h 4"/>
                <a:gd name="T6" fmla="*/ 5 w 5"/>
                <a:gd name="T7" fmla="*/ 0 h 4"/>
                <a:gd name="T8" fmla="*/ 0 w 5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4">
                  <a:moveTo>
                    <a:pt x="0" y="4"/>
                  </a:moveTo>
                  <a:cubicBezTo>
                    <a:pt x="0" y="4"/>
                    <a:pt x="0" y="4"/>
                    <a:pt x="1" y="4"/>
                  </a:cubicBezTo>
                  <a:cubicBezTo>
                    <a:pt x="2" y="3"/>
                    <a:pt x="3" y="3"/>
                    <a:pt x="5" y="2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2"/>
                    <a:pt x="0" y="4"/>
                  </a:cubicBezTo>
                  <a:close/>
                </a:path>
              </a:pathLst>
            </a:custGeom>
            <a:solidFill>
              <a:srgbClr val="4DA0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93" name="Freeform 7755"/>
            <p:cNvSpPr>
              <a:spLocks/>
            </p:cNvSpPr>
            <p:nvPr/>
          </p:nvSpPr>
          <p:spPr bwMode="auto">
            <a:xfrm>
              <a:off x="5348" y="2824"/>
              <a:ext cx="2" cy="6"/>
            </a:xfrm>
            <a:custGeom>
              <a:avLst/>
              <a:gdLst>
                <a:gd name="T0" fmla="*/ 2 w 2"/>
                <a:gd name="T1" fmla="*/ 5 h 5"/>
                <a:gd name="T2" fmla="*/ 2 w 2"/>
                <a:gd name="T3" fmla="*/ 1 h 5"/>
                <a:gd name="T4" fmla="*/ 0 w 2"/>
                <a:gd name="T5" fmla="*/ 0 h 5"/>
                <a:gd name="T6" fmla="*/ 0 w 2"/>
                <a:gd name="T7" fmla="*/ 1 h 5"/>
                <a:gd name="T8" fmla="*/ 2 w 2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5">
                  <a:moveTo>
                    <a:pt x="2" y="5"/>
                  </a:moveTo>
                  <a:cubicBezTo>
                    <a:pt x="2" y="1"/>
                    <a:pt x="2" y="1"/>
                    <a:pt x="2" y="1"/>
                  </a:cubicBezTo>
                  <a:cubicBezTo>
                    <a:pt x="1" y="1"/>
                    <a:pt x="1" y="1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1" y="3"/>
                    <a:pt x="2" y="5"/>
                  </a:cubicBezTo>
                  <a:close/>
                </a:path>
              </a:pathLst>
            </a:custGeom>
            <a:solidFill>
              <a:srgbClr val="4DA0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94" name="Freeform 7756"/>
            <p:cNvSpPr>
              <a:spLocks/>
            </p:cNvSpPr>
            <p:nvPr/>
          </p:nvSpPr>
          <p:spPr bwMode="auto">
            <a:xfrm>
              <a:off x="5338" y="2824"/>
              <a:ext cx="6" cy="2"/>
            </a:xfrm>
            <a:custGeom>
              <a:avLst/>
              <a:gdLst>
                <a:gd name="T0" fmla="*/ 4 w 5"/>
                <a:gd name="T1" fmla="*/ 1 h 1"/>
                <a:gd name="T2" fmla="*/ 5 w 5"/>
                <a:gd name="T3" fmla="*/ 1 h 1"/>
                <a:gd name="T4" fmla="*/ 4 w 5"/>
                <a:gd name="T5" fmla="*/ 0 h 1"/>
                <a:gd name="T6" fmla="*/ 1 w 5"/>
                <a:gd name="T7" fmla="*/ 0 h 1"/>
                <a:gd name="T8" fmla="*/ 0 w 5"/>
                <a:gd name="T9" fmla="*/ 1 h 1"/>
                <a:gd name="T10" fmla="*/ 0 w 5"/>
                <a:gd name="T11" fmla="*/ 1 h 1"/>
                <a:gd name="T12" fmla="*/ 4 w 5"/>
                <a:gd name="T13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1">
                  <a:moveTo>
                    <a:pt x="4" y="1"/>
                  </a:moveTo>
                  <a:cubicBezTo>
                    <a:pt x="4" y="1"/>
                    <a:pt x="4" y="1"/>
                    <a:pt x="5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3" y="0"/>
                    <a:pt x="2" y="0"/>
                    <a:pt x="1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2" y="1"/>
                    <a:pt x="4" y="1"/>
                  </a:cubicBezTo>
                  <a:close/>
                </a:path>
              </a:pathLst>
            </a:custGeom>
            <a:solidFill>
              <a:srgbClr val="4DA0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95" name="Freeform 7757"/>
            <p:cNvSpPr>
              <a:spLocks/>
            </p:cNvSpPr>
            <p:nvPr/>
          </p:nvSpPr>
          <p:spPr bwMode="auto">
            <a:xfrm>
              <a:off x="5345" y="2860"/>
              <a:ext cx="5" cy="14"/>
            </a:xfrm>
            <a:custGeom>
              <a:avLst/>
              <a:gdLst>
                <a:gd name="T0" fmla="*/ 0 w 4"/>
                <a:gd name="T1" fmla="*/ 12 h 12"/>
                <a:gd name="T2" fmla="*/ 4 w 4"/>
                <a:gd name="T3" fmla="*/ 12 h 12"/>
                <a:gd name="T4" fmla="*/ 4 w 4"/>
                <a:gd name="T5" fmla="*/ 0 h 12"/>
                <a:gd name="T6" fmla="*/ 0 w 4"/>
                <a:gd name="T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12">
                  <a:moveTo>
                    <a:pt x="0" y="12"/>
                  </a:moveTo>
                  <a:cubicBezTo>
                    <a:pt x="4" y="12"/>
                    <a:pt x="4" y="12"/>
                    <a:pt x="4" y="12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0" y="4"/>
                    <a:pt x="0" y="12"/>
                    <a:pt x="0" y="12"/>
                  </a:cubicBezTo>
                  <a:close/>
                </a:path>
              </a:pathLst>
            </a:custGeom>
            <a:solidFill>
              <a:srgbClr val="4DA0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96" name="Freeform 7758"/>
            <p:cNvSpPr>
              <a:spLocks/>
            </p:cNvSpPr>
            <p:nvPr/>
          </p:nvSpPr>
          <p:spPr bwMode="auto">
            <a:xfrm>
              <a:off x="5344" y="2850"/>
              <a:ext cx="6" cy="7"/>
            </a:xfrm>
            <a:custGeom>
              <a:avLst/>
              <a:gdLst>
                <a:gd name="T0" fmla="*/ 5 w 5"/>
                <a:gd name="T1" fmla="*/ 2 h 6"/>
                <a:gd name="T2" fmla="*/ 5 w 5"/>
                <a:gd name="T3" fmla="*/ 0 h 6"/>
                <a:gd name="T4" fmla="*/ 5 w 5"/>
                <a:gd name="T5" fmla="*/ 0 h 6"/>
                <a:gd name="T6" fmla="*/ 0 w 5"/>
                <a:gd name="T7" fmla="*/ 1 h 6"/>
                <a:gd name="T8" fmla="*/ 0 w 5"/>
                <a:gd name="T9" fmla="*/ 2 h 6"/>
                <a:gd name="T10" fmla="*/ 0 w 5"/>
                <a:gd name="T11" fmla="*/ 6 h 6"/>
                <a:gd name="T12" fmla="*/ 5 w 5"/>
                <a:gd name="T13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6">
                  <a:moveTo>
                    <a:pt x="5" y="2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1" y="0"/>
                    <a:pt x="0" y="1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0" y="3"/>
                    <a:pt x="0" y="4"/>
                    <a:pt x="0" y="6"/>
                  </a:cubicBezTo>
                  <a:cubicBezTo>
                    <a:pt x="2" y="4"/>
                    <a:pt x="3" y="2"/>
                    <a:pt x="5" y="2"/>
                  </a:cubicBezTo>
                  <a:close/>
                </a:path>
              </a:pathLst>
            </a:custGeom>
            <a:solidFill>
              <a:srgbClr val="4DA0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97" name="Freeform 7759"/>
            <p:cNvSpPr>
              <a:spLocks/>
            </p:cNvSpPr>
            <p:nvPr/>
          </p:nvSpPr>
          <p:spPr bwMode="auto">
            <a:xfrm>
              <a:off x="5337" y="2824"/>
              <a:ext cx="2" cy="2"/>
            </a:xfrm>
            <a:custGeom>
              <a:avLst/>
              <a:gdLst>
                <a:gd name="T0" fmla="*/ 1 w 2"/>
                <a:gd name="T1" fmla="*/ 0 h 1"/>
                <a:gd name="T2" fmla="*/ 0 w 2"/>
                <a:gd name="T3" fmla="*/ 1 h 1"/>
                <a:gd name="T4" fmla="*/ 1 w 2"/>
                <a:gd name="T5" fmla="*/ 1 h 1"/>
                <a:gd name="T6" fmla="*/ 2 w 2"/>
                <a:gd name="T7" fmla="*/ 0 h 1"/>
                <a:gd name="T8" fmla="*/ 1 w 2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1">
                  <a:moveTo>
                    <a:pt x="1" y="0"/>
                  </a:moveTo>
                  <a:cubicBezTo>
                    <a:pt x="0" y="0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2" y="0"/>
                  </a:cubicBezTo>
                  <a:cubicBezTo>
                    <a:pt x="2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4DA0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98" name="Freeform 7760"/>
            <p:cNvSpPr>
              <a:spLocks/>
            </p:cNvSpPr>
            <p:nvPr/>
          </p:nvSpPr>
          <p:spPr bwMode="auto">
            <a:xfrm>
              <a:off x="5343" y="2824"/>
              <a:ext cx="2" cy="2"/>
            </a:xfrm>
            <a:custGeom>
              <a:avLst/>
              <a:gdLst>
                <a:gd name="T0" fmla="*/ 2 w 2"/>
                <a:gd name="T1" fmla="*/ 0 h 1"/>
                <a:gd name="T2" fmla="*/ 0 w 2"/>
                <a:gd name="T3" fmla="*/ 0 h 1"/>
                <a:gd name="T4" fmla="*/ 1 w 2"/>
                <a:gd name="T5" fmla="*/ 1 h 1"/>
                <a:gd name="T6" fmla="*/ 2 w 2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0" y="1"/>
                    <a:pt x="1" y="1"/>
                  </a:cubicBezTo>
                  <a:cubicBezTo>
                    <a:pt x="1" y="1"/>
                    <a:pt x="1" y="0"/>
                    <a:pt x="2" y="0"/>
                  </a:cubicBezTo>
                  <a:close/>
                </a:path>
              </a:pathLst>
            </a:custGeom>
            <a:solidFill>
              <a:srgbClr val="4DA0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99" name="Freeform 7761"/>
            <p:cNvSpPr>
              <a:spLocks/>
            </p:cNvSpPr>
            <p:nvPr/>
          </p:nvSpPr>
          <p:spPr bwMode="auto">
            <a:xfrm>
              <a:off x="5350" y="2840"/>
              <a:ext cx="0" cy="3"/>
            </a:xfrm>
            <a:custGeom>
              <a:avLst/>
              <a:gdLst>
                <a:gd name="T0" fmla="*/ 1 h 2"/>
                <a:gd name="T1" fmla="*/ 2 h 2"/>
                <a:gd name="T2" fmla="*/ 0 h 2"/>
                <a:gd name="T3" fmla="*/ 1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2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4DA0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00" name="Freeform 7762"/>
            <p:cNvSpPr>
              <a:spLocks/>
            </p:cNvSpPr>
            <p:nvPr/>
          </p:nvSpPr>
          <p:spPr bwMode="auto">
            <a:xfrm>
              <a:off x="5346" y="2826"/>
              <a:ext cx="4" cy="6"/>
            </a:xfrm>
            <a:custGeom>
              <a:avLst/>
              <a:gdLst>
                <a:gd name="T0" fmla="*/ 3 w 3"/>
                <a:gd name="T1" fmla="*/ 5 h 5"/>
                <a:gd name="T2" fmla="*/ 3 w 3"/>
                <a:gd name="T3" fmla="*/ 4 h 5"/>
                <a:gd name="T4" fmla="*/ 1 w 3"/>
                <a:gd name="T5" fmla="*/ 0 h 5"/>
                <a:gd name="T6" fmla="*/ 0 w 3"/>
                <a:gd name="T7" fmla="*/ 1 h 5"/>
                <a:gd name="T8" fmla="*/ 3 w 3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5">
                  <a:moveTo>
                    <a:pt x="3" y="5"/>
                  </a:moveTo>
                  <a:cubicBezTo>
                    <a:pt x="3" y="4"/>
                    <a:pt x="3" y="4"/>
                    <a:pt x="3" y="4"/>
                  </a:cubicBezTo>
                  <a:cubicBezTo>
                    <a:pt x="2" y="2"/>
                    <a:pt x="1" y="1"/>
                    <a:pt x="1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1" y="2"/>
                    <a:pt x="2" y="3"/>
                    <a:pt x="3" y="5"/>
                  </a:cubicBezTo>
                  <a:close/>
                </a:path>
              </a:pathLst>
            </a:custGeom>
            <a:solidFill>
              <a:srgbClr val="4DA0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01" name="Freeform 7763"/>
            <p:cNvSpPr>
              <a:spLocks/>
            </p:cNvSpPr>
            <p:nvPr/>
          </p:nvSpPr>
          <p:spPr bwMode="auto">
            <a:xfrm>
              <a:off x="5340" y="2843"/>
              <a:ext cx="5" cy="8"/>
            </a:xfrm>
            <a:custGeom>
              <a:avLst/>
              <a:gdLst>
                <a:gd name="T0" fmla="*/ 4 w 4"/>
                <a:gd name="T1" fmla="*/ 2 h 7"/>
                <a:gd name="T2" fmla="*/ 1 w 4"/>
                <a:gd name="T3" fmla="*/ 0 h 7"/>
                <a:gd name="T4" fmla="*/ 0 w 4"/>
                <a:gd name="T5" fmla="*/ 2 h 7"/>
                <a:gd name="T6" fmla="*/ 3 w 4"/>
                <a:gd name="T7" fmla="*/ 7 h 7"/>
                <a:gd name="T8" fmla="*/ 3 w 4"/>
                <a:gd name="T9" fmla="*/ 7 h 7"/>
                <a:gd name="T10" fmla="*/ 4 w 4"/>
                <a:gd name="T11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7">
                  <a:moveTo>
                    <a:pt x="4" y="2"/>
                  </a:moveTo>
                  <a:cubicBezTo>
                    <a:pt x="3" y="1"/>
                    <a:pt x="3" y="0"/>
                    <a:pt x="1" y="0"/>
                  </a:cubicBezTo>
                  <a:cubicBezTo>
                    <a:pt x="1" y="1"/>
                    <a:pt x="1" y="1"/>
                    <a:pt x="0" y="2"/>
                  </a:cubicBezTo>
                  <a:cubicBezTo>
                    <a:pt x="1" y="3"/>
                    <a:pt x="2" y="5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5"/>
                    <a:pt x="4" y="4"/>
                    <a:pt x="4" y="2"/>
                  </a:cubicBezTo>
                  <a:close/>
                </a:path>
              </a:pathLst>
            </a:custGeom>
            <a:solidFill>
              <a:srgbClr val="4DA0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02" name="Freeform 7764"/>
            <p:cNvSpPr>
              <a:spLocks/>
            </p:cNvSpPr>
            <p:nvPr/>
          </p:nvSpPr>
          <p:spPr bwMode="auto">
            <a:xfrm>
              <a:off x="5345" y="2855"/>
              <a:ext cx="5" cy="19"/>
            </a:xfrm>
            <a:custGeom>
              <a:avLst/>
              <a:gdLst>
                <a:gd name="T0" fmla="*/ 4 w 4"/>
                <a:gd name="T1" fmla="*/ 0 h 16"/>
                <a:gd name="T2" fmla="*/ 0 w 4"/>
                <a:gd name="T3" fmla="*/ 2 h 16"/>
                <a:gd name="T4" fmla="*/ 0 w 4"/>
                <a:gd name="T5" fmla="*/ 16 h 16"/>
                <a:gd name="T6" fmla="*/ 0 w 4"/>
                <a:gd name="T7" fmla="*/ 16 h 16"/>
                <a:gd name="T8" fmla="*/ 4 w 4"/>
                <a:gd name="T9" fmla="*/ 4 h 16"/>
                <a:gd name="T10" fmla="*/ 4 w 4"/>
                <a:gd name="T1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16">
                  <a:moveTo>
                    <a:pt x="4" y="0"/>
                  </a:moveTo>
                  <a:cubicBezTo>
                    <a:pt x="2" y="1"/>
                    <a:pt x="1" y="1"/>
                    <a:pt x="0" y="2"/>
                  </a:cubicBezTo>
                  <a:cubicBezTo>
                    <a:pt x="0" y="6"/>
                    <a:pt x="0" y="10"/>
                    <a:pt x="0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8"/>
                    <a:pt x="4" y="4"/>
                  </a:cubicBezTo>
                  <a:lnTo>
                    <a:pt x="4" y="0"/>
                  </a:lnTo>
                  <a:close/>
                </a:path>
              </a:pathLst>
            </a:custGeom>
            <a:solidFill>
              <a:srgbClr val="4DA0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03" name="Freeform 7765"/>
            <p:cNvSpPr>
              <a:spLocks/>
            </p:cNvSpPr>
            <p:nvPr/>
          </p:nvSpPr>
          <p:spPr bwMode="auto">
            <a:xfrm>
              <a:off x="5344" y="2851"/>
              <a:ext cx="0" cy="1"/>
            </a:xfrm>
            <a:custGeom>
              <a:avLst/>
              <a:gdLst>
                <a:gd name="T0" fmla="*/ 0 h 1"/>
                <a:gd name="T1" fmla="*/ 1 h 1"/>
                <a:gd name="T2" fmla="*/ 0 h 1"/>
                <a:gd name="T3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0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4DA0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04" name="Freeform 7766"/>
            <p:cNvSpPr>
              <a:spLocks/>
            </p:cNvSpPr>
            <p:nvPr/>
          </p:nvSpPr>
          <p:spPr bwMode="auto">
            <a:xfrm>
              <a:off x="5334" y="2841"/>
              <a:ext cx="3" cy="4"/>
            </a:xfrm>
            <a:custGeom>
              <a:avLst/>
              <a:gdLst>
                <a:gd name="T0" fmla="*/ 2 w 2"/>
                <a:gd name="T1" fmla="*/ 0 h 3"/>
                <a:gd name="T2" fmla="*/ 0 w 2"/>
                <a:gd name="T3" fmla="*/ 1 h 3"/>
                <a:gd name="T4" fmla="*/ 1 w 2"/>
                <a:gd name="T5" fmla="*/ 3 h 3"/>
                <a:gd name="T6" fmla="*/ 1 w 2"/>
                <a:gd name="T7" fmla="*/ 3 h 3"/>
                <a:gd name="T8" fmla="*/ 2 w 2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cubicBezTo>
                    <a:pt x="2" y="0"/>
                    <a:pt x="1" y="1"/>
                    <a:pt x="0" y="1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2"/>
                    <a:pt x="2" y="1"/>
                    <a:pt x="2" y="0"/>
                  </a:cubicBezTo>
                  <a:close/>
                </a:path>
              </a:pathLst>
            </a:custGeom>
            <a:solidFill>
              <a:srgbClr val="4DA0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05" name="Freeform 7767"/>
            <p:cNvSpPr>
              <a:spLocks/>
            </p:cNvSpPr>
            <p:nvPr/>
          </p:nvSpPr>
          <p:spPr bwMode="auto">
            <a:xfrm>
              <a:off x="5343" y="2826"/>
              <a:ext cx="1" cy="0"/>
            </a:xfrm>
            <a:custGeom>
              <a:avLst/>
              <a:gdLst>
                <a:gd name="T0" fmla="*/ 0 w 1"/>
                <a:gd name="T1" fmla="*/ 1 w 1"/>
                <a:gd name="T2" fmla="*/ 1 w 1"/>
                <a:gd name="T3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4DA0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06" name="Freeform 7768"/>
            <p:cNvSpPr>
              <a:spLocks/>
            </p:cNvSpPr>
            <p:nvPr/>
          </p:nvSpPr>
          <p:spPr bwMode="auto">
            <a:xfrm>
              <a:off x="5346" y="2824"/>
              <a:ext cx="2" cy="2"/>
            </a:xfrm>
            <a:custGeom>
              <a:avLst/>
              <a:gdLst>
                <a:gd name="T0" fmla="*/ 1 w 1"/>
                <a:gd name="T1" fmla="*/ 0 h 1"/>
                <a:gd name="T2" fmla="*/ 0 w 1"/>
                <a:gd name="T3" fmla="*/ 0 h 1"/>
                <a:gd name="T4" fmla="*/ 1 w 1"/>
                <a:gd name="T5" fmla="*/ 1 h 1"/>
                <a:gd name="T6" fmla="*/ 1 w 1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1" y="0"/>
                    <a:pt x="1" y="0"/>
                    <a:pt x="0" y="0"/>
                  </a:cubicBezTo>
                  <a:cubicBezTo>
                    <a:pt x="1" y="0"/>
                    <a:pt x="1" y="1"/>
                    <a:pt x="1" y="1"/>
                  </a:cubicBezTo>
                  <a:cubicBezTo>
                    <a:pt x="1" y="1"/>
                    <a:pt x="1" y="1"/>
                    <a:pt x="1" y="0"/>
                  </a:cubicBezTo>
                  <a:close/>
                </a:path>
              </a:pathLst>
            </a:custGeom>
            <a:solidFill>
              <a:srgbClr val="4DA0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07" name="Freeform 7769"/>
            <p:cNvSpPr>
              <a:spLocks/>
            </p:cNvSpPr>
            <p:nvPr/>
          </p:nvSpPr>
          <p:spPr bwMode="auto">
            <a:xfrm>
              <a:off x="5327" y="2849"/>
              <a:ext cx="2" cy="5"/>
            </a:xfrm>
            <a:custGeom>
              <a:avLst/>
              <a:gdLst>
                <a:gd name="T0" fmla="*/ 0 w 2"/>
                <a:gd name="T1" fmla="*/ 4 h 4"/>
                <a:gd name="T2" fmla="*/ 0 w 2"/>
                <a:gd name="T3" fmla="*/ 4 h 4"/>
                <a:gd name="T4" fmla="*/ 2 w 2"/>
                <a:gd name="T5" fmla="*/ 3 h 4"/>
                <a:gd name="T6" fmla="*/ 2 w 2"/>
                <a:gd name="T7" fmla="*/ 0 h 4"/>
                <a:gd name="T8" fmla="*/ 0 w 2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3"/>
                    <a:pt x="2" y="3"/>
                  </a:cubicBezTo>
                  <a:cubicBezTo>
                    <a:pt x="2" y="2"/>
                    <a:pt x="2" y="1"/>
                    <a:pt x="2" y="0"/>
                  </a:cubicBezTo>
                  <a:cubicBezTo>
                    <a:pt x="1" y="1"/>
                    <a:pt x="1" y="3"/>
                    <a:pt x="0" y="4"/>
                  </a:cubicBezTo>
                  <a:close/>
                </a:path>
              </a:pathLst>
            </a:custGeom>
            <a:solidFill>
              <a:srgbClr val="4DA0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08" name="Freeform 7770"/>
            <p:cNvSpPr>
              <a:spLocks/>
            </p:cNvSpPr>
            <p:nvPr/>
          </p:nvSpPr>
          <p:spPr bwMode="auto">
            <a:xfrm>
              <a:off x="5344" y="2824"/>
              <a:ext cx="4" cy="3"/>
            </a:xfrm>
            <a:custGeom>
              <a:avLst/>
              <a:gdLst>
                <a:gd name="T0" fmla="*/ 0 w 3"/>
                <a:gd name="T1" fmla="*/ 1 h 2"/>
                <a:gd name="T2" fmla="*/ 0 w 3"/>
                <a:gd name="T3" fmla="*/ 1 h 2"/>
                <a:gd name="T4" fmla="*/ 2 w 3"/>
                <a:gd name="T5" fmla="*/ 2 h 2"/>
                <a:gd name="T6" fmla="*/ 3 w 3"/>
                <a:gd name="T7" fmla="*/ 1 h 2"/>
                <a:gd name="T8" fmla="*/ 2 w 3"/>
                <a:gd name="T9" fmla="*/ 0 h 2"/>
                <a:gd name="T10" fmla="*/ 1 w 3"/>
                <a:gd name="T11" fmla="*/ 0 h 2"/>
                <a:gd name="T12" fmla="*/ 0 w 3"/>
                <a:gd name="T13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2"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2"/>
                    <a:pt x="2" y="2"/>
                  </a:cubicBezTo>
                  <a:cubicBezTo>
                    <a:pt x="2" y="2"/>
                    <a:pt x="2" y="1"/>
                    <a:pt x="3" y="1"/>
                  </a:cubicBezTo>
                  <a:cubicBezTo>
                    <a:pt x="3" y="1"/>
                    <a:pt x="3" y="0"/>
                    <a:pt x="2" y="0"/>
                  </a:cubicBezTo>
                  <a:cubicBezTo>
                    <a:pt x="2" y="0"/>
                    <a:pt x="1" y="0"/>
                    <a:pt x="1" y="0"/>
                  </a:cubicBezTo>
                  <a:cubicBezTo>
                    <a:pt x="0" y="0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4DA0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09" name="Freeform 7771"/>
            <p:cNvSpPr>
              <a:spLocks/>
            </p:cNvSpPr>
            <p:nvPr/>
          </p:nvSpPr>
          <p:spPr bwMode="auto">
            <a:xfrm>
              <a:off x="5333" y="2843"/>
              <a:ext cx="2" cy="4"/>
            </a:xfrm>
            <a:custGeom>
              <a:avLst/>
              <a:gdLst>
                <a:gd name="T0" fmla="*/ 0 w 2"/>
                <a:gd name="T1" fmla="*/ 1 h 4"/>
                <a:gd name="T2" fmla="*/ 0 w 2"/>
                <a:gd name="T3" fmla="*/ 4 h 4"/>
                <a:gd name="T4" fmla="*/ 2 w 2"/>
                <a:gd name="T5" fmla="*/ 2 h 4"/>
                <a:gd name="T6" fmla="*/ 1 w 2"/>
                <a:gd name="T7" fmla="*/ 0 h 4"/>
                <a:gd name="T8" fmla="*/ 0 w 2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0" y="1"/>
                  </a:moveTo>
                  <a:cubicBezTo>
                    <a:pt x="0" y="2"/>
                    <a:pt x="0" y="3"/>
                    <a:pt x="0" y="4"/>
                  </a:cubicBezTo>
                  <a:cubicBezTo>
                    <a:pt x="0" y="3"/>
                    <a:pt x="1" y="2"/>
                    <a:pt x="2" y="2"/>
                  </a:cubicBezTo>
                  <a:cubicBezTo>
                    <a:pt x="2" y="1"/>
                    <a:pt x="2" y="1"/>
                    <a:pt x="1" y="0"/>
                  </a:cubicBezTo>
                  <a:cubicBezTo>
                    <a:pt x="1" y="0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4DA0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10" name="Freeform 7772"/>
            <p:cNvSpPr>
              <a:spLocks/>
            </p:cNvSpPr>
            <p:nvPr/>
          </p:nvSpPr>
          <p:spPr bwMode="auto">
            <a:xfrm>
              <a:off x="5329" y="2844"/>
              <a:ext cx="4" cy="8"/>
            </a:xfrm>
            <a:custGeom>
              <a:avLst/>
              <a:gdLst>
                <a:gd name="T0" fmla="*/ 0 w 3"/>
                <a:gd name="T1" fmla="*/ 4 h 7"/>
                <a:gd name="T2" fmla="*/ 0 w 3"/>
                <a:gd name="T3" fmla="*/ 7 h 7"/>
                <a:gd name="T4" fmla="*/ 3 w 3"/>
                <a:gd name="T5" fmla="*/ 3 h 7"/>
                <a:gd name="T6" fmla="*/ 3 w 3"/>
                <a:gd name="T7" fmla="*/ 0 h 7"/>
                <a:gd name="T8" fmla="*/ 0 w 3"/>
                <a:gd name="T9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7">
                  <a:moveTo>
                    <a:pt x="0" y="4"/>
                  </a:moveTo>
                  <a:cubicBezTo>
                    <a:pt x="0" y="5"/>
                    <a:pt x="0" y="6"/>
                    <a:pt x="0" y="7"/>
                  </a:cubicBezTo>
                  <a:cubicBezTo>
                    <a:pt x="1" y="5"/>
                    <a:pt x="2" y="4"/>
                    <a:pt x="3" y="3"/>
                  </a:cubicBezTo>
                  <a:cubicBezTo>
                    <a:pt x="3" y="2"/>
                    <a:pt x="3" y="1"/>
                    <a:pt x="3" y="0"/>
                  </a:cubicBezTo>
                  <a:cubicBezTo>
                    <a:pt x="2" y="1"/>
                    <a:pt x="1" y="2"/>
                    <a:pt x="0" y="4"/>
                  </a:cubicBezTo>
                  <a:close/>
                </a:path>
              </a:pathLst>
            </a:custGeom>
            <a:solidFill>
              <a:srgbClr val="4DA0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11" name="Freeform 7773"/>
            <p:cNvSpPr>
              <a:spLocks/>
            </p:cNvSpPr>
            <p:nvPr/>
          </p:nvSpPr>
          <p:spPr bwMode="auto">
            <a:xfrm>
              <a:off x="5327" y="2854"/>
              <a:ext cx="0" cy="2"/>
            </a:xfrm>
            <a:custGeom>
              <a:avLst/>
              <a:gdLst>
                <a:gd name="T0" fmla="*/ 2 h 2"/>
                <a:gd name="T1" fmla="*/ 0 h 2"/>
                <a:gd name="T2" fmla="*/ 0 h 2"/>
                <a:gd name="T3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cubicBezTo>
                    <a:pt x="0" y="2"/>
                    <a:pt x="0" y="1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4DA0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12" name="Freeform 7774"/>
            <p:cNvSpPr>
              <a:spLocks/>
            </p:cNvSpPr>
            <p:nvPr/>
          </p:nvSpPr>
          <p:spPr bwMode="auto">
            <a:xfrm>
              <a:off x="5183" y="2824"/>
              <a:ext cx="22" cy="27"/>
            </a:xfrm>
            <a:custGeom>
              <a:avLst/>
              <a:gdLst>
                <a:gd name="T0" fmla="*/ 4 w 18"/>
                <a:gd name="T1" fmla="*/ 22 h 22"/>
                <a:gd name="T2" fmla="*/ 18 w 18"/>
                <a:gd name="T3" fmla="*/ 16 h 22"/>
                <a:gd name="T4" fmla="*/ 0 w 18"/>
                <a:gd name="T5" fmla="*/ 22 h 22"/>
                <a:gd name="T6" fmla="*/ 4 w 18"/>
                <a:gd name="T7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22">
                  <a:moveTo>
                    <a:pt x="4" y="22"/>
                  </a:moveTo>
                  <a:cubicBezTo>
                    <a:pt x="8" y="2"/>
                    <a:pt x="18" y="16"/>
                    <a:pt x="18" y="16"/>
                  </a:cubicBezTo>
                  <a:cubicBezTo>
                    <a:pt x="9" y="0"/>
                    <a:pt x="3" y="15"/>
                    <a:pt x="0" y="22"/>
                  </a:cubicBezTo>
                  <a:cubicBezTo>
                    <a:pt x="1" y="22"/>
                    <a:pt x="3" y="22"/>
                    <a:pt x="4" y="22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13" name="Freeform 7775"/>
            <p:cNvSpPr>
              <a:spLocks/>
            </p:cNvSpPr>
            <p:nvPr/>
          </p:nvSpPr>
          <p:spPr bwMode="auto">
            <a:xfrm>
              <a:off x="5183" y="2806"/>
              <a:ext cx="3" cy="0"/>
            </a:xfrm>
            <a:custGeom>
              <a:avLst/>
              <a:gdLst>
                <a:gd name="T0" fmla="*/ 2 w 2"/>
                <a:gd name="T1" fmla="*/ 0 w 2"/>
                <a:gd name="T2" fmla="*/ 0 w 2"/>
                <a:gd name="T3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cubicBezTo>
                    <a:pt x="1" y="0"/>
                    <a:pt x="1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2" y="0"/>
                    <a:pt x="2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14" name="Freeform 7776"/>
            <p:cNvSpPr>
              <a:spLocks/>
            </p:cNvSpPr>
            <p:nvPr/>
          </p:nvSpPr>
          <p:spPr bwMode="auto">
            <a:xfrm>
              <a:off x="5199" y="2861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15" name="Freeform 7777"/>
            <p:cNvSpPr>
              <a:spLocks/>
            </p:cNvSpPr>
            <p:nvPr/>
          </p:nvSpPr>
          <p:spPr bwMode="auto">
            <a:xfrm>
              <a:off x="5188" y="2851"/>
              <a:ext cx="11" cy="10"/>
            </a:xfrm>
            <a:custGeom>
              <a:avLst/>
              <a:gdLst>
                <a:gd name="T0" fmla="*/ 9 w 9"/>
                <a:gd name="T1" fmla="*/ 8 h 8"/>
                <a:gd name="T2" fmla="*/ 0 w 9"/>
                <a:gd name="T3" fmla="*/ 0 h 8"/>
                <a:gd name="T4" fmla="*/ 0 w 9"/>
                <a:gd name="T5" fmla="*/ 1 h 8"/>
                <a:gd name="T6" fmla="*/ 9 w 9"/>
                <a:gd name="T7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8">
                  <a:moveTo>
                    <a:pt x="9" y="8"/>
                  </a:moveTo>
                  <a:cubicBezTo>
                    <a:pt x="6" y="3"/>
                    <a:pt x="3" y="1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5" y="1"/>
                    <a:pt x="8" y="7"/>
                    <a:pt x="9" y="8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16" name="Freeform 7778"/>
            <p:cNvSpPr>
              <a:spLocks/>
            </p:cNvSpPr>
            <p:nvPr/>
          </p:nvSpPr>
          <p:spPr bwMode="auto">
            <a:xfrm>
              <a:off x="5069" y="2845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4DA0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17" name="Freeform 7779"/>
            <p:cNvSpPr>
              <a:spLocks/>
            </p:cNvSpPr>
            <p:nvPr/>
          </p:nvSpPr>
          <p:spPr bwMode="auto">
            <a:xfrm>
              <a:off x="5111" y="2810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18" name="Freeform 7780"/>
            <p:cNvSpPr>
              <a:spLocks/>
            </p:cNvSpPr>
            <p:nvPr/>
          </p:nvSpPr>
          <p:spPr bwMode="auto">
            <a:xfrm>
              <a:off x="5152" y="2856"/>
              <a:ext cx="3" cy="4"/>
            </a:xfrm>
            <a:custGeom>
              <a:avLst/>
              <a:gdLst>
                <a:gd name="T0" fmla="*/ 0 w 3"/>
                <a:gd name="T1" fmla="*/ 3 h 3"/>
                <a:gd name="T2" fmla="*/ 3 w 3"/>
                <a:gd name="T3" fmla="*/ 0 h 3"/>
                <a:gd name="T4" fmla="*/ 1 w 3"/>
                <a:gd name="T5" fmla="*/ 1 h 3"/>
                <a:gd name="T6" fmla="*/ 0 w 3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">
                  <a:moveTo>
                    <a:pt x="0" y="3"/>
                  </a:moveTo>
                  <a:cubicBezTo>
                    <a:pt x="1" y="2"/>
                    <a:pt x="2" y="1"/>
                    <a:pt x="3" y="0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2"/>
                    <a:pt x="0" y="2"/>
                    <a:pt x="0" y="3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19" name="Freeform 7781"/>
            <p:cNvSpPr>
              <a:spLocks/>
            </p:cNvSpPr>
            <p:nvPr/>
          </p:nvSpPr>
          <p:spPr bwMode="auto">
            <a:xfrm>
              <a:off x="5138" y="2791"/>
              <a:ext cx="17" cy="42"/>
            </a:xfrm>
            <a:custGeom>
              <a:avLst/>
              <a:gdLst>
                <a:gd name="T0" fmla="*/ 0 w 14"/>
                <a:gd name="T1" fmla="*/ 0 h 34"/>
                <a:gd name="T2" fmla="*/ 10 w 14"/>
                <a:gd name="T3" fmla="*/ 34 h 34"/>
                <a:gd name="T4" fmla="*/ 14 w 14"/>
                <a:gd name="T5" fmla="*/ 34 h 34"/>
                <a:gd name="T6" fmla="*/ 0 w 14"/>
                <a:gd name="T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34">
                  <a:moveTo>
                    <a:pt x="0" y="0"/>
                  </a:moveTo>
                  <a:cubicBezTo>
                    <a:pt x="4" y="5"/>
                    <a:pt x="8" y="23"/>
                    <a:pt x="10" y="34"/>
                  </a:cubicBezTo>
                  <a:cubicBezTo>
                    <a:pt x="11" y="34"/>
                    <a:pt x="13" y="34"/>
                    <a:pt x="14" y="34"/>
                  </a:cubicBezTo>
                  <a:cubicBezTo>
                    <a:pt x="6" y="6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20" name="Freeform 7782"/>
            <p:cNvSpPr>
              <a:spLocks/>
            </p:cNvSpPr>
            <p:nvPr/>
          </p:nvSpPr>
          <p:spPr bwMode="auto">
            <a:xfrm>
              <a:off x="5150" y="2846"/>
              <a:ext cx="3" cy="0"/>
            </a:xfrm>
            <a:custGeom>
              <a:avLst/>
              <a:gdLst>
                <a:gd name="T0" fmla="*/ 2 w 2"/>
                <a:gd name="T1" fmla="*/ 0 w 2"/>
                <a:gd name="T2" fmla="*/ 2 w 2"/>
                <a:gd name="T3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21" name="Freeform 7783"/>
            <p:cNvSpPr>
              <a:spLocks/>
            </p:cNvSpPr>
            <p:nvPr/>
          </p:nvSpPr>
          <p:spPr bwMode="auto">
            <a:xfrm>
              <a:off x="5153" y="2846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22" name="Freeform 7784"/>
            <p:cNvSpPr>
              <a:spLocks/>
            </p:cNvSpPr>
            <p:nvPr/>
          </p:nvSpPr>
          <p:spPr bwMode="auto">
            <a:xfrm>
              <a:off x="5154" y="2841"/>
              <a:ext cx="5" cy="5"/>
            </a:xfrm>
            <a:custGeom>
              <a:avLst/>
              <a:gdLst>
                <a:gd name="T0" fmla="*/ 2 w 4"/>
                <a:gd name="T1" fmla="*/ 4 h 4"/>
                <a:gd name="T2" fmla="*/ 4 w 4"/>
                <a:gd name="T3" fmla="*/ 4 h 4"/>
                <a:gd name="T4" fmla="*/ 4 w 4"/>
                <a:gd name="T5" fmla="*/ 2 h 4"/>
                <a:gd name="T6" fmla="*/ 0 w 4"/>
                <a:gd name="T7" fmla="*/ 2 h 4"/>
                <a:gd name="T8" fmla="*/ 2 w 4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2" y="4"/>
                  </a:moveTo>
                  <a:cubicBezTo>
                    <a:pt x="3" y="4"/>
                    <a:pt x="4" y="4"/>
                    <a:pt x="4" y="4"/>
                  </a:cubicBezTo>
                  <a:cubicBezTo>
                    <a:pt x="4" y="3"/>
                    <a:pt x="4" y="3"/>
                    <a:pt x="4" y="2"/>
                  </a:cubicBezTo>
                  <a:cubicBezTo>
                    <a:pt x="3" y="1"/>
                    <a:pt x="2" y="0"/>
                    <a:pt x="0" y="2"/>
                  </a:cubicBezTo>
                  <a:cubicBezTo>
                    <a:pt x="1" y="3"/>
                    <a:pt x="2" y="4"/>
                    <a:pt x="2" y="4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23" name="Freeform 7785"/>
            <p:cNvSpPr>
              <a:spLocks/>
            </p:cNvSpPr>
            <p:nvPr/>
          </p:nvSpPr>
          <p:spPr bwMode="auto">
            <a:xfrm>
              <a:off x="5161" y="2856"/>
              <a:ext cx="3" cy="5"/>
            </a:xfrm>
            <a:custGeom>
              <a:avLst/>
              <a:gdLst>
                <a:gd name="T0" fmla="*/ 2 w 2"/>
                <a:gd name="T1" fmla="*/ 4 h 4"/>
                <a:gd name="T2" fmla="*/ 1 w 2"/>
                <a:gd name="T3" fmla="*/ 0 h 4"/>
                <a:gd name="T4" fmla="*/ 0 w 2"/>
                <a:gd name="T5" fmla="*/ 0 h 4"/>
                <a:gd name="T6" fmla="*/ 2 w 2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4">
                  <a:moveTo>
                    <a:pt x="2" y="4"/>
                  </a:moveTo>
                  <a:cubicBezTo>
                    <a:pt x="1" y="3"/>
                    <a:pt x="1" y="1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1" y="1"/>
                    <a:pt x="1" y="3"/>
                    <a:pt x="2" y="4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24" name="Freeform 7786"/>
            <p:cNvSpPr>
              <a:spLocks/>
            </p:cNvSpPr>
            <p:nvPr/>
          </p:nvSpPr>
          <p:spPr bwMode="auto">
            <a:xfrm>
              <a:off x="5153" y="2856"/>
              <a:ext cx="11" cy="18"/>
            </a:xfrm>
            <a:custGeom>
              <a:avLst/>
              <a:gdLst>
                <a:gd name="T0" fmla="*/ 6 w 9"/>
                <a:gd name="T1" fmla="*/ 0 h 15"/>
                <a:gd name="T2" fmla="*/ 0 w 9"/>
                <a:gd name="T3" fmla="*/ 15 h 15"/>
                <a:gd name="T4" fmla="*/ 0 w 9"/>
                <a:gd name="T5" fmla="*/ 15 h 15"/>
                <a:gd name="T6" fmla="*/ 9 w 9"/>
                <a:gd name="T7" fmla="*/ 15 h 15"/>
                <a:gd name="T8" fmla="*/ 9 w 9"/>
                <a:gd name="T9" fmla="*/ 14 h 15"/>
                <a:gd name="T10" fmla="*/ 9 w 9"/>
                <a:gd name="T11" fmla="*/ 5 h 15"/>
                <a:gd name="T12" fmla="*/ 6 w 9"/>
                <a:gd name="T13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5">
                  <a:moveTo>
                    <a:pt x="6" y="0"/>
                  </a:moveTo>
                  <a:cubicBezTo>
                    <a:pt x="4" y="2"/>
                    <a:pt x="2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5"/>
                    <a:pt x="9" y="15"/>
                    <a:pt x="9" y="14"/>
                  </a:cubicBezTo>
                  <a:cubicBezTo>
                    <a:pt x="9" y="13"/>
                    <a:pt x="9" y="9"/>
                    <a:pt x="9" y="5"/>
                  </a:cubicBezTo>
                  <a:cubicBezTo>
                    <a:pt x="8" y="3"/>
                    <a:pt x="7" y="1"/>
                    <a:pt x="6" y="0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25" name="Freeform 7787"/>
            <p:cNvSpPr>
              <a:spLocks/>
            </p:cNvSpPr>
            <p:nvPr/>
          </p:nvSpPr>
          <p:spPr bwMode="auto">
            <a:xfrm>
              <a:off x="5130" y="2811"/>
              <a:ext cx="13" cy="21"/>
            </a:xfrm>
            <a:custGeom>
              <a:avLst/>
              <a:gdLst>
                <a:gd name="T0" fmla="*/ 11 w 11"/>
                <a:gd name="T1" fmla="*/ 17 h 17"/>
                <a:gd name="T2" fmla="*/ 10 w 11"/>
                <a:gd name="T3" fmla="*/ 9 h 17"/>
                <a:gd name="T4" fmla="*/ 0 w 11"/>
                <a:gd name="T5" fmla="*/ 0 h 17"/>
                <a:gd name="T6" fmla="*/ 0 w 11"/>
                <a:gd name="T7" fmla="*/ 2 h 17"/>
                <a:gd name="T8" fmla="*/ 11 w 11"/>
                <a:gd name="T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7">
                  <a:moveTo>
                    <a:pt x="11" y="17"/>
                  </a:moveTo>
                  <a:cubicBezTo>
                    <a:pt x="11" y="15"/>
                    <a:pt x="10" y="12"/>
                    <a:pt x="10" y="9"/>
                  </a:cubicBezTo>
                  <a:cubicBezTo>
                    <a:pt x="7" y="5"/>
                    <a:pt x="3" y="2"/>
                    <a:pt x="0" y="0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5" y="6"/>
                    <a:pt x="8" y="11"/>
                    <a:pt x="11" y="17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26" name="Freeform 7788"/>
            <p:cNvSpPr>
              <a:spLocks/>
            </p:cNvSpPr>
            <p:nvPr/>
          </p:nvSpPr>
          <p:spPr bwMode="auto">
            <a:xfrm>
              <a:off x="5148" y="2834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27" name="Freeform 7789"/>
            <p:cNvSpPr>
              <a:spLocks/>
            </p:cNvSpPr>
            <p:nvPr/>
          </p:nvSpPr>
          <p:spPr bwMode="auto">
            <a:xfrm>
              <a:off x="5149" y="2838"/>
              <a:ext cx="3" cy="5"/>
            </a:xfrm>
            <a:custGeom>
              <a:avLst/>
              <a:gdLst>
                <a:gd name="T0" fmla="*/ 2 w 2"/>
                <a:gd name="T1" fmla="*/ 4 h 4"/>
                <a:gd name="T2" fmla="*/ 1 w 2"/>
                <a:gd name="T3" fmla="*/ 0 h 4"/>
                <a:gd name="T4" fmla="*/ 0 w 2"/>
                <a:gd name="T5" fmla="*/ 0 h 4"/>
                <a:gd name="T6" fmla="*/ 0 w 2"/>
                <a:gd name="T7" fmla="*/ 3 h 4"/>
                <a:gd name="T8" fmla="*/ 2 w 2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2" y="4"/>
                  </a:moveTo>
                  <a:cubicBezTo>
                    <a:pt x="2" y="2"/>
                    <a:pt x="1" y="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1" y="3"/>
                    <a:pt x="1" y="4"/>
                    <a:pt x="2" y="4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28" name="Freeform 7790"/>
            <p:cNvSpPr>
              <a:spLocks/>
            </p:cNvSpPr>
            <p:nvPr/>
          </p:nvSpPr>
          <p:spPr bwMode="auto">
            <a:xfrm>
              <a:off x="5165" y="2850"/>
              <a:ext cx="0" cy="1"/>
            </a:xfrm>
            <a:custGeom>
              <a:avLst/>
              <a:gdLst>
                <a:gd name="T0" fmla="*/ 0 h 1"/>
                <a:gd name="T1" fmla="*/ 0 h 1"/>
                <a:gd name="T2" fmla="*/ 1 h 1"/>
                <a:gd name="T3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0" y="1"/>
                    <a:pt x="0" y="0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29" name="Freeform 7791"/>
            <p:cNvSpPr>
              <a:spLocks/>
            </p:cNvSpPr>
            <p:nvPr/>
          </p:nvSpPr>
          <p:spPr bwMode="auto">
            <a:xfrm>
              <a:off x="5166" y="2827"/>
              <a:ext cx="3" cy="8"/>
            </a:xfrm>
            <a:custGeom>
              <a:avLst/>
              <a:gdLst>
                <a:gd name="T0" fmla="*/ 2 w 2"/>
                <a:gd name="T1" fmla="*/ 3 h 7"/>
                <a:gd name="T2" fmla="*/ 2 w 2"/>
                <a:gd name="T3" fmla="*/ 0 h 7"/>
                <a:gd name="T4" fmla="*/ 0 w 2"/>
                <a:gd name="T5" fmla="*/ 6 h 7"/>
                <a:gd name="T6" fmla="*/ 2 w 2"/>
                <a:gd name="T7" fmla="*/ 7 h 7"/>
                <a:gd name="T8" fmla="*/ 2 w 2"/>
                <a:gd name="T9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7">
                  <a:moveTo>
                    <a:pt x="2" y="3"/>
                  </a:moveTo>
                  <a:cubicBezTo>
                    <a:pt x="2" y="2"/>
                    <a:pt x="2" y="1"/>
                    <a:pt x="2" y="0"/>
                  </a:cubicBezTo>
                  <a:cubicBezTo>
                    <a:pt x="1" y="2"/>
                    <a:pt x="0" y="4"/>
                    <a:pt x="0" y="6"/>
                  </a:cubicBezTo>
                  <a:cubicBezTo>
                    <a:pt x="0" y="6"/>
                    <a:pt x="1" y="6"/>
                    <a:pt x="2" y="7"/>
                  </a:cubicBezTo>
                  <a:cubicBezTo>
                    <a:pt x="2" y="5"/>
                    <a:pt x="2" y="4"/>
                    <a:pt x="2" y="3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30" name="Freeform 7792"/>
            <p:cNvSpPr>
              <a:spLocks/>
            </p:cNvSpPr>
            <p:nvPr/>
          </p:nvSpPr>
          <p:spPr bwMode="auto">
            <a:xfrm>
              <a:off x="5154" y="2849"/>
              <a:ext cx="5" cy="5"/>
            </a:xfrm>
            <a:custGeom>
              <a:avLst/>
              <a:gdLst>
                <a:gd name="T0" fmla="*/ 2 w 4"/>
                <a:gd name="T1" fmla="*/ 0 h 4"/>
                <a:gd name="T2" fmla="*/ 0 w 4"/>
                <a:gd name="T3" fmla="*/ 4 h 4"/>
                <a:gd name="T4" fmla="*/ 4 w 4"/>
                <a:gd name="T5" fmla="*/ 3 h 4"/>
                <a:gd name="T6" fmla="*/ 4 w 4"/>
                <a:gd name="T7" fmla="*/ 3 h 4"/>
                <a:gd name="T8" fmla="*/ 2 w 4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2" y="0"/>
                  </a:moveTo>
                  <a:cubicBezTo>
                    <a:pt x="1" y="1"/>
                    <a:pt x="0" y="2"/>
                    <a:pt x="0" y="4"/>
                  </a:cubicBezTo>
                  <a:cubicBezTo>
                    <a:pt x="1" y="3"/>
                    <a:pt x="3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3" y="2"/>
                    <a:pt x="3" y="1"/>
                    <a:pt x="2" y="0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31" name="Freeform 7793"/>
            <p:cNvSpPr>
              <a:spLocks/>
            </p:cNvSpPr>
            <p:nvPr/>
          </p:nvSpPr>
          <p:spPr bwMode="auto">
            <a:xfrm>
              <a:off x="5170" y="2823"/>
              <a:ext cx="1" cy="4"/>
            </a:xfrm>
            <a:custGeom>
              <a:avLst/>
              <a:gdLst>
                <a:gd name="T0" fmla="*/ 1 w 1"/>
                <a:gd name="T1" fmla="*/ 3 h 3"/>
                <a:gd name="T2" fmla="*/ 0 w 1"/>
                <a:gd name="T3" fmla="*/ 0 h 3"/>
                <a:gd name="T4" fmla="*/ 0 w 1"/>
                <a:gd name="T5" fmla="*/ 1 h 3"/>
                <a:gd name="T6" fmla="*/ 1 w 1"/>
                <a:gd name="T7" fmla="*/ 3 h 3"/>
                <a:gd name="T8" fmla="*/ 1 w 1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3">
                  <a:moveTo>
                    <a:pt x="1" y="3"/>
                  </a:moveTo>
                  <a:cubicBezTo>
                    <a:pt x="0" y="2"/>
                    <a:pt x="0" y="1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32" name="Freeform 7794"/>
            <p:cNvSpPr>
              <a:spLocks/>
            </p:cNvSpPr>
            <p:nvPr/>
          </p:nvSpPr>
          <p:spPr bwMode="auto">
            <a:xfrm>
              <a:off x="5171" y="2806"/>
              <a:ext cx="15" cy="17"/>
            </a:xfrm>
            <a:custGeom>
              <a:avLst/>
              <a:gdLst>
                <a:gd name="T0" fmla="*/ 12 w 12"/>
                <a:gd name="T1" fmla="*/ 0 h 14"/>
                <a:gd name="T2" fmla="*/ 12 w 12"/>
                <a:gd name="T3" fmla="*/ 0 h 14"/>
                <a:gd name="T4" fmla="*/ 0 w 12"/>
                <a:gd name="T5" fmla="*/ 12 h 14"/>
                <a:gd name="T6" fmla="*/ 1 w 12"/>
                <a:gd name="T7" fmla="*/ 14 h 14"/>
                <a:gd name="T8" fmla="*/ 12 w 12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4"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7" y="1"/>
                    <a:pt x="3" y="6"/>
                    <a:pt x="0" y="12"/>
                  </a:cubicBezTo>
                  <a:cubicBezTo>
                    <a:pt x="0" y="12"/>
                    <a:pt x="1" y="13"/>
                    <a:pt x="1" y="14"/>
                  </a:cubicBezTo>
                  <a:cubicBezTo>
                    <a:pt x="5" y="5"/>
                    <a:pt x="10" y="1"/>
                    <a:pt x="12" y="0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33" name="Freeform 7795"/>
            <p:cNvSpPr>
              <a:spLocks/>
            </p:cNvSpPr>
            <p:nvPr/>
          </p:nvSpPr>
          <p:spPr bwMode="auto">
            <a:xfrm>
              <a:off x="5114" y="2807"/>
              <a:ext cx="15" cy="6"/>
            </a:xfrm>
            <a:custGeom>
              <a:avLst/>
              <a:gdLst>
                <a:gd name="T0" fmla="*/ 5 w 12"/>
                <a:gd name="T1" fmla="*/ 2 h 5"/>
                <a:gd name="T2" fmla="*/ 9 w 12"/>
                <a:gd name="T3" fmla="*/ 2 h 5"/>
                <a:gd name="T4" fmla="*/ 6 w 12"/>
                <a:gd name="T5" fmla="*/ 3 h 5"/>
                <a:gd name="T6" fmla="*/ 11 w 12"/>
                <a:gd name="T7" fmla="*/ 5 h 5"/>
                <a:gd name="T8" fmla="*/ 12 w 12"/>
                <a:gd name="T9" fmla="*/ 3 h 5"/>
                <a:gd name="T10" fmla="*/ 0 w 12"/>
                <a:gd name="T11" fmla="*/ 2 h 5"/>
                <a:gd name="T12" fmla="*/ 0 w 12"/>
                <a:gd name="T13" fmla="*/ 2 h 5"/>
                <a:gd name="T14" fmla="*/ 5 w 12"/>
                <a:gd name="T15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5">
                  <a:moveTo>
                    <a:pt x="5" y="2"/>
                  </a:moveTo>
                  <a:cubicBezTo>
                    <a:pt x="6" y="1"/>
                    <a:pt x="8" y="1"/>
                    <a:pt x="9" y="2"/>
                  </a:cubicBezTo>
                  <a:cubicBezTo>
                    <a:pt x="9" y="2"/>
                    <a:pt x="8" y="1"/>
                    <a:pt x="6" y="3"/>
                  </a:cubicBezTo>
                  <a:cubicBezTo>
                    <a:pt x="8" y="3"/>
                    <a:pt x="10" y="4"/>
                    <a:pt x="11" y="5"/>
                  </a:cubicBezTo>
                  <a:cubicBezTo>
                    <a:pt x="12" y="4"/>
                    <a:pt x="12" y="3"/>
                    <a:pt x="12" y="3"/>
                  </a:cubicBezTo>
                  <a:cubicBezTo>
                    <a:pt x="7" y="0"/>
                    <a:pt x="2" y="1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" y="2"/>
                    <a:pt x="3" y="2"/>
                    <a:pt x="5" y="2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34" name="Freeform 7796"/>
            <p:cNvSpPr>
              <a:spLocks/>
            </p:cNvSpPr>
            <p:nvPr/>
          </p:nvSpPr>
          <p:spPr bwMode="auto">
            <a:xfrm>
              <a:off x="5150" y="2834"/>
              <a:ext cx="8" cy="10"/>
            </a:xfrm>
            <a:custGeom>
              <a:avLst/>
              <a:gdLst>
                <a:gd name="T0" fmla="*/ 3 w 6"/>
                <a:gd name="T1" fmla="*/ 8 h 8"/>
                <a:gd name="T2" fmla="*/ 6 w 6"/>
                <a:gd name="T3" fmla="*/ 5 h 8"/>
                <a:gd name="T4" fmla="*/ 5 w 6"/>
                <a:gd name="T5" fmla="*/ 0 h 8"/>
                <a:gd name="T6" fmla="*/ 0 w 6"/>
                <a:gd name="T7" fmla="*/ 2 h 8"/>
                <a:gd name="T8" fmla="*/ 1 w 6"/>
                <a:gd name="T9" fmla="*/ 7 h 8"/>
                <a:gd name="T10" fmla="*/ 3 w 6"/>
                <a:gd name="T11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8">
                  <a:moveTo>
                    <a:pt x="3" y="8"/>
                  </a:moveTo>
                  <a:cubicBezTo>
                    <a:pt x="3" y="6"/>
                    <a:pt x="5" y="5"/>
                    <a:pt x="6" y="5"/>
                  </a:cubicBezTo>
                  <a:cubicBezTo>
                    <a:pt x="6" y="3"/>
                    <a:pt x="5" y="2"/>
                    <a:pt x="5" y="0"/>
                  </a:cubicBezTo>
                  <a:cubicBezTo>
                    <a:pt x="3" y="1"/>
                    <a:pt x="2" y="1"/>
                    <a:pt x="0" y="2"/>
                  </a:cubicBezTo>
                  <a:cubicBezTo>
                    <a:pt x="1" y="4"/>
                    <a:pt x="1" y="6"/>
                    <a:pt x="1" y="7"/>
                  </a:cubicBezTo>
                  <a:cubicBezTo>
                    <a:pt x="2" y="7"/>
                    <a:pt x="2" y="7"/>
                    <a:pt x="3" y="8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35" name="Freeform 7797"/>
            <p:cNvSpPr>
              <a:spLocks/>
            </p:cNvSpPr>
            <p:nvPr/>
          </p:nvSpPr>
          <p:spPr bwMode="auto">
            <a:xfrm>
              <a:off x="5150" y="2847"/>
              <a:ext cx="4" cy="5"/>
            </a:xfrm>
            <a:custGeom>
              <a:avLst/>
              <a:gdLst>
                <a:gd name="T0" fmla="*/ 0 w 3"/>
                <a:gd name="T1" fmla="*/ 4 h 4"/>
                <a:gd name="T2" fmla="*/ 3 w 3"/>
                <a:gd name="T3" fmla="*/ 1 h 4"/>
                <a:gd name="T4" fmla="*/ 0 w 3"/>
                <a:gd name="T5" fmla="*/ 0 h 4"/>
                <a:gd name="T6" fmla="*/ 0 w 3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4">
                  <a:moveTo>
                    <a:pt x="0" y="4"/>
                  </a:moveTo>
                  <a:cubicBezTo>
                    <a:pt x="1" y="3"/>
                    <a:pt x="2" y="2"/>
                    <a:pt x="3" y="1"/>
                  </a:cubicBezTo>
                  <a:cubicBezTo>
                    <a:pt x="2" y="0"/>
                    <a:pt x="1" y="0"/>
                    <a:pt x="0" y="0"/>
                  </a:cubicBezTo>
                  <a:cubicBezTo>
                    <a:pt x="0" y="1"/>
                    <a:pt x="0" y="2"/>
                    <a:pt x="0" y="4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36" name="Freeform 7798"/>
            <p:cNvSpPr>
              <a:spLocks/>
            </p:cNvSpPr>
            <p:nvPr/>
          </p:nvSpPr>
          <p:spPr bwMode="auto">
            <a:xfrm>
              <a:off x="5163" y="2834"/>
              <a:ext cx="6" cy="16"/>
            </a:xfrm>
            <a:custGeom>
              <a:avLst/>
              <a:gdLst>
                <a:gd name="T0" fmla="*/ 1 w 5"/>
                <a:gd name="T1" fmla="*/ 12 h 13"/>
                <a:gd name="T2" fmla="*/ 2 w 5"/>
                <a:gd name="T3" fmla="*/ 13 h 13"/>
                <a:gd name="T4" fmla="*/ 5 w 5"/>
                <a:gd name="T5" fmla="*/ 1 h 13"/>
                <a:gd name="T6" fmla="*/ 2 w 5"/>
                <a:gd name="T7" fmla="*/ 0 h 13"/>
                <a:gd name="T8" fmla="*/ 0 w 5"/>
                <a:gd name="T9" fmla="*/ 8 h 13"/>
                <a:gd name="T10" fmla="*/ 1 w 5"/>
                <a:gd name="T11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13">
                  <a:moveTo>
                    <a:pt x="1" y="12"/>
                  </a:moveTo>
                  <a:cubicBezTo>
                    <a:pt x="2" y="12"/>
                    <a:pt x="2" y="12"/>
                    <a:pt x="2" y="13"/>
                  </a:cubicBezTo>
                  <a:cubicBezTo>
                    <a:pt x="3" y="8"/>
                    <a:pt x="4" y="4"/>
                    <a:pt x="5" y="1"/>
                  </a:cubicBezTo>
                  <a:cubicBezTo>
                    <a:pt x="4" y="1"/>
                    <a:pt x="3" y="0"/>
                    <a:pt x="2" y="0"/>
                  </a:cubicBezTo>
                  <a:cubicBezTo>
                    <a:pt x="1" y="3"/>
                    <a:pt x="1" y="6"/>
                    <a:pt x="0" y="8"/>
                  </a:cubicBezTo>
                  <a:cubicBezTo>
                    <a:pt x="0" y="9"/>
                    <a:pt x="1" y="10"/>
                    <a:pt x="1" y="12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37" name="Freeform 7799"/>
            <p:cNvSpPr>
              <a:spLocks/>
            </p:cNvSpPr>
            <p:nvPr/>
          </p:nvSpPr>
          <p:spPr bwMode="auto">
            <a:xfrm>
              <a:off x="5159" y="2850"/>
              <a:ext cx="2" cy="2"/>
            </a:xfrm>
            <a:custGeom>
              <a:avLst/>
              <a:gdLst>
                <a:gd name="T0" fmla="*/ 2 w 2"/>
                <a:gd name="T1" fmla="*/ 1 h 2"/>
                <a:gd name="T2" fmla="*/ 1 w 2"/>
                <a:gd name="T3" fmla="*/ 1 h 2"/>
                <a:gd name="T4" fmla="*/ 0 w 2"/>
                <a:gd name="T5" fmla="*/ 0 h 2"/>
                <a:gd name="T6" fmla="*/ 1 w 2"/>
                <a:gd name="T7" fmla="*/ 2 h 2"/>
                <a:gd name="T8" fmla="*/ 2 w 2"/>
                <a:gd name="T9" fmla="*/ 1 h 2"/>
                <a:gd name="T10" fmla="*/ 2 w 2"/>
                <a:gd name="T11" fmla="*/ 1 h 2"/>
                <a:gd name="T12" fmla="*/ 2 w 2"/>
                <a:gd name="T13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2">
                  <a:moveTo>
                    <a:pt x="2" y="1"/>
                  </a:moveTo>
                  <a:cubicBezTo>
                    <a:pt x="2" y="1"/>
                    <a:pt x="2" y="1"/>
                    <a:pt x="1" y="1"/>
                  </a:cubicBezTo>
                  <a:cubicBezTo>
                    <a:pt x="1" y="1"/>
                    <a:pt x="0" y="0"/>
                    <a:pt x="0" y="0"/>
                  </a:cubicBezTo>
                  <a:cubicBezTo>
                    <a:pt x="0" y="1"/>
                    <a:pt x="1" y="1"/>
                    <a:pt x="1" y="2"/>
                  </a:cubicBezTo>
                  <a:cubicBezTo>
                    <a:pt x="1" y="2"/>
                    <a:pt x="2" y="2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38" name="Freeform 7800"/>
            <p:cNvSpPr>
              <a:spLocks/>
            </p:cNvSpPr>
            <p:nvPr/>
          </p:nvSpPr>
          <p:spPr bwMode="auto">
            <a:xfrm>
              <a:off x="5159" y="2847"/>
              <a:ext cx="1" cy="2"/>
            </a:xfrm>
            <a:custGeom>
              <a:avLst/>
              <a:gdLst>
                <a:gd name="T0" fmla="*/ 1 w 1"/>
                <a:gd name="T1" fmla="*/ 1 h 1"/>
                <a:gd name="T2" fmla="*/ 1 w 1"/>
                <a:gd name="T3" fmla="*/ 0 h 1"/>
                <a:gd name="T4" fmla="*/ 0 w 1"/>
                <a:gd name="T5" fmla="*/ 0 h 1"/>
                <a:gd name="T6" fmla="*/ 1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1" y="1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39" name="Freeform 7801"/>
            <p:cNvSpPr>
              <a:spLocks/>
            </p:cNvSpPr>
            <p:nvPr/>
          </p:nvSpPr>
          <p:spPr bwMode="auto">
            <a:xfrm>
              <a:off x="5105" y="2804"/>
              <a:ext cx="9" cy="6"/>
            </a:xfrm>
            <a:custGeom>
              <a:avLst/>
              <a:gdLst>
                <a:gd name="T0" fmla="*/ 5 w 7"/>
                <a:gd name="T1" fmla="*/ 5 h 5"/>
                <a:gd name="T2" fmla="*/ 7 w 7"/>
                <a:gd name="T3" fmla="*/ 5 h 5"/>
                <a:gd name="T4" fmla="*/ 1 w 7"/>
                <a:gd name="T5" fmla="*/ 0 h 5"/>
                <a:gd name="T6" fmla="*/ 0 w 7"/>
                <a:gd name="T7" fmla="*/ 1 h 5"/>
                <a:gd name="T8" fmla="*/ 5 w 7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5">
                  <a:moveTo>
                    <a:pt x="5" y="5"/>
                  </a:moveTo>
                  <a:cubicBezTo>
                    <a:pt x="5" y="5"/>
                    <a:pt x="6" y="5"/>
                    <a:pt x="7" y="5"/>
                  </a:cubicBezTo>
                  <a:cubicBezTo>
                    <a:pt x="5" y="2"/>
                    <a:pt x="3" y="1"/>
                    <a:pt x="1" y="0"/>
                  </a:cubicBezTo>
                  <a:cubicBezTo>
                    <a:pt x="1" y="0"/>
                    <a:pt x="1" y="0"/>
                    <a:pt x="0" y="1"/>
                  </a:cubicBezTo>
                  <a:cubicBezTo>
                    <a:pt x="2" y="1"/>
                    <a:pt x="4" y="3"/>
                    <a:pt x="5" y="5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40" name="Freeform 7802"/>
            <p:cNvSpPr>
              <a:spLocks/>
            </p:cNvSpPr>
            <p:nvPr/>
          </p:nvSpPr>
          <p:spPr bwMode="auto">
            <a:xfrm>
              <a:off x="5177" y="2839"/>
              <a:ext cx="0" cy="1"/>
            </a:xfrm>
            <a:custGeom>
              <a:avLst/>
              <a:gdLst>
                <a:gd name="T0" fmla="*/ 0 h 1"/>
                <a:gd name="T1" fmla="*/ 0 h 1"/>
                <a:gd name="T2" fmla="*/ 1 h 1"/>
                <a:gd name="T3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0" y="1"/>
                    <a:pt x="0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41" name="Freeform 7803"/>
            <p:cNvSpPr>
              <a:spLocks/>
            </p:cNvSpPr>
            <p:nvPr/>
          </p:nvSpPr>
          <p:spPr bwMode="auto">
            <a:xfrm>
              <a:off x="5142" y="2836"/>
              <a:ext cx="1" cy="7"/>
            </a:xfrm>
            <a:custGeom>
              <a:avLst/>
              <a:gdLst>
                <a:gd name="T0" fmla="*/ 0 w 1"/>
                <a:gd name="T1" fmla="*/ 5 h 5"/>
                <a:gd name="T2" fmla="*/ 1 w 1"/>
                <a:gd name="T3" fmla="*/ 5 h 5"/>
                <a:gd name="T4" fmla="*/ 1 w 1"/>
                <a:gd name="T5" fmla="*/ 5 h 5"/>
                <a:gd name="T6" fmla="*/ 1 w 1"/>
                <a:gd name="T7" fmla="*/ 0 h 5"/>
                <a:gd name="T8" fmla="*/ 0 w 1"/>
                <a:gd name="T9" fmla="*/ 1 h 5"/>
                <a:gd name="T10" fmla="*/ 0 w 1"/>
                <a:gd name="T1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" h="5">
                  <a:moveTo>
                    <a:pt x="0" y="5"/>
                  </a:moveTo>
                  <a:cubicBezTo>
                    <a:pt x="0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4"/>
                    <a:pt x="1" y="2"/>
                    <a:pt x="1" y="0"/>
                  </a:cubicBezTo>
                  <a:cubicBezTo>
                    <a:pt x="1" y="0"/>
                    <a:pt x="0" y="1"/>
                    <a:pt x="0" y="1"/>
                  </a:cubicBezTo>
                  <a:cubicBezTo>
                    <a:pt x="0" y="3"/>
                    <a:pt x="0" y="4"/>
                    <a:pt x="0" y="5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42" name="Freeform 7804"/>
            <p:cNvSpPr>
              <a:spLocks/>
            </p:cNvSpPr>
            <p:nvPr/>
          </p:nvSpPr>
          <p:spPr bwMode="auto">
            <a:xfrm>
              <a:off x="5110" y="2843"/>
              <a:ext cx="1" cy="1"/>
            </a:xfrm>
            <a:custGeom>
              <a:avLst/>
              <a:gdLst>
                <a:gd name="T0" fmla="*/ 1 w 1"/>
                <a:gd name="T1" fmla="*/ 1 h 1"/>
                <a:gd name="T2" fmla="*/ 0 w 1"/>
                <a:gd name="T3" fmla="*/ 0 h 1"/>
                <a:gd name="T4" fmla="*/ 0 w 1"/>
                <a:gd name="T5" fmla="*/ 1 h 1"/>
                <a:gd name="T6" fmla="*/ 1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1" y="1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43" name="Freeform 7805"/>
            <p:cNvSpPr>
              <a:spLocks/>
            </p:cNvSpPr>
            <p:nvPr/>
          </p:nvSpPr>
          <p:spPr bwMode="auto">
            <a:xfrm>
              <a:off x="5114" y="2850"/>
              <a:ext cx="5" cy="5"/>
            </a:xfrm>
            <a:custGeom>
              <a:avLst/>
              <a:gdLst>
                <a:gd name="T0" fmla="*/ 2 w 4"/>
                <a:gd name="T1" fmla="*/ 0 h 4"/>
                <a:gd name="T2" fmla="*/ 0 w 4"/>
                <a:gd name="T3" fmla="*/ 3 h 4"/>
                <a:gd name="T4" fmla="*/ 4 w 4"/>
                <a:gd name="T5" fmla="*/ 4 h 4"/>
                <a:gd name="T6" fmla="*/ 3 w 4"/>
                <a:gd name="T7" fmla="*/ 2 h 4"/>
                <a:gd name="T8" fmla="*/ 2 w 4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2" y="0"/>
                  </a:moveTo>
                  <a:cubicBezTo>
                    <a:pt x="1" y="1"/>
                    <a:pt x="0" y="2"/>
                    <a:pt x="0" y="3"/>
                  </a:cubicBezTo>
                  <a:cubicBezTo>
                    <a:pt x="1" y="3"/>
                    <a:pt x="2" y="3"/>
                    <a:pt x="4" y="4"/>
                  </a:cubicBezTo>
                  <a:cubicBezTo>
                    <a:pt x="3" y="3"/>
                    <a:pt x="3" y="3"/>
                    <a:pt x="3" y="2"/>
                  </a:cubicBezTo>
                  <a:cubicBezTo>
                    <a:pt x="3" y="1"/>
                    <a:pt x="2" y="1"/>
                    <a:pt x="2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44" name="Freeform 7806"/>
            <p:cNvSpPr>
              <a:spLocks/>
            </p:cNvSpPr>
            <p:nvPr/>
          </p:nvSpPr>
          <p:spPr bwMode="auto">
            <a:xfrm>
              <a:off x="5119" y="2854"/>
              <a:ext cx="0" cy="1"/>
            </a:xfrm>
            <a:custGeom>
              <a:avLst/>
              <a:gdLst>
                <a:gd name="T0" fmla="*/ 1 h 1"/>
                <a:gd name="T1" fmla="*/ 1 h 1"/>
                <a:gd name="T2" fmla="*/ 0 h 1"/>
                <a:gd name="T3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45" name="Freeform 7807"/>
            <p:cNvSpPr>
              <a:spLocks/>
            </p:cNvSpPr>
            <p:nvPr/>
          </p:nvSpPr>
          <p:spPr bwMode="auto">
            <a:xfrm>
              <a:off x="5110" y="2845"/>
              <a:ext cx="5" cy="9"/>
            </a:xfrm>
            <a:custGeom>
              <a:avLst/>
              <a:gdLst>
                <a:gd name="T0" fmla="*/ 2 w 4"/>
                <a:gd name="T1" fmla="*/ 0 h 7"/>
                <a:gd name="T2" fmla="*/ 0 w 4"/>
                <a:gd name="T3" fmla="*/ 1 h 7"/>
                <a:gd name="T4" fmla="*/ 0 w 4"/>
                <a:gd name="T5" fmla="*/ 7 h 7"/>
                <a:gd name="T6" fmla="*/ 2 w 4"/>
                <a:gd name="T7" fmla="*/ 7 h 7"/>
                <a:gd name="T8" fmla="*/ 4 w 4"/>
                <a:gd name="T9" fmla="*/ 3 h 7"/>
                <a:gd name="T10" fmla="*/ 2 w 4"/>
                <a:gd name="T11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7">
                  <a:moveTo>
                    <a:pt x="2" y="0"/>
                  </a:moveTo>
                  <a:cubicBezTo>
                    <a:pt x="1" y="0"/>
                    <a:pt x="1" y="0"/>
                    <a:pt x="0" y="1"/>
                  </a:cubicBezTo>
                  <a:cubicBezTo>
                    <a:pt x="0" y="3"/>
                    <a:pt x="0" y="5"/>
                    <a:pt x="0" y="7"/>
                  </a:cubicBezTo>
                  <a:cubicBezTo>
                    <a:pt x="1" y="7"/>
                    <a:pt x="2" y="7"/>
                    <a:pt x="2" y="7"/>
                  </a:cubicBezTo>
                  <a:cubicBezTo>
                    <a:pt x="3" y="5"/>
                    <a:pt x="3" y="4"/>
                    <a:pt x="4" y="3"/>
                  </a:cubicBezTo>
                  <a:cubicBezTo>
                    <a:pt x="3" y="2"/>
                    <a:pt x="3" y="1"/>
                    <a:pt x="2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46" name="Freeform 7808"/>
            <p:cNvSpPr>
              <a:spLocks/>
            </p:cNvSpPr>
            <p:nvPr/>
          </p:nvSpPr>
          <p:spPr bwMode="auto">
            <a:xfrm>
              <a:off x="5107" y="2857"/>
              <a:ext cx="22" cy="17"/>
            </a:xfrm>
            <a:custGeom>
              <a:avLst/>
              <a:gdLst>
                <a:gd name="T0" fmla="*/ 15 w 18"/>
                <a:gd name="T1" fmla="*/ 7 h 14"/>
                <a:gd name="T2" fmla="*/ 15 w 18"/>
                <a:gd name="T3" fmla="*/ 7 h 14"/>
                <a:gd name="T4" fmla="*/ 13 w 18"/>
                <a:gd name="T5" fmla="*/ 3 h 14"/>
                <a:gd name="T6" fmla="*/ 7 w 18"/>
                <a:gd name="T7" fmla="*/ 6 h 14"/>
                <a:gd name="T8" fmla="*/ 12 w 18"/>
                <a:gd name="T9" fmla="*/ 2 h 14"/>
                <a:gd name="T10" fmla="*/ 12 w 18"/>
                <a:gd name="T11" fmla="*/ 0 h 14"/>
                <a:gd name="T12" fmla="*/ 10 w 18"/>
                <a:gd name="T13" fmla="*/ 0 h 14"/>
                <a:gd name="T14" fmla="*/ 10 w 18"/>
                <a:gd name="T15" fmla="*/ 2 h 14"/>
                <a:gd name="T16" fmla="*/ 10 w 18"/>
                <a:gd name="T17" fmla="*/ 0 h 14"/>
                <a:gd name="T18" fmla="*/ 0 w 18"/>
                <a:gd name="T19" fmla="*/ 4 h 14"/>
                <a:gd name="T20" fmla="*/ 0 w 18"/>
                <a:gd name="T21" fmla="*/ 14 h 14"/>
                <a:gd name="T22" fmla="*/ 18 w 18"/>
                <a:gd name="T23" fmla="*/ 14 h 14"/>
                <a:gd name="T24" fmla="*/ 18 w 18"/>
                <a:gd name="T25" fmla="*/ 14 h 14"/>
                <a:gd name="T26" fmla="*/ 15 w 18"/>
                <a:gd name="T27" fmla="*/ 7 h 14"/>
                <a:gd name="T28" fmla="*/ 15 w 18"/>
                <a:gd name="T29" fmla="*/ 7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" h="14">
                  <a:moveTo>
                    <a:pt x="15" y="7"/>
                  </a:moveTo>
                  <a:cubicBezTo>
                    <a:pt x="15" y="7"/>
                    <a:pt x="15" y="7"/>
                    <a:pt x="15" y="7"/>
                  </a:cubicBezTo>
                  <a:cubicBezTo>
                    <a:pt x="14" y="5"/>
                    <a:pt x="14" y="4"/>
                    <a:pt x="13" y="3"/>
                  </a:cubicBezTo>
                  <a:cubicBezTo>
                    <a:pt x="11" y="3"/>
                    <a:pt x="9" y="4"/>
                    <a:pt x="7" y="6"/>
                  </a:cubicBezTo>
                  <a:cubicBezTo>
                    <a:pt x="7" y="6"/>
                    <a:pt x="9" y="3"/>
                    <a:pt x="12" y="2"/>
                  </a:cubicBezTo>
                  <a:cubicBezTo>
                    <a:pt x="12" y="1"/>
                    <a:pt x="12" y="1"/>
                    <a:pt x="12" y="0"/>
                  </a:cubicBezTo>
                  <a:cubicBezTo>
                    <a:pt x="11" y="0"/>
                    <a:pt x="11" y="0"/>
                    <a:pt x="10" y="0"/>
                  </a:cubicBezTo>
                  <a:cubicBezTo>
                    <a:pt x="10" y="1"/>
                    <a:pt x="10" y="2"/>
                    <a:pt x="10" y="2"/>
                  </a:cubicBezTo>
                  <a:cubicBezTo>
                    <a:pt x="10" y="2"/>
                    <a:pt x="10" y="1"/>
                    <a:pt x="10" y="0"/>
                  </a:cubicBezTo>
                  <a:cubicBezTo>
                    <a:pt x="6" y="0"/>
                    <a:pt x="3" y="1"/>
                    <a:pt x="0" y="4"/>
                  </a:cubicBezTo>
                  <a:cubicBezTo>
                    <a:pt x="0" y="7"/>
                    <a:pt x="0" y="10"/>
                    <a:pt x="0" y="14"/>
                  </a:cubicBezTo>
                  <a:cubicBezTo>
                    <a:pt x="18" y="14"/>
                    <a:pt x="18" y="14"/>
                    <a:pt x="18" y="14"/>
                  </a:cubicBezTo>
                  <a:cubicBezTo>
                    <a:pt x="18" y="14"/>
                    <a:pt x="18" y="14"/>
                    <a:pt x="18" y="14"/>
                  </a:cubicBezTo>
                  <a:cubicBezTo>
                    <a:pt x="18" y="13"/>
                    <a:pt x="17" y="10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47" name="Freeform 7809"/>
            <p:cNvSpPr>
              <a:spLocks/>
            </p:cNvSpPr>
            <p:nvPr/>
          </p:nvSpPr>
          <p:spPr bwMode="auto">
            <a:xfrm>
              <a:off x="5098" y="2851"/>
              <a:ext cx="0" cy="1"/>
            </a:xfrm>
            <a:custGeom>
              <a:avLst/>
              <a:gdLst>
                <a:gd name="T0" fmla="*/ 0 h 1"/>
                <a:gd name="T1" fmla="*/ 1 h 1"/>
                <a:gd name="T2" fmla="*/ 1 h 1"/>
                <a:gd name="T3" fmla="*/ 1 h 1"/>
                <a:gd name="T4" fmla="*/ 0 h 1"/>
                <a:gd name="T5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48" name="Freeform 7810"/>
            <p:cNvSpPr>
              <a:spLocks/>
            </p:cNvSpPr>
            <p:nvPr/>
          </p:nvSpPr>
          <p:spPr bwMode="auto">
            <a:xfrm>
              <a:off x="5169" y="2835"/>
              <a:ext cx="1" cy="0"/>
            </a:xfrm>
            <a:custGeom>
              <a:avLst/>
              <a:gdLst>
                <a:gd name="T0" fmla="*/ 1 w 1"/>
                <a:gd name="T1" fmla="*/ 0 w 1"/>
                <a:gd name="T2" fmla="*/ 0 w 1"/>
                <a:gd name="T3" fmla="*/ 1 w 1"/>
                <a:gd name="T4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49" name="Freeform 7811"/>
            <p:cNvSpPr>
              <a:spLocks/>
            </p:cNvSpPr>
            <p:nvPr/>
          </p:nvSpPr>
          <p:spPr bwMode="auto">
            <a:xfrm>
              <a:off x="5148" y="2833"/>
              <a:ext cx="2" cy="5"/>
            </a:xfrm>
            <a:custGeom>
              <a:avLst/>
              <a:gdLst>
                <a:gd name="T0" fmla="*/ 2 w 2"/>
                <a:gd name="T1" fmla="*/ 3 h 4"/>
                <a:gd name="T2" fmla="*/ 2 w 2"/>
                <a:gd name="T3" fmla="*/ 0 h 4"/>
                <a:gd name="T4" fmla="*/ 0 w 2"/>
                <a:gd name="T5" fmla="*/ 1 h 4"/>
                <a:gd name="T6" fmla="*/ 2 w 2"/>
                <a:gd name="T7" fmla="*/ 4 h 4"/>
                <a:gd name="T8" fmla="*/ 2 w 2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2" y="3"/>
                  </a:moveTo>
                  <a:cubicBezTo>
                    <a:pt x="2" y="2"/>
                    <a:pt x="2" y="1"/>
                    <a:pt x="2" y="0"/>
                  </a:cubicBezTo>
                  <a:cubicBezTo>
                    <a:pt x="1" y="1"/>
                    <a:pt x="1" y="1"/>
                    <a:pt x="0" y="1"/>
                  </a:cubicBezTo>
                  <a:cubicBezTo>
                    <a:pt x="1" y="2"/>
                    <a:pt x="1" y="3"/>
                    <a:pt x="2" y="4"/>
                  </a:cubicBezTo>
                  <a:cubicBezTo>
                    <a:pt x="2" y="4"/>
                    <a:pt x="2" y="3"/>
                    <a:pt x="2" y="3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50" name="Freeform 7812"/>
            <p:cNvSpPr>
              <a:spLocks/>
            </p:cNvSpPr>
            <p:nvPr/>
          </p:nvSpPr>
          <p:spPr bwMode="auto">
            <a:xfrm>
              <a:off x="5115" y="2815"/>
              <a:ext cx="7" cy="17"/>
            </a:xfrm>
            <a:custGeom>
              <a:avLst/>
              <a:gdLst>
                <a:gd name="T0" fmla="*/ 2 w 6"/>
                <a:gd name="T1" fmla="*/ 13 h 14"/>
                <a:gd name="T2" fmla="*/ 6 w 6"/>
                <a:gd name="T3" fmla="*/ 14 h 14"/>
                <a:gd name="T4" fmla="*/ 2 w 6"/>
                <a:gd name="T5" fmla="*/ 0 h 14"/>
                <a:gd name="T6" fmla="*/ 0 w 6"/>
                <a:gd name="T7" fmla="*/ 3 h 14"/>
                <a:gd name="T8" fmla="*/ 2 w 6"/>
                <a:gd name="T9" fmla="*/ 1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4">
                  <a:moveTo>
                    <a:pt x="2" y="13"/>
                  </a:moveTo>
                  <a:cubicBezTo>
                    <a:pt x="4" y="13"/>
                    <a:pt x="5" y="13"/>
                    <a:pt x="6" y="14"/>
                  </a:cubicBezTo>
                  <a:cubicBezTo>
                    <a:pt x="5" y="9"/>
                    <a:pt x="4" y="4"/>
                    <a:pt x="2" y="0"/>
                  </a:cubicBezTo>
                  <a:cubicBezTo>
                    <a:pt x="1" y="1"/>
                    <a:pt x="1" y="2"/>
                    <a:pt x="0" y="3"/>
                  </a:cubicBezTo>
                  <a:cubicBezTo>
                    <a:pt x="1" y="6"/>
                    <a:pt x="2" y="9"/>
                    <a:pt x="2" y="13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51" name="Freeform 7813"/>
            <p:cNvSpPr>
              <a:spLocks/>
            </p:cNvSpPr>
            <p:nvPr/>
          </p:nvSpPr>
          <p:spPr bwMode="auto">
            <a:xfrm>
              <a:off x="5155" y="2833"/>
              <a:ext cx="11" cy="1"/>
            </a:xfrm>
            <a:custGeom>
              <a:avLst/>
              <a:gdLst>
                <a:gd name="T0" fmla="*/ 8 w 9"/>
                <a:gd name="T1" fmla="*/ 1 h 1"/>
                <a:gd name="T2" fmla="*/ 9 w 9"/>
                <a:gd name="T3" fmla="*/ 1 h 1"/>
                <a:gd name="T4" fmla="*/ 0 w 9"/>
                <a:gd name="T5" fmla="*/ 0 h 1"/>
                <a:gd name="T6" fmla="*/ 1 w 9"/>
                <a:gd name="T7" fmla="*/ 1 h 1"/>
                <a:gd name="T8" fmla="*/ 8 w 9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">
                  <a:moveTo>
                    <a:pt x="8" y="1"/>
                  </a:moveTo>
                  <a:cubicBezTo>
                    <a:pt x="8" y="1"/>
                    <a:pt x="8" y="1"/>
                    <a:pt x="9" y="1"/>
                  </a:cubicBezTo>
                  <a:cubicBezTo>
                    <a:pt x="6" y="0"/>
                    <a:pt x="3" y="0"/>
                    <a:pt x="0" y="0"/>
                  </a:cubicBezTo>
                  <a:cubicBezTo>
                    <a:pt x="0" y="0"/>
                    <a:pt x="1" y="1"/>
                    <a:pt x="1" y="1"/>
                  </a:cubicBezTo>
                  <a:cubicBezTo>
                    <a:pt x="3" y="1"/>
                    <a:pt x="6" y="1"/>
                    <a:pt x="8" y="1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52" name="Freeform 7814"/>
            <p:cNvSpPr>
              <a:spLocks/>
            </p:cNvSpPr>
            <p:nvPr/>
          </p:nvSpPr>
          <p:spPr bwMode="auto">
            <a:xfrm>
              <a:off x="5098" y="2819"/>
              <a:ext cx="12" cy="11"/>
            </a:xfrm>
            <a:custGeom>
              <a:avLst/>
              <a:gdLst>
                <a:gd name="T0" fmla="*/ 10 w 10"/>
                <a:gd name="T1" fmla="*/ 5 h 9"/>
                <a:gd name="T2" fmla="*/ 8 w 10"/>
                <a:gd name="T3" fmla="*/ 9 h 9"/>
                <a:gd name="T4" fmla="*/ 0 w 10"/>
                <a:gd name="T5" fmla="*/ 1 h 9"/>
                <a:gd name="T6" fmla="*/ 0 w 10"/>
                <a:gd name="T7" fmla="*/ 1 h 9"/>
                <a:gd name="T8" fmla="*/ 10 w 10"/>
                <a:gd name="T9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9">
                  <a:moveTo>
                    <a:pt x="10" y="5"/>
                  </a:moveTo>
                  <a:cubicBezTo>
                    <a:pt x="9" y="7"/>
                    <a:pt x="9" y="8"/>
                    <a:pt x="8" y="9"/>
                  </a:cubicBezTo>
                  <a:cubicBezTo>
                    <a:pt x="6" y="3"/>
                    <a:pt x="2" y="2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4" y="0"/>
                    <a:pt x="7" y="2"/>
                    <a:pt x="10" y="5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53" name="Freeform 7815"/>
            <p:cNvSpPr>
              <a:spLocks/>
            </p:cNvSpPr>
            <p:nvPr/>
          </p:nvSpPr>
          <p:spPr bwMode="auto">
            <a:xfrm>
              <a:off x="5142" y="2844"/>
              <a:ext cx="1" cy="1"/>
            </a:xfrm>
            <a:custGeom>
              <a:avLst/>
              <a:gdLst>
                <a:gd name="T0" fmla="*/ 0 w 1"/>
                <a:gd name="T1" fmla="*/ 1 h 1"/>
                <a:gd name="T2" fmla="*/ 1 w 1"/>
                <a:gd name="T3" fmla="*/ 0 h 1"/>
                <a:gd name="T4" fmla="*/ 0 w 1"/>
                <a:gd name="T5" fmla="*/ 0 h 1"/>
                <a:gd name="T6" fmla="*/ 0 w 1"/>
                <a:gd name="T7" fmla="*/ 1 h 1"/>
                <a:gd name="T8" fmla="*/ 0 w 1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1"/>
                    <a:pt x="0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54" name="Freeform 7816"/>
            <p:cNvSpPr>
              <a:spLocks/>
            </p:cNvSpPr>
            <p:nvPr/>
          </p:nvSpPr>
          <p:spPr bwMode="auto">
            <a:xfrm>
              <a:off x="5119" y="2845"/>
              <a:ext cx="2" cy="4"/>
            </a:xfrm>
            <a:custGeom>
              <a:avLst/>
              <a:gdLst>
                <a:gd name="T0" fmla="*/ 0 w 2"/>
                <a:gd name="T1" fmla="*/ 1 h 3"/>
                <a:gd name="T2" fmla="*/ 2 w 2"/>
                <a:gd name="T3" fmla="*/ 3 h 3"/>
                <a:gd name="T4" fmla="*/ 2 w 2"/>
                <a:gd name="T5" fmla="*/ 0 h 3"/>
                <a:gd name="T6" fmla="*/ 2 w 2"/>
                <a:gd name="T7" fmla="*/ 0 h 3"/>
                <a:gd name="T8" fmla="*/ 0 w 2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3">
                  <a:moveTo>
                    <a:pt x="0" y="1"/>
                  </a:moveTo>
                  <a:cubicBezTo>
                    <a:pt x="1" y="2"/>
                    <a:pt x="1" y="2"/>
                    <a:pt x="2" y="3"/>
                  </a:cubicBezTo>
                  <a:cubicBezTo>
                    <a:pt x="2" y="3"/>
                    <a:pt x="2" y="1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55" name="Freeform 7817"/>
            <p:cNvSpPr>
              <a:spLocks/>
            </p:cNvSpPr>
            <p:nvPr/>
          </p:nvSpPr>
          <p:spPr bwMode="auto">
            <a:xfrm>
              <a:off x="5110" y="2833"/>
              <a:ext cx="6" cy="11"/>
            </a:xfrm>
            <a:custGeom>
              <a:avLst/>
              <a:gdLst>
                <a:gd name="T0" fmla="*/ 5 w 5"/>
                <a:gd name="T1" fmla="*/ 9 h 9"/>
                <a:gd name="T2" fmla="*/ 5 w 5"/>
                <a:gd name="T3" fmla="*/ 9 h 9"/>
                <a:gd name="T4" fmla="*/ 3 w 5"/>
                <a:gd name="T5" fmla="*/ 0 h 9"/>
                <a:gd name="T6" fmla="*/ 0 w 5"/>
                <a:gd name="T7" fmla="*/ 0 h 9"/>
                <a:gd name="T8" fmla="*/ 0 w 5"/>
                <a:gd name="T9" fmla="*/ 4 h 9"/>
                <a:gd name="T10" fmla="*/ 0 w 5"/>
                <a:gd name="T11" fmla="*/ 4 h 9"/>
                <a:gd name="T12" fmla="*/ 5 w 5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9">
                  <a:moveTo>
                    <a:pt x="5" y="9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4" y="6"/>
                    <a:pt x="4" y="2"/>
                    <a:pt x="3" y="0"/>
                  </a:cubicBezTo>
                  <a:cubicBezTo>
                    <a:pt x="2" y="0"/>
                    <a:pt x="1" y="0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6"/>
                    <a:pt x="3" y="7"/>
                    <a:pt x="5" y="9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56" name="Freeform 7818"/>
            <p:cNvSpPr>
              <a:spLocks/>
            </p:cNvSpPr>
            <p:nvPr/>
          </p:nvSpPr>
          <p:spPr bwMode="auto">
            <a:xfrm>
              <a:off x="5129" y="2852"/>
              <a:ext cx="1" cy="5"/>
            </a:xfrm>
            <a:custGeom>
              <a:avLst/>
              <a:gdLst>
                <a:gd name="T0" fmla="*/ 0 w 1"/>
                <a:gd name="T1" fmla="*/ 1 h 4"/>
                <a:gd name="T2" fmla="*/ 1 w 1"/>
                <a:gd name="T3" fmla="*/ 4 h 4"/>
                <a:gd name="T4" fmla="*/ 1 w 1"/>
                <a:gd name="T5" fmla="*/ 3 h 4"/>
                <a:gd name="T6" fmla="*/ 1 w 1"/>
                <a:gd name="T7" fmla="*/ 0 h 4"/>
                <a:gd name="T8" fmla="*/ 0 w 1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4">
                  <a:moveTo>
                    <a:pt x="0" y="1"/>
                  </a:moveTo>
                  <a:cubicBezTo>
                    <a:pt x="0" y="2"/>
                    <a:pt x="1" y="3"/>
                    <a:pt x="1" y="4"/>
                  </a:cubicBezTo>
                  <a:cubicBezTo>
                    <a:pt x="1" y="4"/>
                    <a:pt x="1" y="3"/>
                    <a:pt x="1" y="3"/>
                  </a:cubicBezTo>
                  <a:cubicBezTo>
                    <a:pt x="1" y="2"/>
                    <a:pt x="1" y="1"/>
                    <a:pt x="1" y="0"/>
                  </a:cubicBezTo>
                  <a:cubicBezTo>
                    <a:pt x="1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57" name="Freeform 7819"/>
            <p:cNvSpPr>
              <a:spLocks/>
            </p:cNvSpPr>
            <p:nvPr/>
          </p:nvSpPr>
          <p:spPr bwMode="auto">
            <a:xfrm>
              <a:off x="5099" y="2804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58" name="Freeform 7820"/>
            <p:cNvSpPr>
              <a:spLocks/>
            </p:cNvSpPr>
            <p:nvPr/>
          </p:nvSpPr>
          <p:spPr bwMode="auto">
            <a:xfrm>
              <a:off x="5111" y="2810"/>
              <a:ext cx="5" cy="6"/>
            </a:xfrm>
            <a:custGeom>
              <a:avLst/>
              <a:gdLst>
                <a:gd name="T0" fmla="*/ 4 w 4"/>
                <a:gd name="T1" fmla="*/ 3 h 5"/>
                <a:gd name="T2" fmla="*/ 2 w 4"/>
                <a:gd name="T3" fmla="*/ 0 h 5"/>
                <a:gd name="T4" fmla="*/ 0 w 4"/>
                <a:gd name="T5" fmla="*/ 0 h 5"/>
                <a:gd name="T6" fmla="*/ 3 w 4"/>
                <a:gd name="T7" fmla="*/ 5 h 5"/>
                <a:gd name="T8" fmla="*/ 4 w 4"/>
                <a:gd name="T9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5">
                  <a:moveTo>
                    <a:pt x="4" y="3"/>
                  </a:moveTo>
                  <a:cubicBezTo>
                    <a:pt x="3" y="2"/>
                    <a:pt x="3" y="1"/>
                    <a:pt x="2" y="0"/>
                  </a:cubicBezTo>
                  <a:cubicBezTo>
                    <a:pt x="2" y="0"/>
                    <a:pt x="1" y="0"/>
                    <a:pt x="0" y="0"/>
                  </a:cubicBezTo>
                  <a:cubicBezTo>
                    <a:pt x="1" y="2"/>
                    <a:pt x="2" y="3"/>
                    <a:pt x="3" y="5"/>
                  </a:cubicBezTo>
                  <a:cubicBezTo>
                    <a:pt x="3" y="4"/>
                    <a:pt x="4" y="4"/>
                    <a:pt x="4" y="3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59" name="Freeform 7821"/>
            <p:cNvSpPr>
              <a:spLocks/>
            </p:cNvSpPr>
            <p:nvPr/>
          </p:nvSpPr>
          <p:spPr bwMode="auto">
            <a:xfrm>
              <a:off x="5099" y="2802"/>
              <a:ext cx="5" cy="2"/>
            </a:xfrm>
            <a:custGeom>
              <a:avLst/>
              <a:gdLst>
                <a:gd name="T0" fmla="*/ 0 w 4"/>
                <a:gd name="T1" fmla="*/ 1 h 1"/>
                <a:gd name="T2" fmla="*/ 3 w 4"/>
                <a:gd name="T3" fmla="*/ 1 h 1"/>
                <a:gd name="T4" fmla="*/ 4 w 4"/>
                <a:gd name="T5" fmla="*/ 0 h 1"/>
                <a:gd name="T6" fmla="*/ 0 w 4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1">
                  <a:moveTo>
                    <a:pt x="0" y="1"/>
                  </a:moveTo>
                  <a:cubicBezTo>
                    <a:pt x="0" y="1"/>
                    <a:pt x="2" y="1"/>
                    <a:pt x="3" y="1"/>
                  </a:cubicBezTo>
                  <a:cubicBezTo>
                    <a:pt x="3" y="1"/>
                    <a:pt x="3" y="1"/>
                    <a:pt x="4" y="0"/>
                  </a:cubicBezTo>
                  <a:cubicBezTo>
                    <a:pt x="2" y="0"/>
                    <a:pt x="1" y="1"/>
                    <a:pt x="0" y="1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60" name="Freeform 7822"/>
            <p:cNvSpPr>
              <a:spLocks/>
            </p:cNvSpPr>
            <p:nvPr/>
          </p:nvSpPr>
          <p:spPr bwMode="auto">
            <a:xfrm>
              <a:off x="5119" y="2832"/>
              <a:ext cx="5" cy="12"/>
            </a:xfrm>
            <a:custGeom>
              <a:avLst/>
              <a:gdLst>
                <a:gd name="T0" fmla="*/ 3 w 4"/>
                <a:gd name="T1" fmla="*/ 8 h 10"/>
                <a:gd name="T2" fmla="*/ 4 w 4"/>
                <a:gd name="T3" fmla="*/ 3 h 10"/>
                <a:gd name="T4" fmla="*/ 3 w 4"/>
                <a:gd name="T5" fmla="*/ 1 h 10"/>
                <a:gd name="T6" fmla="*/ 0 w 4"/>
                <a:gd name="T7" fmla="*/ 0 h 10"/>
                <a:gd name="T8" fmla="*/ 0 w 4"/>
                <a:gd name="T9" fmla="*/ 10 h 10"/>
                <a:gd name="T10" fmla="*/ 3 w 4"/>
                <a:gd name="T11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10">
                  <a:moveTo>
                    <a:pt x="3" y="8"/>
                  </a:moveTo>
                  <a:cubicBezTo>
                    <a:pt x="3" y="7"/>
                    <a:pt x="3" y="5"/>
                    <a:pt x="4" y="3"/>
                  </a:cubicBezTo>
                  <a:cubicBezTo>
                    <a:pt x="4" y="2"/>
                    <a:pt x="4" y="2"/>
                    <a:pt x="3" y="1"/>
                  </a:cubicBezTo>
                  <a:cubicBezTo>
                    <a:pt x="2" y="1"/>
                    <a:pt x="1" y="0"/>
                    <a:pt x="0" y="0"/>
                  </a:cubicBezTo>
                  <a:cubicBezTo>
                    <a:pt x="0" y="3"/>
                    <a:pt x="0" y="6"/>
                    <a:pt x="0" y="10"/>
                  </a:cubicBezTo>
                  <a:cubicBezTo>
                    <a:pt x="1" y="9"/>
                    <a:pt x="2" y="9"/>
                    <a:pt x="3" y="8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61" name="Freeform 7823"/>
            <p:cNvSpPr>
              <a:spLocks/>
            </p:cNvSpPr>
            <p:nvPr/>
          </p:nvSpPr>
          <p:spPr bwMode="auto">
            <a:xfrm>
              <a:off x="5110" y="2829"/>
              <a:ext cx="3" cy="4"/>
            </a:xfrm>
            <a:custGeom>
              <a:avLst/>
              <a:gdLst>
                <a:gd name="T0" fmla="*/ 1 w 2"/>
                <a:gd name="T1" fmla="*/ 0 h 3"/>
                <a:gd name="T2" fmla="*/ 0 w 2"/>
                <a:gd name="T3" fmla="*/ 3 h 3"/>
                <a:gd name="T4" fmla="*/ 2 w 2"/>
                <a:gd name="T5" fmla="*/ 2 h 3"/>
                <a:gd name="T6" fmla="*/ 1 w 2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">
                  <a:moveTo>
                    <a:pt x="1" y="0"/>
                  </a:moveTo>
                  <a:cubicBezTo>
                    <a:pt x="1" y="1"/>
                    <a:pt x="1" y="2"/>
                    <a:pt x="0" y="3"/>
                  </a:cubicBezTo>
                  <a:cubicBezTo>
                    <a:pt x="1" y="3"/>
                    <a:pt x="2" y="2"/>
                    <a:pt x="2" y="2"/>
                  </a:cubicBezTo>
                  <a:cubicBezTo>
                    <a:pt x="2" y="1"/>
                    <a:pt x="2" y="0"/>
                    <a:pt x="1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62" name="Freeform 7824"/>
            <p:cNvSpPr>
              <a:spLocks/>
            </p:cNvSpPr>
            <p:nvPr/>
          </p:nvSpPr>
          <p:spPr bwMode="auto">
            <a:xfrm>
              <a:off x="5111" y="2810"/>
              <a:ext cx="3" cy="0"/>
            </a:xfrm>
            <a:custGeom>
              <a:avLst/>
              <a:gdLst>
                <a:gd name="T0" fmla="*/ 0 w 2"/>
                <a:gd name="T1" fmla="*/ 2 w 2"/>
                <a:gd name="T2" fmla="*/ 2 w 2"/>
                <a:gd name="T3" fmla="*/ 0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">
                  <a:moveTo>
                    <a:pt x="0" y="0"/>
                  </a:moveTo>
                  <a:cubicBezTo>
                    <a:pt x="1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63" name="Freeform 7825"/>
            <p:cNvSpPr>
              <a:spLocks/>
            </p:cNvSpPr>
            <p:nvPr/>
          </p:nvSpPr>
          <p:spPr bwMode="auto">
            <a:xfrm>
              <a:off x="5150" y="2833"/>
              <a:ext cx="6" cy="3"/>
            </a:xfrm>
            <a:custGeom>
              <a:avLst/>
              <a:gdLst>
                <a:gd name="T0" fmla="*/ 5 w 5"/>
                <a:gd name="T1" fmla="*/ 1 h 3"/>
                <a:gd name="T2" fmla="*/ 4 w 5"/>
                <a:gd name="T3" fmla="*/ 0 h 3"/>
                <a:gd name="T4" fmla="*/ 0 w 5"/>
                <a:gd name="T5" fmla="*/ 0 h 3"/>
                <a:gd name="T6" fmla="*/ 0 w 5"/>
                <a:gd name="T7" fmla="*/ 3 h 3"/>
                <a:gd name="T8" fmla="*/ 5 w 5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3">
                  <a:moveTo>
                    <a:pt x="5" y="1"/>
                  </a:moveTo>
                  <a:cubicBezTo>
                    <a:pt x="5" y="1"/>
                    <a:pt x="4" y="0"/>
                    <a:pt x="4" y="0"/>
                  </a:cubicBezTo>
                  <a:cubicBezTo>
                    <a:pt x="3" y="0"/>
                    <a:pt x="1" y="0"/>
                    <a:pt x="0" y="0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2" y="2"/>
                    <a:pt x="3" y="2"/>
                    <a:pt x="5" y="1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64" name="Freeform 7826"/>
            <p:cNvSpPr>
              <a:spLocks/>
            </p:cNvSpPr>
            <p:nvPr/>
          </p:nvSpPr>
          <p:spPr bwMode="auto">
            <a:xfrm>
              <a:off x="5165" y="2834"/>
              <a:ext cx="4" cy="1"/>
            </a:xfrm>
            <a:custGeom>
              <a:avLst/>
              <a:gdLst>
                <a:gd name="T0" fmla="*/ 3 w 3"/>
                <a:gd name="T1" fmla="*/ 1 h 1"/>
                <a:gd name="T2" fmla="*/ 3 w 3"/>
                <a:gd name="T3" fmla="*/ 1 h 1"/>
                <a:gd name="T4" fmla="*/ 1 w 3"/>
                <a:gd name="T5" fmla="*/ 0 h 1"/>
                <a:gd name="T6" fmla="*/ 0 w 3"/>
                <a:gd name="T7" fmla="*/ 0 h 1"/>
                <a:gd name="T8" fmla="*/ 3 w 3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1">
                  <a:moveTo>
                    <a:pt x="3" y="1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2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2" y="1"/>
                    <a:pt x="3" y="1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65" name="Freeform 7827"/>
            <p:cNvSpPr>
              <a:spLocks/>
            </p:cNvSpPr>
            <p:nvPr/>
          </p:nvSpPr>
          <p:spPr bwMode="auto">
            <a:xfrm>
              <a:off x="5148" y="2834"/>
              <a:ext cx="2" cy="4"/>
            </a:xfrm>
            <a:custGeom>
              <a:avLst/>
              <a:gdLst>
                <a:gd name="T0" fmla="*/ 1 w 2"/>
                <a:gd name="T1" fmla="*/ 3 h 3"/>
                <a:gd name="T2" fmla="*/ 2 w 2"/>
                <a:gd name="T3" fmla="*/ 3 h 3"/>
                <a:gd name="T4" fmla="*/ 0 w 2"/>
                <a:gd name="T5" fmla="*/ 0 h 3"/>
                <a:gd name="T6" fmla="*/ 0 w 2"/>
                <a:gd name="T7" fmla="*/ 0 h 3"/>
                <a:gd name="T8" fmla="*/ 1 w 2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3">
                  <a:moveTo>
                    <a:pt x="1" y="3"/>
                  </a:moveTo>
                  <a:cubicBezTo>
                    <a:pt x="1" y="3"/>
                    <a:pt x="1" y="3"/>
                    <a:pt x="2" y="3"/>
                  </a:cubicBezTo>
                  <a:cubicBezTo>
                    <a:pt x="1" y="2"/>
                    <a:pt x="1" y="1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1" y="2"/>
                    <a:pt x="1" y="3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66" name="Freeform 7828"/>
            <p:cNvSpPr>
              <a:spLocks/>
            </p:cNvSpPr>
            <p:nvPr/>
          </p:nvSpPr>
          <p:spPr bwMode="auto">
            <a:xfrm>
              <a:off x="5126" y="2833"/>
              <a:ext cx="1" cy="1"/>
            </a:xfrm>
            <a:custGeom>
              <a:avLst/>
              <a:gdLst>
                <a:gd name="T0" fmla="*/ 0 w 1"/>
                <a:gd name="T1" fmla="*/ 0 h 1"/>
                <a:gd name="T2" fmla="*/ 1 w 1"/>
                <a:gd name="T3" fmla="*/ 1 h 1"/>
                <a:gd name="T4" fmla="*/ 1 w 1"/>
                <a:gd name="T5" fmla="*/ 0 h 1"/>
                <a:gd name="T6" fmla="*/ 0 w 1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0"/>
                    <a:pt x="1" y="0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67" name="Freeform 7829"/>
            <p:cNvSpPr>
              <a:spLocks/>
            </p:cNvSpPr>
            <p:nvPr/>
          </p:nvSpPr>
          <p:spPr bwMode="auto">
            <a:xfrm>
              <a:off x="5124" y="2834"/>
              <a:ext cx="3" cy="9"/>
            </a:xfrm>
            <a:custGeom>
              <a:avLst/>
              <a:gdLst>
                <a:gd name="T0" fmla="*/ 1 w 3"/>
                <a:gd name="T1" fmla="*/ 6 h 7"/>
                <a:gd name="T2" fmla="*/ 3 w 3"/>
                <a:gd name="T3" fmla="*/ 7 h 7"/>
                <a:gd name="T4" fmla="*/ 3 w 3"/>
                <a:gd name="T5" fmla="*/ 2 h 7"/>
                <a:gd name="T6" fmla="*/ 0 w 3"/>
                <a:gd name="T7" fmla="*/ 0 h 7"/>
                <a:gd name="T8" fmla="*/ 0 w 3"/>
                <a:gd name="T9" fmla="*/ 1 h 7"/>
                <a:gd name="T10" fmla="*/ 1 w 3"/>
                <a:gd name="T11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7">
                  <a:moveTo>
                    <a:pt x="1" y="6"/>
                  </a:moveTo>
                  <a:cubicBezTo>
                    <a:pt x="2" y="6"/>
                    <a:pt x="2" y="6"/>
                    <a:pt x="3" y="7"/>
                  </a:cubicBezTo>
                  <a:cubicBezTo>
                    <a:pt x="3" y="5"/>
                    <a:pt x="3" y="4"/>
                    <a:pt x="3" y="2"/>
                  </a:cubicBezTo>
                  <a:cubicBezTo>
                    <a:pt x="2" y="1"/>
                    <a:pt x="1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3"/>
                    <a:pt x="0" y="4"/>
                    <a:pt x="1" y="6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68" name="Freeform 7830"/>
            <p:cNvSpPr>
              <a:spLocks/>
            </p:cNvSpPr>
            <p:nvPr/>
          </p:nvSpPr>
          <p:spPr bwMode="auto">
            <a:xfrm>
              <a:off x="5143" y="2843"/>
              <a:ext cx="0" cy="1"/>
            </a:xfrm>
            <a:custGeom>
              <a:avLst/>
              <a:gdLst>
                <a:gd name="T0" fmla="*/ 1 h 1"/>
                <a:gd name="T1" fmla="*/ 1 h 1"/>
                <a:gd name="T2" fmla="*/ 0 h 1"/>
                <a:gd name="T3" fmla="*/ 0 h 1"/>
                <a:gd name="T4" fmla="*/ 1 h 1"/>
                <a:gd name="T5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69" name="Freeform 7831"/>
            <p:cNvSpPr>
              <a:spLocks/>
            </p:cNvSpPr>
            <p:nvPr/>
          </p:nvSpPr>
          <p:spPr bwMode="auto">
            <a:xfrm>
              <a:off x="5082" y="2830"/>
              <a:ext cx="1" cy="2"/>
            </a:xfrm>
            <a:custGeom>
              <a:avLst/>
              <a:gdLst>
                <a:gd name="T0" fmla="*/ 1 w 1"/>
                <a:gd name="T1" fmla="*/ 0 h 1"/>
                <a:gd name="T2" fmla="*/ 1 w 1"/>
                <a:gd name="T3" fmla="*/ 1 h 1"/>
                <a:gd name="T4" fmla="*/ 0 w 1"/>
                <a:gd name="T5" fmla="*/ 1 h 1"/>
                <a:gd name="T6" fmla="*/ 0 w 1"/>
                <a:gd name="T7" fmla="*/ 0 h 1"/>
                <a:gd name="T8" fmla="*/ 1 w 1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1" y="0"/>
                    <a:pt x="1" y="1"/>
                    <a:pt x="1" y="1"/>
                  </a:cubicBezTo>
                  <a:cubicBezTo>
                    <a:pt x="1" y="1"/>
                    <a:pt x="1" y="1"/>
                    <a:pt x="0" y="1"/>
                  </a:cubicBezTo>
                  <a:cubicBezTo>
                    <a:pt x="0" y="1"/>
                    <a:pt x="0" y="1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70" name="Freeform 7832"/>
            <p:cNvSpPr>
              <a:spLocks/>
            </p:cNvSpPr>
            <p:nvPr/>
          </p:nvSpPr>
          <p:spPr bwMode="auto">
            <a:xfrm>
              <a:off x="5075" y="2833"/>
              <a:ext cx="2" cy="2"/>
            </a:xfrm>
            <a:custGeom>
              <a:avLst/>
              <a:gdLst>
                <a:gd name="T0" fmla="*/ 2 w 2"/>
                <a:gd name="T1" fmla="*/ 1 h 2"/>
                <a:gd name="T2" fmla="*/ 0 w 2"/>
                <a:gd name="T3" fmla="*/ 2 h 2"/>
                <a:gd name="T4" fmla="*/ 2 w 2"/>
                <a:gd name="T5" fmla="*/ 0 h 2"/>
                <a:gd name="T6" fmla="*/ 2 w 2"/>
                <a:gd name="T7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2" y="1"/>
                  </a:moveTo>
                  <a:cubicBezTo>
                    <a:pt x="1" y="1"/>
                    <a:pt x="1" y="1"/>
                    <a:pt x="0" y="2"/>
                  </a:cubicBezTo>
                  <a:cubicBezTo>
                    <a:pt x="0" y="2"/>
                    <a:pt x="1" y="1"/>
                    <a:pt x="2" y="0"/>
                  </a:cubicBezTo>
                  <a:cubicBezTo>
                    <a:pt x="2" y="1"/>
                    <a:pt x="2" y="1"/>
                    <a:pt x="2" y="1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71" name="Freeform 7833"/>
            <p:cNvSpPr>
              <a:spLocks/>
            </p:cNvSpPr>
            <p:nvPr/>
          </p:nvSpPr>
          <p:spPr bwMode="auto">
            <a:xfrm>
              <a:off x="5129" y="2805"/>
              <a:ext cx="2" cy="6"/>
            </a:xfrm>
            <a:custGeom>
              <a:avLst/>
              <a:gdLst>
                <a:gd name="T0" fmla="*/ 2 w 2"/>
                <a:gd name="T1" fmla="*/ 0 h 5"/>
                <a:gd name="T2" fmla="*/ 1 w 2"/>
                <a:gd name="T3" fmla="*/ 0 h 5"/>
                <a:gd name="T4" fmla="*/ 0 w 2"/>
                <a:gd name="T5" fmla="*/ 5 h 5"/>
                <a:gd name="T6" fmla="*/ 1 w 2"/>
                <a:gd name="T7" fmla="*/ 5 h 5"/>
                <a:gd name="T8" fmla="*/ 2 w 2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5">
                  <a:moveTo>
                    <a:pt x="2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2"/>
                    <a:pt x="0" y="3"/>
                    <a:pt x="0" y="5"/>
                  </a:cubicBezTo>
                  <a:cubicBezTo>
                    <a:pt x="0" y="5"/>
                    <a:pt x="1" y="5"/>
                    <a:pt x="1" y="5"/>
                  </a:cubicBezTo>
                  <a:cubicBezTo>
                    <a:pt x="1" y="3"/>
                    <a:pt x="1" y="2"/>
                    <a:pt x="2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72" name="Freeform 7834"/>
            <p:cNvSpPr>
              <a:spLocks/>
            </p:cNvSpPr>
            <p:nvPr/>
          </p:nvSpPr>
          <p:spPr bwMode="auto">
            <a:xfrm>
              <a:off x="5126" y="2850"/>
              <a:ext cx="3" cy="8"/>
            </a:xfrm>
            <a:custGeom>
              <a:avLst/>
              <a:gdLst>
                <a:gd name="T0" fmla="*/ 2 w 2"/>
                <a:gd name="T1" fmla="*/ 0 h 7"/>
                <a:gd name="T2" fmla="*/ 0 w 2"/>
                <a:gd name="T3" fmla="*/ 5 h 7"/>
                <a:gd name="T4" fmla="*/ 0 w 2"/>
                <a:gd name="T5" fmla="*/ 7 h 7"/>
                <a:gd name="T6" fmla="*/ 0 w 2"/>
                <a:gd name="T7" fmla="*/ 7 h 7"/>
                <a:gd name="T8" fmla="*/ 2 w 2"/>
                <a:gd name="T9" fmla="*/ 3 h 7"/>
                <a:gd name="T10" fmla="*/ 2 w 2"/>
                <a:gd name="T11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7">
                  <a:moveTo>
                    <a:pt x="2" y="0"/>
                  </a:moveTo>
                  <a:cubicBezTo>
                    <a:pt x="1" y="1"/>
                    <a:pt x="1" y="3"/>
                    <a:pt x="0" y="5"/>
                  </a:cubicBezTo>
                  <a:cubicBezTo>
                    <a:pt x="0" y="6"/>
                    <a:pt x="0" y="6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5"/>
                    <a:pt x="2" y="4"/>
                    <a:pt x="2" y="3"/>
                  </a:cubicBezTo>
                  <a:cubicBezTo>
                    <a:pt x="2" y="2"/>
                    <a:pt x="2" y="1"/>
                    <a:pt x="2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73" name="Freeform 7835"/>
            <p:cNvSpPr>
              <a:spLocks/>
            </p:cNvSpPr>
            <p:nvPr/>
          </p:nvSpPr>
          <p:spPr bwMode="auto">
            <a:xfrm>
              <a:off x="5129" y="2866"/>
              <a:ext cx="2" cy="8"/>
            </a:xfrm>
            <a:custGeom>
              <a:avLst/>
              <a:gdLst>
                <a:gd name="T0" fmla="*/ 0 w 2"/>
                <a:gd name="T1" fmla="*/ 7 h 7"/>
                <a:gd name="T2" fmla="*/ 0 w 2"/>
                <a:gd name="T3" fmla="*/ 7 h 7"/>
                <a:gd name="T4" fmla="*/ 2 w 2"/>
                <a:gd name="T5" fmla="*/ 7 h 7"/>
                <a:gd name="T6" fmla="*/ 2 w 2"/>
                <a:gd name="T7" fmla="*/ 0 h 7"/>
                <a:gd name="T8" fmla="*/ 0 w 2"/>
                <a:gd name="T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7">
                  <a:moveTo>
                    <a:pt x="0" y="7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4"/>
                    <a:pt x="2" y="2"/>
                    <a:pt x="2" y="0"/>
                  </a:cubicBezTo>
                  <a:cubicBezTo>
                    <a:pt x="1" y="3"/>
                    <a:pt x="0" y="6"/>
                    <a:pt x="0" y="7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9315" name="Group 8037"/>
          <p:cNvGrpSpPr>
            <a:grpSpLocks/>
          </p:cNvGrpSpPr>
          <p:nvPr/>
        </p:nvGrpSpPr>
        <p:grpSpPr bwMode="auto">
          <a:xfrm>
            <a:off x="8047038" y="4411663"/>
            <a:ext cx="203200" cy="150813"/>
            <a:chOff x="5069" y="2779"/>
            <a:chExt cx="128" cy="95"/>
          </a:xfrm>
        </p:grpSpPr>
        <p:sp>
          <p:nvSpPr>
            <p:cNvPr id="9874" name="Freeform 7837"/>
            <p:cNvSpPr>
              <a:spLocks/>
            </p:cNvSpPr>
            <p:nvPr/>
          </p:nvSpPr>
          <p:spPr bwMode="auto">
            <a:xfrm>
              <a:off x="5124" y="2826"/>
              <a:ext cx="3" cy="7"/>
            </a:xfrm>
            <a:custGeom>
              <a:avLst/>
              <a:gdLst>
                <a:gd name="T0" fmla="*/ 3 w 3"/>
                <a:gd name="T1" fmla="*/ 6 h 6"/>
                <a:gd name="T2" fmla="*/ 3 w 3"/>
                <a:gd name="T3" fmla="*/ 0 h 6"/>
                <a:gd name="T4" fmla="*/ 1 w 3"/>
                <a:gd name="T5" fmla="*/ 0 h 6"/>
                <a:gd name="T6" fmla="*/ 0 w 3"/>
                <a:gd name="T7" fmla="*/ 5 h 6"/>
                <a:gd name="T8" fmla="*/ 2 w 3"/>
                <a:gd name="T9" fmla="*/ 6 h 6"/>
                <a:gd name="T10" fmla="*/ 3 w 3"/>
                <a:gd name="T11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6">
                  <a:moveTo>
                    <a:pt x="3" y="6"/>
                  </a:moveTo>
                  <a:cubicBezTo>
                    <a:pt x="3" y="4"/>
                    <a:pt x="3" y="2"/>
                    <a:pt x="3" y="0"/>
                  </a:cubicBezTo>
                  <a:cubicBezTo>
                    <a:pt x="3" y="0"/>
                    <a:pt x="2" y="0"/>
                    <a:pt x="1" y="0"/>
                  </a:cubicBezTo>
                  <a:cubicBezTo>
                    <a:pt x="1" y="2"/>
                    <a:pt x="1" y="3"/>
                    <a:pt x="0" y="5"/>
                  </a:cubicBezTo>
                  <a:cubicBezTo>
                    <a:pt x="1" y="5"/>
                    <a:pt x="2" y="6"/>
                    <a:pt x="2" y="6"/>
                  </a:cubicBezTo>
                  <a:cubicBezTo>
                    <a:pt x="2" y="6"/>
                    <a:pt x="3" y="6"/>
                    <a:pt x="3" y="6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75" name="Freeform 7838"/>
            <p:cNvSpPr>
              <a:spLocks/>
            </p:cNvSpPr>
            <p:nvPr/>
          </p:nvSpPr>
          <p:spPr bwMode="auto">
            <a:xfrm>
              <a:off x="5097" y="2832"/>
              <a:ext cx="10" cy="6"/>
            </a:xfrm>
            <a:custGeom>
              <a:avLst/>
              <a:gdLst>
                <a:gd name="T0" fmla="*/ 8 w 8"/>
                <a:gd name="T1" fmla="*/ 5 h 5"/>
                <a:gd name="T2" fmla="*/ 8 w 8"/>
                <a:gd name="T3" fmla="*/ 3 h 5"/>
                <a:gd name="T4" fmla="*/ 0 w 8"/>
                <a:gd name="T5" fmla="*/ 0 h 5"/>
                <a:gd name="T6" fmla="*/ 0 w 8"/>
                <a:gd name="T7" fmla="*/ 1 h 5"/>
                <a:gd name="T8" fmla="*/ 8 w 8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8" y="5"/>
                  </a:moveTo>
                  <a:cubicBezTo>
                    <a:pt x="8" y="5"/>
                    <a:pt x="8" y="4"/>
                    <a:pt x="8" y="3"/>
                  </a:cubicBezTo>
                  <a:cubicBezTo>
                    <a:pt x="5" y="1"/>
                    <a:pt x="2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3" y="2"/>
                    <a:pt x="5" y="3"/>
                    <a:pt x="8" y="5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76" name="Freeform 7839"/>
            <p:cNvSpPr>
              <a:spLocks/>
            </p:cNvSpPr>
            <p:nvPr/>
          </p:nvSpPr>
          <p:spPr bwMode="auto">
            <a:xfrm>
              <a:off x="5118" y="2846"/>
              <a:ext cx="1" cy="8"/>
            </a:xfrm>
            <a:custGeom>
              <a:avLst/>
              <a:gdLst>
                <a:gd name="T0" fmla="*/ 0 w 1"/>
                <a:gd name="T1" fmla="*/ 5 h 6"/>
                <a:gd name="T2" fmla="*/ 1 w 1"/>
                <a:gd name="T3" fmla="*/ 6 h 6"/>
                <a:gd name="T4" fmla="*/ 1 w 1"/>
                <a:gd name="T5" fmla="*/ 0 h 6"/>
                <a:gd name="T6" fmla="*/ 0 w 1"/>
                <a:gd name="T7" fmla="*/ 2 h 6"/>
                <a:gd name="T8" fmla="*/ 0 w 1"/>
                <a:gd name="T9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6">
                  <a:moveTo>
                    <a:pt x="0" y="5"/>
                  </a:moveTo>
                  <a:cubicBezTo>
                    <a:pt x="1" y="6"/>
                    <a:pt x="1" y="6"/>
                    <a:pt x="1" y="6"/>
                  </a:cubicBezTo>
                  <a:cubicBezTo>
                    <a:pt x="1" y="4"/>
                    <a:pt x="1" y="2"/>
                    <a:pt x="1" y="0"/>
                  </a:cubicBezTo>
                  <a:cubicBezTo>
                    <a:pt x="1" y="1"/>
                    <a:pt x="0" y="1"/>
                    <a:pt x="0" y="2"/>
                  </a:cubicBezTo>
                  <a:cubicBezTo>
                    <a:pt x="0" y="3"/>
                    <a:pt x="0" y="4"/>
                    <a:pt x="0" y="5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77" name="Freeform 7840"/>
            <p:cNvSpPr>
              <a:spLocks/>
            </p:cNvSpPr>
            <p:nvPr/>
          </p:nvSpPr>
          <p:spPr bwMode="auto">
            <a:xfrm>
              <a:off x="5125" y="2844"/>
              <a:ext cx="2" cy="5"/>
            </a:xfrm>
            <a:custGeom>
              <a:avLst/>
              <a:gdLst>
                <a:gd name="T0" fmla="*/ 0 w 2"/>
                <a:gd name="T1" fmla="*/ 0 h 4"/>
                <a:gd name="T2" fmla="*/ 0 w 2"/>
                <a:gd name="T3" fmla="*/ 4 h 4"/>
                <a:gd name="T4" fmla="*/ 2 w 2"/>
                <a:gd name="T5" fmla="*/ 1 h 4"/>
                <a:gd name="T6" fmla="*/ 0 w 2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4">
                  <a:moveTo>
                    <a:pt x="0" y="0"/>
                  </a:moveTo>
                  <a:cubicBezTo>
                    <a:pt x="0" y="2"/>
                    <a:pt x="0" y="3"/>
                    <a:pt x="0" y="4"/>
                  </a:cubicBezTo>
                  <a:cubicBezTo>
                    <a:pt x="1" y="3"/>
                    <a:pt x="1" y="2"/>
                    <a:pt x="2" y="1"/>
                  </a:cubicBezTo>
                  <a:cubicBezTo>
                    <a:pt x="1" y="1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78" name="Freeform 7841"/>
            <p:cNvSpPr>
              <a:spLocks/>
            </p:cNvSpPr>
            <p:nvPr/>
          </p:nvSpPr>
          <p:spPr bwMode="auto">
            <a:xfrm>
              <a:off x="5116" y="2844"/>
              <a:ext cx="2" cy="2"/>
            </a:xfrm>
            <a:custGeom>
              <a:avLst/>
              <a:gdLst>
                <a:gd name="T0" fmla="*/ 0 w 1"/>
                <a:gd name="T1" fmla="*/ 0 h 2"/>
                <a:gd name="T2" fmla="*/ 1 w 1"/>
                <a:gd name="T3" fmla="*/ 2 h 2"/>
                <a:gd name="T4" fmla="*/ 1 w 1"/>
                <a:gd name="T5" fmla="*/ 1 h 2"/>
                <a:gd name="T6" fmla="*/ 1 w 1"/>
                <a:gd name="T7" fmla="*/ 0 h 2"/>
                <a:gd name="T8" fmla="*/ 0 w 1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2">
                  <a:moveTo>
                    <a:pt x="0" y="0"/>
                  </a:moveTo>
                  <a:cubicBezTo>
                    <a:pt x="0" y="1"/>
                    <a:pt x="0" y="1"/>
                    <a:pt x="1" y="2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79" name="Freeform 7842"/>
            <p:cNvSpPr>
              <a:spLocks/>
            </p:cNvSpPr>
            <p:nvPr/>
          </p:nvSpPr>
          <p:spPr bwMode="auto">
            <a:xfrm>
              <a:off x="5109" y="2838"/>
              <a:ext cx="1" cy="5"/>
            </a:xfrm>
            <a:custGeom>
              <a:avLst/>
              <a:gdLst>
                <a:gd name="T0" fmla="*/ 1 w 1"/>
                <a:gd name="T1" fmla="*/ 4 h 4"/>
                <a:gd name="T2" fmla="*/ 1 w 1"/>
                <a:gd name="T3" fmla="*/ 0 h 4"/>
                <a:gd name="T4" fmla="*/ 1 w 1"/>
                <a:gd name="T5" fmla="*/ 0 h 4"/>
                <a:gd name="T6" fmla="*/ 0 w 1"/>
                <a:gd name="T7" fmla="*/ 3 h 4"/>
                <a:gd name="T8" fmla="*/ 1 w 1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4">
                  <a:moveTo>
                    <a:pt x="1" y="4"/>
                  </a:moveTo>
                  <a:cubicBezTo>
                    <a:pt x="1" y="2"/>
                    <a:pt x="1" y="1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0" y="3"/>
                    <a:pt x="1" y="3"/>
                    <a:pt x="1" y="4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80" name="Freeform 7843"/>
            <p:cNvSpPr>
              <a:spLocks/>
            </p:cNvSpPr>
            <p:nvPr/>
          </p:nvSpPr>
          <p:spPr bwMode="auto">
            <a:xfrm>
              <a:off x="5087" y="2830"/>
              <a:ext cx="3" cy="0"/>
            </a:xfrm>
            <a:custGeom>
              <a:avLst/>
              <a:gdLst>
                <a:gd name="T0" fmla="*/ 2 w 2"/>
                <a:gd name="T1" fmla="*/ 2 w 2"/>
                <a:gd name="T2" fmla="*/ 0 w 2"/>
                <a:gd name="T3" fmla="*/ 0 w 2"/>
                <a:gd name="T4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2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81" name="Freeform 7844"/>
            <p:cNvSpPr>
              <a:spLocks/>
            </p:cNvSpPr>
            <p:nvPr/>
          </p:nvSpPr>
          <p:spPr bwMode="auto">
            <a:xfrm>
              <a:off x="5130" y="2795"/>
              <a:ext cx="2" cy="10"/>
            </a:xfrm>
            <a:custGeom>
              <a:avLst/>
              <a:gdLst>
                <a:gd name="T0" fmla="*/ 2 w 2"/>
                <a:gd name="T1" fmla="*/ 0 h 8"/>
                <a:gd name="T2" fmla="*/ 0 w 2"/>
                <a:gd name="T3" fmla="*/ 8 h 8"/>
                <a:gd name="T4" fmla="*/ 1 w 2"/>
                <a:gd name="T5" fmla="*/ 8 h 8"/>
                <a:gd name="T6" fmla="*/ 2 w 2"/>
                <a:gd name="T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8">
                  <a:moveTo>
                    <a:pt x="2" y="0"/>
                  </a:moveTo>
                  <a:cubicBezTo>
                    <a:pt x="2" y="1"/>
                    <a:pt x="1" y="4"/>
                    <a:pt x="0" y="8"/>
                  </a:cubicBezTo>
                  <a:cubicBezTo>
                    <a:pt x="0" y="8"/>
                    <a:pt x="0" y="8"/>
                    <a:pt x="1" y="8"/>
                  </a:cubicBezTo>
                  <a:cubicBezTo>
                    <a:pt x="2" y="3"/>
                    <a:pt x="2" y="0"/>
                    <a:pt x="2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82" name="Freeform 7845"/>
            <p:cNvSpPr>
              <a:spLocks/>
            </p:cNvSpPr>
            <p:nvPr/>
          </p:nvSpPr>
          <p:spPr bwMode="auto">
            <a:xfrm>
              <a:off x="5125" y="2813"/>
              <a:ext cx="5" cy="11"/>
            </a:xfrm>
            <a:custGeom>
              <a:avLst/>
              <a:gdLst>
                <a:gd name="T0" fmla="*/ 3 w 4"/>
                <a:gd name="T1" fmla="*/ 9 h 9"/>
                <a:gd name="T2" fmla="*/ 4 w 4"/>
                <a:gd name="T3" fmla="*/ 0 h 9"/>
                <a:gd name="T4" fmla="*/ 2 w 4"/>
                <a:gd name="T5" fmla="*/ 0 h 9"/>
                <a:gd name="T6" fmla="*/ 0 w 4"/>
                <a:gd name="T7" fmla="*/ 9 h 9"/>
                <a:gd name="T8" fmla="*/ 3 w 4"/>
                <a:gd name="T9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9">
                  <a:moveTo>
                    <a:pt x="3" y="9"/>
                  </a:moveTo>
                  <a:cubicBezTo>
                    <a:pt x="3" y="6"/>
                    <a:pt x="3" y="3"/>
                    <a:pt x="4" y="0"/>
                  </a:cubicBezTo>
                  <a:cubicBezTo>
                    <a:pt x="3" y="0"/>
                    <a:pt x="3" y="0"/>
                    <a:pt x="2" y="0"/>
                  </a:cubicBezTo>
                  <a:cubicBezTo>
                    <a:pt x="2" y="3"/>
                    <a:pt x="1" y="6"/>
                    <a:pt x="0" y="9"/>
                  </a:cubicBezTo>
                  <a:cubicBezTo>
                    <a:pt x="1" y="9"/>
                    <a:pt x="2" y="9"/>
                    <a:pt x="3" y="9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83" name="Freeform 7846"/>
            <p:cNvSpPr>
              <a:spLocks/>
            </p:cNvSpPr>
            <p:nvPr/>
          </p:nvSpPr>
          <p:spPr bwMode="auto">
            <a:xfrm>
              <a:off x="5127" y="2811"/>
              <a:ext cx="3" cy="2"/>
            </a:xfrm>
            <a:custGeom>
              <a:avLst/>
              <a:gdLst>
                <a:gd name="T0" fmla="*/ 2 w 2"/>
                <a:gd name="T1" fmla="*/ 2 h 2"/>
                <a:gd name="T2" fmla="*/ 2 w 2"/>
                <a:gd name="T3" fmla="*/ 0 h 2"/>
                <a:gd name="T4" fmla="*/ 1 w 2"/>
                <a:gd name="T5" fmla="*/ 0 h 2"/>
                <a:gd name="T6" fmla="*/ 0 w 2"/>
                <a:gd name="T7" fmla="*/ 2 h 2"/>
                <a:gd name="T8" fmla="*/ 2 w 2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cubicBezTo>
                    <a:pt x="2" y="2"/>
                    <a:pt x="2" y="1"/>
                    <a:pt x="2" y="0"/>
                  </a:cubicBezTo>
                  <a:cubicBezTo>
                    <a:pt x="2" y="0"/>
                    <a:pt x="1" y="0"/>
                    <a:pt x="1" y="0"/>
                  </a:cubicBezTo>
                  <a:cubicBezTo>
                    <a:pt x="1" y="0"/>
                    <a:pt x="1" y="1"/>
                    <a:pt x="0" y="2"/>
                  </a:cubicBezTo>
                  <a:cubicBezTo>
                    <a:pt x="1" y="2"/>
                    <a:pt x="1" y="2"/>
                    <a:pt x="2" y="2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84" name="Freeform 7847"/>
            <p:cNvSpPr>
              <a:spLocks/>
            </p:cNvSpPr>
            <p:nvPr/>
          </p:nvSpPr>
          <p:spPr bwMode="auto">
            <a:xfrm>
              <a:off x="5113" y="2844"/>
              <a:ext cx="5" cy="5"/>
            </a:xfrm>
            <a:custGeom>
              <a:avLst/>
              <a:gdLst>
                <a:gd name="T0" fmla="*/ 3 w 4"/>
                <a:gd name="T1" fmla="*/ 0 h 4"/>
                <a:gd name="T2" fmla="*/ 0 w 4"/>
                <a:gd name="T3" fmla="*/ 1 h 4"/>
                <a:gd name="T4" fmla="*/ 2 w 4"/>
                <a:gd name="T5" fmla="*/ 4 h 4"/>
                <a:gd name="T6" fmla="*/ 4 w 4"/>
                <a:gd name="T7" fmla="*/ 2 h 4"/>
                <a:gd name="T8" fmla="*/ 3 w 4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3" y="0"/>
                  </a:moveTo>
                  <a:cubicBezTo>
                    <a:pt x="2" y="0"/>
                    <a:pt x="1" y="1"/>
                    <a:pt x="0" y="1"/>
                  </a:cubicBezTo>
                  <a:cubicBezTo>
                    <a:pt x="1" y="2"/>
                    <a:pt x="1" y="3"/>
                    <a:pt x="2" y="4"/>
                  </a:cubicBezTo>
                  <a:cubicBezTo>
                    <a:pt x="3" y="3"/>
                    <a:pt x="3" y="2"/>
                    <a:pt x="4" y="2"/>
                  </a:cubicBezTo>
                  <a:cubicBezTo>
                    <a:pt x="3" y="1"/>
                    <a:pt x="3" y="1"/>
                    <a:pt x="3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85" name="Freeform 7848"/>
            <p:cNvSpPr>
              <a:spLocks/>
            </p:cNvSpPr>
            <p:nvPr/>
          </p:nvSpPr>
          <p:spPr bwMode="auto">
            <a:xfrm>
              <a:off x="5116" y="2849"/>
              <a:ext cx="2" cy="3"/>
            </a:xfrm>
            <a:custGeom>
              <a:avLst/>
              <a:gdLst>
                <a:gd name="T0" fmla="*/ 0 w 1"/>
                <a:gd name="T1" fmla="*/ 1 h 3"/>
                <a:gd name="T2" fmla="*/ 1 w 1"/>
                <a:gd name="T3" fmla="*/ 3 h 3"/>
                <a:gd name="T4" fmla="*/ 1 w 1"/>
                <a:gd name="T5" fmla="*/ 0 h 3"/>
                <a:gd name="T6" fmla="*/ 0 w 1"/>
                <a:gd name="T7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3">
                  <a:moveTo>
                    <a:pt x="0" y="1"/>
                  </a:moveTo>
                  <a:cubicBezTo>
                    <a:pt x="0" y="2"/>
                    <a:pt x="1" y="2"/>
                    <a:pt x="1" y="3"/>
                  </a:cubicBezTo>
                  <a:cubicBezTo>
                    <a:pt x="1" y="2"/>
                    <a:pt x="1" y="1"/>
                    <a:pt x="1" y="0"/>
                  </a:cubicBezTo>
                  <a:cubicBezTo>
                    <a:pt x="1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86" name="Freeform 7849"/>
            <p:cNvSpPr>
              <a:spLocks/>
            </p:cNvSpPr>
            <p:nvPr/>
          </p:nvSpPr>
          <p:spPr bwMode="auto">
            <a:xfrm>
              <a:off x="5126" y="2854"/>
              <a:ext cx="5" cy="4"/>
            </a:xfrm>
            <a:custGeom>
              <a:avLst/>
              <a:gdLst>
                <a:gd name="T0" fmla="*/ 2 w 4"/>
                <a:gd name="T1" fmla="*/ 0 h 4"/>
                <a:gd name="T2" fmla="*/ 0 w 4"/>
                <a:gd name="T3" fmla="*/ 4 h 4"/>
                <a:gd name="T4" fmla="*/ 4 w 4"/>
                <a:gd name="T5" fmla="*/ 4 h 4"/>
                <a:gd name="T6" fmla="*/ 3 w 4"/>
                <a:gd name="T7" fmla="*/ 2 h 4"/>
                <a:gd name="T8" fmla="*/ 3 w 4"/>
                <a:gd name="T9" fmla="*/ 3 h 4"/>
                <a:gd name="T10" fmla="*/ 2 w 4"/>
                <a:gd name="T1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">
                  <a:moveTo>
                    <a:pt x="2" y="0"/>
                  </a:moveTo>
                  <a:cubicBezTo>
                    <a:pt x="2" y="1"/>
                    <a:pt x="1" y="2"/>
                    <a:pt x="0" y="4"/>
                  </a:cubicBezTo>
                  <a:cubicBezTo>
                    <a:pt x="1" y="3"/>
                    <a:pt x="2" y="3"/>
                    <a:pt x="4" y="4"/>
                  </a:cubicBezTo>
                  <a:cubicBezTo>
                    <a:pt x="3" y="3"/>
                    <a:pt x="3" y="2"/>
                    <a:pt x="3" y="2"/>
                  </a:cubicBezTo>
                  <a:cubicBezTo>
                    <a:pt x="3" y="2"/>
                    <a:pt x="3" y="3"/>
                    <a:pt x="3" y="3"/>
                  </a:cubicBezTo>
                  <a:cubicBezTo>
                    <a:pt x="3" y="2"/>
                    <a:pt x="2" y="1"/>
                    <a:pt x="2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87" name="Freeform 7850"/>
            <p:cNvSpPr>
              <a:spLocks/>
            </p:cNvSpPr>
            <p:nvPr/>
          </p:nvSpPr>
          <p:spPr bwMode="auto">
            <a:xfrm>
              <a:off x="5122" y="2860"/>
              <a:ext cx="3" cy="6"/>
            </a:xfrm>
            <a:custGeom>
              <a:avLst/>
              <a:gdLst>
                <a:gd name="T0" fmla="*/ 0 w 2"/>
                <a:gd name="T1" fmla="*/ 1 h 5"/>
                <a:gd name="T2" fmla="*/ 2 w 2"/>
                <a:gd name="T3" fmla="*/ 5 h 5"/>
                <a:gd name="T4" fmla="*/ 2 w 2"/>
                <a:gd name="T5" fmla="*/ 0 h 5"/>
                <a:gd name="T6" fmla="*/ 0 w 2"/>
                <a:gd name="T7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5">
                  <a:moveTo>
                    <a:pt x="0" y="1"/>
                  </a:moveTo>
                  <a:cubicBezTo>
                    <a:pt x="1" y="2"/>
                    <a:pt x="1" y="3"/>
                    <a:pt x="2" y="5"/>
                  </a:cubicBezTo>
                  <a:cubicBezTo>
                    <a:pt x="2" y="4"/>
                    <a:pt x="2" y="2"/>
                    <a:pt x="2" y="0"/>
                  </a:cubicBezTo>
                  <a:cubicBezTo>
                    <a:pt x="1" y="0"/>
                    <a:pt x="1" y="0"/>
                    <a:pt x="0" y="1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88" name="Freeform 7851"/>
            <p:cNvSpPr>
              <a:spLocks/>
            </p:cNvSpPr>
            <p:nvPr/>
          </p:nvSpPr>
          <p:spPr bwMode="auto">
            <a:xfrm>
              <a:off x="5110" y="2838"/>
              <a:ext cx="6" cy="6"/>
            </a:xfrm>
            <a:custGeom>
              <a:avLst/>
              <a:gdLst>
                <a:gd name="T0" fmla="*/ 5 w 5"/>
                <a:gd name="T1" fmla="*/ 5 h 5"/>
                <a:gd name="T2" fmla="*/ 0 w 5"/>
                <a:gd name="T3" fmla="*/ 0 h 5"/>
                <a:gd name="T4" fmla="*/ 0 w 5"/>
                <a:gd name="T5" fmla="*/ 4 h 5"/>
                <a:gd name="T6" fmla="*/ 1 w 5"/>
                <a:gd name="T7" fmla="*/ 5 h 5"/>
                <a:gd name="T8" fmla="*/ 5 w 5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">
                  <a:moveTo>
                    <a:pt x="5" y="5"/>
                  </a:moveTo>
                  <a:cubicBezTo>
                    <a:pt x="3" y="3"/>
                    <a:pt x="1" y="2"/>
                    <a:pt x="0" y="0"/>
                  </a:cubicBezTo>
                  <a:cubicBezTo>
                    <a:pt x="0" y="1"/>
                    <a:pt x="0" y="2"/>
                    <a:pt x="0" y="4"/>
                  </a:cubicBezTo>
                  <a:cubicBezTo>
                    <a:pt x="0" y="4"/>
                    <a:pt x="1" y="5"/>
                    <a:pt x="1" y="5"/>
                  </a:cubicBezTo>
                  <a:cubicBezTo>
                    <a:pt x="3" y="5"/>
                    <a:pt x="4" y="5"/>
                    <a:pt x="5" y="5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89" name="Freeform 7852"/>
            <p:cNvSpPr>
              <a:spLocks/>
            </p:cNvSpPr>
            <p:nvPr/>
          </p:nvSpPr>
          <p:spPr bwMode="auto">
            <a:xfrm>
              <a:off x="5126" y="2856"/>
              <a:ext cx="0" cy="2"/>
            </a:xfrm>
            <a:custGeom>
              <a:avLst/>
              <a:gdLst>
                <a:gd name="T0" fmla="*/ 2 h 2"/>
                <a:gd name="T1" fmla="*/ 2 h 2"/>
                <a:gd name="T2" fmla="*/ 0 h 2"/>
                <a:gd name="T3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1"/>
                    <a:pt x="0" y="0"/>
                  </a:cubicBezTo>
                  <a:cubicBezTo>
                    <a:pt x="0" y="1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90" name="Freeform 7853"/>
            <p:cNvSpPr>
              <a:spLocks/>
            </p:cNvSpPr>
            <p:nvPr/>
          </p:nvSpPr>
          <p:spPr bwMode="auto">
            <a:xfrm>
              <a:off x="5121" y="2857"/>
              <a:ext cx="3" cy="3"/>
            </a:xfrm>
            <a:custGeom>
              <a:avLst/>
              <a:gdLst>
                <a:gd name="T0" fmla="*/ 0 w 2"/>
                <a:gd name="T1" fmla="*/ 0 h 2"/>
                <a:gd name="T2" fmla="*/ 0 w 2"/>
                <a:gd name="T3" fmla="*/ 2 h 2"/>
                <a:gd name="T4" fmla="*/ 2 w 2"/>
                <a:gd name="T5" fmla="*/ 1 h 2"/>
                <a:gd name="T6" fmla="*/ 0 w 2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cubicBezTo>
                    <a:pt x="0" y="1"/>
                    <a:pt x="0" y="1"/>
                    <a:pt x="0" y="2"/>
                  </a:cubicBezTo>
                  <a:cubicBezTo>
                    <a:pt x="1" y="1"/>
                    <a:pt x="2" y="1"/>
                    <a:pt x="2" y="1"/>
                  </a:cubicBezTo>
                  <a:cubicBezTo>
                    <a:pt x="1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91" name="Freeform 7854"/>
            <p:cNvSpPr>
              <a:spLocks/>
            </p:cNvSpPr>
            <p:nvPr/>
          </p:nvSpPr>
          <p:spPr bwMode="auto">
            <a:xfrm>
              <a:off x="5119" y="2844"/>
              <a:ext cx="6" cy="13"/>
            </a:xfrm>
            <a:custGeom>
              <a:avLst/>
              <a:gdLst>
                <a:gd name="T0" fmla="*/ 5 w 5"/>
                <a:gd name="T1" fmla="*/ 0 h 11"/>
                <a:gd name="T2" fmla="*/ 3 w 5"/>
                <a:gd name="T3" fmla="*/ 0 h 11"/>
                <a:gd name="T4" fmla="*/ 4 w 5"/>
                <a:gd name="T5" fmla="*/ 1 h 11"/>
                <a:gd name="T6" fmla="*/ 2 w 5"/>
                <a:gd name="T7" fmla="*/ 1 h 11"/>
                <a:gd name="T8" fmla="*/ 2 w 5"/>
                <a:gd name="T9" fmla="*/ 4 h 11"/>
                <a:gd name="T10" fmla="*/ 0 w 5"/>
                <a:gd name="T11" fmla="*/ 2 h 11"/>
                <a:gd name="T12" fmla="*/ 0 w 5"/>
                <a:gd name="T13" fmla="*/ 2 h 11"/>
                <a:gd name="T14" fmla="*/ 0 w 5"/>
                <a:gd name="T15" fmla="*/ 8 h 11"/>
                <a:gd name="T16" fmla="*/ 0 w 5"/>
                <a:gd name="T17" fmla="*/ 9 h 11"/>
                <a:gd name="T18" fmla="*/ 5 w 5"/>
                <a:gd name="T19" fmla="*/ 11 h 11"/>
                <a:gd name="T20" fmla="*/ 5 w 5"/>
                <a:gd name="T21" fmla="*/ 4 h 11"/>
                <a:gd name="T22" fmla="*/ 5 w 5"/>
                <a:gd name="T23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" h="11">
                  <a:moveTo>
                    <a:pt x="5" y="0"/>
                  </a:moveTo>
                  <a:cubicBezTo>
                    <a:pt x="4" y="0"/>
                    <a:pt x="3" y="0"/>
                    <a:pt x="3" y="0"/>
                  </a:cubicBezTo>
                  <a:cubicBezTo>
                    <a:pt x="3" y="1"/>
                    <a:pt x="4" y="1"/>
                    <a:pt x="4" y="1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2"/>
                    <a:pt x="2" y="4"/>
                    <a:pt x="2" y="4"/>
                  </a:cubicBezTo>
                  <a:cubicBezTo>
                    <a:pt x="1" y="3"/>
                    <a:pt x="1" y="3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4"/>
                    <a:pt x="0" y="6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2" y="9"/>
                    <a:pt x="3" y="10"/>
                    <a:pt x="5" y="11"/>
                  </a:cubicBezTo>
                  <a:cubicBezTo>
                    <a:pt x="5" y="9"/>
                    <a:pt x="5" y="6"/>
                    <a:pt x="5" y="4"/>
                  </a:cubicBezTo>
                  <a:cubicBezTo>
                    <a:pt x="5" y="3"/>
                    <a:pt x="5" y="2"/>
                    <a:pt x="5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92" name="Freeform 7855"/>
            <p:cNvSpPr>
              <a:spLocks/>
            </p:cNvSpPr>
            <p:nvPr/>
          </p:nvSpPr>
          <p:spPr bwMode="auto">
            <a:xfrm>
              <a:off x="5122" y="2835"/>
              <a:ext cx="3" cy="6"/>
            </a:xfrm>
            <a:custGeom>
              <a:avLst/>
              <a:gdLst>
                <a:gd name="T0" fmla="*/ 1 w 2"/>
                <a:gd name="T1" fmla="*/ 0 h 5"/>
                <a:gd name="T2" fmla="*/ 0 w 2"/>
                <a:gd name="T3" fmla="*/ 5 h 5"/>
                <a:gd name="T4" fmla="*/ 2 w 2"/>
                <a:gd name="T5" fmla="*/ 5 h 5"/>
                <a:gd name="T6" fmla="*/ 1 w 2"/>
                <a:gd name="T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5">
                  <a:moveTo>
                    <a:pt x="1" y="0"/>
                  </a:moveTo>
                  <a:cubicBezTo>
                    <a:pt x="0" y="2"/>
                    <a:pt x="0" y="4"/>
                    <a:pt x="0" y="5"/>
                  </a:cubicBezTo>
                  <a:cubicBezTo>
                    <a:pt x="0" y="5"/>
                    <a:pt x="1" y="5"/>
                    <a:pt x="2" y="5"/>
                  </a:cubicBezTo>
                  <a:cubicBezTo>
                    <a:pt x="1" y="3"/>
                    <a:pt x="1" y="2"/>
                    <a:pt x="1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93" name="Freeform 7856"/>
            <p:cNvSpPr>
              <a:spLocks/>
            </p:cNvSpPr>
            <p:nvPr/>
          </p:nvSpPr>
          <p:spPr bwMode="auto">
            <a:xfrm>
              <a:off x="5125" y="2860"/>
              <a:ext cx="6" cy="14"/>
            </a:xfrm>
            <a:custGeom>
              <a:avLst/>
              <a:gdLst>
                <a:gd name="T0" fmla="*/ 5 w 5"/>
                <a:gd name="T1" fmla="*/ 4 h 12"/>
                <a:gd name="T2" fmla="*/ 1 w 5"/>
                <a:gd name="T3" fmla="*/ 0 h 12"/>
                <a:gd name="T4" fmla="*/ 1 w 5"/>
                <a:gd name="T5" fmla="*/ 0 h 12"/>
                <a:gd name="T6" fmla="*/ 0 w 5"/>
                <a:gd name="T7" fmla="*/ 5 h 12"/>
                <a:gd name="T8" fmla="*/ 3 w 5"/>
                <a:gd name="T9" fmla="*/ 12 h 12"/>
                <a:gd name="T10" fmla="*/ 5 w 5"/>
                <a:gd name="T11" fmla="*/ 5 h 12"/>
                <a:gd name="T12" fmla="*/ 5 w 5"/>
                <a:gd name="T13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12">
                  <a:moveTo>
                    <a:pt x="5" y="4"/>
                  </a:moveTo>
                  <a:cubicBezTo>
                    <a:pt x="4" y="2"/>
                    <a:pt x="2" y="1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3"/>
                    <a:pt x="0" y="5"/>
                  </a:cubicBezTo>
                  <a:cubicBezTo>
                    <a:pt x="2" y="8"/>
                    <a:pt x="3" y="11"/>
                    <a:pt x="3" y="12"/>
                  </a:cubicBezTo>
                  <a:cubicBezTo>
                    <a:pt x="3" y="11"/>
                    <a:pt x="4" y="8"/>
                    <a:pt x="5" y="5"/>
                  </a:cubicBezTo>
                  <a:cubicBezTo>
                    <a:pt x="5" y="4"/>
                    <a:pt x="5" y="4"/>
                    <a:pt x="5" y="4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94" name="Freeform 7857"/>
            <p:cNvSpPr>
              <a:spLocks/>
            </p:cNvSpPr>
            <p:nvPr/>
          </p:nvSpPr>
          <p:spPr bwMode="auto">
            <a:xfrm>
              <a:off x="5142" y="2843"/>
              <a:ext cx="1" cy="1"/>
            </a:xfrm>
            <a:custGeom>
              <a:avLst/>
              <a:gdLst>
                <a:gd name="T0" fmla="*/ 1 w 1"/>
                <a:gd name="T1" fmla="*/ 1 h 1"/>
                <a:gd name="T2" fmla="*/ 1 w 1"/>
                <a:gd name="T3" fmla="*/ 0 h 1"/>
                <a:gd name="T4" fmla="*/ 0 w 1"/>
                <a:gd name="T5" fmla="*/ 0 h 1"/>
                <a:gd name="T6" fmla="*/ 0 w 1"/>
                <a:gd name="T7" fmla="*/ 1 h 1"/>
                <a:gd name="T8" fmla="*/ 1 w 1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1" y="1"/>
                    <a:pt x="1" y="1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1" y="1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95" name="Freeform 7858"/>
            <p:cNvSpPr>
              <a:spLocks/>
            </p:cNvSpPr>
            <p:nvPr/>
          </p:nvSpPr>
          <p:spPr bwMode="auto">
            <a:xfrm>
              <a:off x="5127" y="2860"/>
              <a:ext cx="4" cy="4"/>
            </a:xfrm>
            <a:custGeom>
              <a:avLst/>
              <a:gdLst>
                <a:gd name="T0" fmla="*/ 3 w 3"/>
                <a:gd name="T1" fmla="*/ 4 h 4"/>
                <a:gd name="T2" fmla="*/ 3 w 3"/>
                <a:gd name="T3" fmla="*/ 0 h 4"/>
                <a:gd name="T4" fmla="*/ 0 w 3"/>
                <a:gd name="T5" fmla="*/ 0 h 4"/>
                <a:gd name="T6" fmla="*/ 3 w 3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4">
                  <a:moveTo>
                    <a:pt x="3" y="4"/>
                  </a:moveTo>
                  <a:cubicBezTo>
                    <a:pt x="3" y="2"/>
                    <a:pt x="3" y="1"/>
                    <a:pt x="3" y="0"/>
                  </a:cubicBezTo>
                  <a:cubicBezTo>
                    <a:pt x="2" y="0"/>
                    <a:pt x="1" y="0"/>
                    <a:pt x="0" y="0"/>
                  </a:cubicBezTo>
                  <a:cubicBezTo>
                    <a:pt x="1" y="1"/>
                    <a:pt x="3" y="3"/>
                    <a:pt x="3" y="4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96" name="Freeform 7859"/>
            <p:cNvSpPr>
              <a:spLocks/>
            </p:cNvSpPr>
            <p:nvPr/>
          </p:nvSpPr>
          <p:spPr bwMode="auto">
            <a:xfrm>
              <a:off x="5077" y="2852"/>
              <a:ext cx="3" cy="4"/>
            </a:xfrm>
            <a:custGeom>
              <a:avLst/>
              <a:gdLst>
                <a:gd name="T0" fmla="*/ 2 w 2"/>
                <a:gd name="T1" fmla="*/ 3 h 3"/>
                <a:gd name="T2" fmla="*/ 2 w 2"/>
                <a:gd name="T3" fmla="*/ 3 h 3"/>
                <a:gd name="T4" fmla="*/ 2 w 2"/>
                <a:gd name="T5" fmla="*/ 2 h 3"/>
                <a:gd name="T6" fmla="*/ 0 w 2"/>
                <a:gd name="T7" fmla="*/ 1 h 3"/>
                <a:gd name="T8" fmla="*/ 0 w 2"/>
                <a:gd name="T9" fmla="*/ 0 h 3"/>
                <a:gd name="T10" fmla="*/ 2 w 2"/>
                <a:gd name="T11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3">
                  <a:moveTo>
                    <a:pt x="2" y="3"/>
                  </a:moveTo>
                  <a:cubicBezTo>
                    <a:pt x="2" y="3"/>
                    <a:pt x="2" y="3"/>
                    <a:pt x="2" y="3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1" y="2"/>
                    <a:pt x="1" y="2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1" y="1"/>
                    <a:pt x="1" y="2"/>
                    <a:pt x="2" y="3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97" name="Freeform 7860"/>
            <p:cNvSpPr>
              <a:spLocks/>
            </p:cNvSpPr>
            <p:nvPr/>
          </p:nvSpPr>
          <p:spPr bwMode="auto">
            <a:xfrm>
              <a:off x="5083" y="2830"/>
              <a:ext cx="2" cy="0"/>
            </a:xfrm>
            <a:custGeom>
              <a:avLst/>
              <a:gdLst>
                <a:gd name="T0" fmla="*/ 0 w 1"/>
                <a:gd name="T1" fmla="*/ 0 w 1"/>
                <a:gd name="T2" fmla="*/ 1 w 1"/>
                <a:gd name="T3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98" name="Freeform 7861"/>
            <p:cNvSpPr>
              <a:spLocks/>
            </p:cNvSpPr>
            <p:nvPr/>
          </p:nvSpPr>
          <p:spPr bwMode="auto">
            <a:xfrm>
              <a:off x="5079" y="2809"/>
              <a:ext cx="6" cy="6"/>
            </a:xfrm>
            <a:custGeom>
              <a:avLst/>
              <a:gdLst>
                <a:gd name="T0" fmla="*/ 0 w 5"/>
                <a:gd name="T1" fmla="*/ 0 h 5"/>
                <a:gd name="T2" fmla="*/ 3 w 5"/>
                <a:gd name="T3" fmla="*/ 5 h 5"/>
                <a:gd name="T4" fmla="*/ 5 w 5"/>
                <a:gd name="T5" fmla="*/ 5 h 5"/>
                <a:gd name="T6" fmla="*/ 0 w 5"/>
                <a:gd name="T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5">
                  <a:moveTo>
                    <a:pt x="0" y="0"/>
                  </a:moveTo>
                  <a:cubicBezTo>
                    <a:pt x="2" y="1"/>
                    <a:pt x="3" y="3"/>
                    <a:pt x="3" y="5"/>
                  </a:cubicBezTo>
                  <a:cubicBezTo>
                    <a:pt x="4" y="5"/>
                    <a:pt x="4" y="5"/>
                    <a:pt x="5" y="5"/>
                  </a:cubicBezTo>
                  <a:cubicBezTo>
                    <a:pt x="3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99" name="Freeform 7862"/>
            <p:cNvSpPr>
              <a:spLocks/>
            </p:cNvSpPr>
            <p:nvPr/>
          </p:nvSpPr>
          <p:spPr bwMode="auto">
            <a:xfrm>
              <a:off x="5083" y="2816"/>
              <a:ext cx="4" cy="8"/>
            </a:xfrm>
            <a:custGeom>
              <a:avLst/>
              <a:gdLst>
                <a:gd name="T0" fmla="*/ 3 w 3"/>
                <a:gd name="T1" fmla="*/ 7 h 7"/>
                <a:gd name="T2" fmla="*/ 1 w 3"/>
                <a:gd name="T3" fmla="*/ 0 h 7"/>
                <a:gd name="T4" fmla="*/ 0 w 3"/>
                <a:gd name="T5" fmla="*/ 0 h 7"/>
                <a:gd name="T6" fmla="*/ 0 w 3"/>
                <a:gd name="T7" fmla="*/ 7 h 7"/>
                <a:gd name="T8" fmla="*/ 3 w 3"/>
                <a:gd name="T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7">
                  <a:moveTo>
                    <a:pt x="3" y="7"/>
                  </a:moveTo>
                  <a:cubicBezTo>
                    <a:pt x="2" y="4"/>
                    <a:pt x="2" y="2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0" y="4"/>
                    <a:pt x="0" y="7"/>
                  </a:cubicBezTo>
                  <a:cubicBezTo>
                    <a:pt x="1" y="7"/>
                    <a:pt x="2" y="7"/>
                    <a:pt x="3" y="7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00" name="Freeform 7863"/>
            <p:cNvSpPr>
              <a:spLocks/>
            </p:cNvSpPr>
            <p:nvPr/>
          </p:nvSpPr>
          <p:spPr bwMode="auto">
            <a:xfrm>
              <a:off x="5083" y="2832"/>
              <a:ext cx="4" cy="9"/>
            </a:xfrm>
            <a:custGeom>
              <a:avLst/>
              <a:gdLst>
                <a:gd name="T0" fmla="*/ 3 w 3"/>
                <a:gd name="T1" fmla="*/ 5 h 8"/>
                <a:gd name="T2" fmla="*/ 2 w 3"/>
                <a:gd name="T3" fmla="*/ 8 h 8"/>
                <a:gd name="T4" fmla="*/ 0 w 3"/>
                <a:gd name="T5" fmla="*/ 1 h 8"/>
                <a:gd name="T6" fmla="*/ 0 w 3"/>
                <a:gd name="T7" fmla="*/ 0 h 8"/>
                <a:gd name="T8" fmla="*/ 1 w 3"/>
                <a:gd name="T9" fmla="*/ 0 h 8"/>
                <a:gd name="T10" fmla="*/ 3 w 3"/>
                <a:gd name="T11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8">
                  <a:moveTo>
                    <a:pt x="3" y="5"/>
                  </a:moveTo>
                  <a:cubicBezTo>
                    <a:pt x="3" y="6"/>
                    <a:pt x="3" y="7"/>
                    <a:pt x="2" y="8"/>
                  </a:cubicBezTo>
                  <a:cubicBezTo>
                    <a:pt x="2" y="8"/>
                    <a:pt x="1" y="5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2" y="1"/>
                    <a:pt x="3" y="3"/>
                    <a:pt x="3" y="5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01" name="Freeform 7864"/>
            <p:cNvSpPr>
              <a:spLocks/>
            </p:cNvSpPr>
            <p:nvPr/>
          </p:nvSpPr>
          <p:spPr bwMode="auto">
            <a:xfrm>
              <a:off x="5074" y="2863"/>
              <a:ext cx="6" cy="11"/>
            </a:xfrm>
            <a:custGeom>
              <a:avLst/>
              <a:gdLst>
                <a:gd name="T0" fmla="*/ 5 w 5"/>
                <a:gd name="T1" fmla="*/ 0 h 9"/>
                <a:gd name="T2" fmla="*/ 3 w 5"/>
                <a:gd name="T3" fmla="*/ 9 h 9"/>
                <a:gd name="T4" fmla="*/ 0 w 5"/>
                <a:gd name="T5" fmla="*/ 9 h 9"/>
                <a:gd name="T6" fmla="*/ 5 w 5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9">
                  <a:moveTo>
                    <a:pt x="5" y="0"/>
                  </a:moveTo>
                  <a:cubicBezTo>
                    <a:pt x="5" y="3"/>
                    <a:pt x="4" y="6"/>
                    <a:pt x="3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2" y="4"/>
                    <a:pt x="5" y="0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02" name="Freeform 7865"/>
            <p:cNvSpPr>
              <a:spLocks/>
            </p:cNvSpPr>
            <p:nvPr/>
          </p:nvSpPr>
          <p:spPr bwMode="auto">
            <a:xfrm>
              <a:off x="5080" y="2856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03" name="Freeform 7866"/>
            <p:cNvSpPr>
              <a:spLocks/>
            </p:cNvSpPr>
            <p:nvPr/>
          </p:nvSpPr>
          <p:spPr bwMode="auto">
            <a:xfrm>
              <a:off x="5087" y="2830"/>
              <a:ext cx="0" cy="2"/>
            </a:xfrm>
            <a:custGeom>
              <a:avLst/>
              <a:gdLst>
                <a:gd name="T0" fmla="*/ 0 h 1"/>
                <a:gd name="T1" fmla="*/ 0 h 1"/>
                <a:gd name="T2" fmla="*/ 1 h 1"/>
                <a:gd name="T3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04" name="Freeform 7867"/>
            <p:cNvSpPr>
              <a:spLocks/>
            </p:cNvSpPr>
            <p:nvPr/>
          </p:nvSpPr>
          <p:spPr bwMode="auto">
            <a:xfrm>
              <a:off x="5075" y="2857"/>
              <a:ext cx="4" cy="4"/>
            </a:xfrm>
            <a:custGeom>
              <a:avLst/>
              <a:gdLst>
                <a:gd name="T0" fmla="*/ 3 w 3"/>
                <a:gd name="T1" fmla="*/ 1 h 3"/>
                <a:gd name="T2" fmla="*/ 3 w 3"/>
                <a:gd name="T3" fmla="*/ 1 h 3"/>
                <a:gd name="T4" fmla="*/ 0 w 3"/>
                <a:gd name="T5" fmla="*/ 3 h 3"/>
                <a:gd name="T6" fmla="*/ 1 w 3"/>
                <a:gd name="T7" fmla="*/ 0 h 3"/>
                <a:gd name="T8" fmla="*/ 3 w 3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3" y="1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1" y="2"/>
                    <a:pt x="0" y="3"/>
                  </a:cubicBezTo>
                  <a:cubicBezTo>
                    <a:pt x="0" y="3"/>
                    <a:pt x="0" y="2"/>
                    <a:pt x="1" y="0"/>
                  </a:cubicBezTo>
                  <a:cubicBezTo>
                    <a:pt x="1" y="0"/>
                    <a:pt x="2" y="0"/>
                    <a:pt x="3" y="1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05" name="Freeform 7868"/>
            <p:cNvSpPr>
              <a:spLocks/>
            </p:cNvSpPr>
            <p:nvPr/>
          </p:nvSpPr>
          <p:spPr bwMode="auto">
            <a:xfrm>
              <a:off x="5083" y="2824"/>
              <a:ext cx="4" cy="6"/>
            </a:xfrm>
            <a:custGeom>
              <a:avLst/>
              <a:gdLst>
                <a:gd name="T0" fmla="*/ 2 w 3"/>
                <a:gd name="T1" fmla="*/ 5 h 5"/>
                <a:gd name="T2" fmla="*/ 3 w 3"/>
                <a:gd name="T3" fmla="*/ 5 h 5"/>
                <a:gd name="T4" fmla="*/ 3 w 3"/>
                <a:gd name="T5" fmla="*/ 2 h 5"/>
                <a:gd name="T6" fmla="*/ 2 w 3"/>
                <a:gd name="T7" fmla="*/ 0 h 5"/>
                <a:gd name="T8" fmla="*/ 3 w 3"/>
                <a:gd name="T9" fmla="*/ 1 h 5"/>
                <a:gd name="T10" fmla="*/ 3 w 3"/>
                <a:gd name="T11" fmla="*/ 0 h 5"/>
                <a:gd name="T12" fmla="*/ 0 w 3"/>
                <a:gd name="T13" fmla="*/ 0 h 5"/>
                <a:gd name="T14" fmla="*/ 0 w 3"/>
                <a:gd name="T15" fmla="*/ 3 h 5"/>
                <a:gd name="T16" fmla="*/ 2 w 3"/>
                <a:gd name="T1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" h="5">
                  <a:moveTo>
                    <a:pt x="2" y="5"/>
                  </a:moveTo>
                  <a:cubicBezTo>
                    <a:pt x="3" y="5"/>
                    <a:pt x="3" y="5"/>
                    <a:pt x="3" y="5"/>
                  </a:cubicBezTo>
                  <a:cubicBezTo>
                    <a:pt x="3" y="4"/>
                    <a:pt x="3" y="3"/>
                    <a:pt x="3" y="2"/>
                  </a:cubicBezTo>
                  <a:cubicBezTo>
                    <a:pt x="2" y="1"/>
                    <a:pt x="2" y="0"/>
                    <a:pt x="2" y="0"/>
                  </a:cubicBezTo>
                  <a:cubicBezTo>
                    <a:pt x="2" y="0"/>
                    <a:pt x="3" y="1"/>
                    <a:pt x="3" y="1"/>
                  </a:cubicBezTo>
                  <a:cubicBezTo>
                    <a:pt x="3" y="1"/>
                    <a:pt x="3" y="1"/>
                    <a:pt x="3" y="0"/>
                  </a:cubicBezTo>
                  <a:cubicBezTo>
                    <a:pt x="2" y="0"/>
                    <a:pt x="1" y="0"/>
                    <a:pt x="0" y="0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1" y="3"/>
                    <a:pt x="2" y="4"/>
                    <a:pt x="2" y="5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06" name="Freeform 7869"/>
            <p:cNvSpPr>
              <a:spLocks/>
            </p:cNvSpPr>
            <p:nvPr/>
          </p:nvSpPr>
          <p:spPr bwMode="auto">
            <a:xfrm>
              <a:off x="5077" y="2854"/>
              <a:ext cx="0" cy="2"/>
            </a:xfrm>
            <a:custGeom>
              <a:avLst/>
              <a:gdLst>
                <a:gd name="T0" fmla="*/ 2 h 2"/>
                <a:gd name="T1" fmla="*/ 1 h 2"/>
                <a:gd name="T2" fmla="*/ 0 h 2"/>
                <a:gd name="T3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cubicBezTo>
                    <a:pt x="0" y="2"/>
                    <a:pt x="0" y="2"/>
                    <a:pt x="0" y="1"/>
                  </a:cubicBezTo>
                  <a:cubicBezTo>
                    <a:pt x="0" y="1"/>
                    <a:pt x="0" y="1"/>
                    <a:pt x="0" y="0"/>
                  </a:cubicBezTo>
                  <a:cubicBezTo>
                    <a:pt x="0" y="1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07" name="Freeform 7870"/>
            <p:cNvSpPr>
              <a:spLocks/>
            </p:cNvSpPr>
            <p:nvPr/>
          </p:nvSpPr>
          <p:spPr bwMode="auto">
            <a:xfrm>
              <a:off x="5086" y="2830"/>
              <a:ext cx="1" cy="0"/>
            </a:xfrm>
            <a:custGeom>
              <a:avLst/>
              <a:gdLst>
                <a:gd name="T0" fmla="*/ 1 w 1"/>
                <a:gd name="T1" fmla="*/ 1 w 1"/>
                <a:gd name="T2" fmla="*/ 0 w 1"/>
                <a:gd name="T3" fmla="*/ 1 w 1"/>
                <a:gd name="T4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08" name="Freeform 7871"/>
            <p:cNvSpPr>
              <a:spLocks/>
            </p:cNvSpPr>
            <p:nvPr/>
          </p:nvSpPr>
          <p:spPr bwMode="auto">
            <a:xfrm>
              <a:off x="5083" y="2830"/>
              <a:ext cx="2" cy="2"/>
            </a:xfrm>
            <a:custGeom>
              <a:avLst/>
              <a:gdLst>
                <a:gd name="T0" fmla="*/ 1 w 1"/>
                <a:gd name="T1" fmla="*/ 0 h 1"/>
                <a:gd name="T2" fmla="*/ 0 w 1"/>
                <a:gd name="T3" fmla="*/ 0 h 1"/>
                <a:gd name="T4" fmla="*/ 0 w 1"/>
                <a:gd name="T5" fmla="*/ 1 h 1"/>
                <a:gd name="T6" fmla="*/ 1 w 1"/>
                <a:gd name="T7" fmla="*/ 1 h 1"/>
                <a:gd name="T8" fmla="*/ 1 w 1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09" name="Freeform 7872"/>
            <p:cNvSpPr>
              <a:spLocks/>
            </p:cNvSpPr>
            <p:nvPr/>
          </p:nvSpPr>
          <p:spPr bwMode="auto">
            <a:xfrm>
              <a:off x="5074" y="2832"/>
              <a:ext cx="3" cy="1"/>
            </a:xfrm>
            <a:custGeom>
              <a:avLst/>
              <a:gdLst>
                <a:gd name="T0" fmla="*/ 3 w 3"/>
                <a:gd name="T1" fmla="*/ 1 h 1"/>
                <a:gd name="T2" fmla="*/ 0 w 3"/>
                <a:gd name="T3" fmla="*/ 1 h 1"/>
                <a:gd name="T4" fmla="*/ 0 w 3"/>
                <a:gd name="T5" fmla="*/ 1 h 1"/>
                <a:gd name="T6" fmla="*/ 3 w 3"/>
                <a:gd name="T7" fmla="*/ 0 h 1"/>
                <a:gd name="T8" fmla="*/ 3 w 3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1">
                  <a:moveTo>
                    <a:pt x="3" y="1"/>
                  </a:moveTo>
                  <a:cubicBezTo>
                    <a:pt x="2" y="1"/>
                    <a:pt x="1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3" y="0"/>
                    <a:pt x="3" y="1"/>
                    <a:pt x="3" y="1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10" name="Freeform 7873"/>
            <p:cNvSpPr>
              <a:spLocks/>
            </p:cNvSpPr>
            <p:nvPr/>
          </p:nvSpPr>
          <p:spPr bwMode="auto">
            <a:xfrm>
              <a:off x="5077" y="2856"/>
              <a:ext cx="3" cy="2"/>
            </a:xfrm>
            <a:custGeom>
              <a:avLst/>
              <a:gdLst>
                <a:gd name="T0" fmla="*/ 2 w 2"/>
                <a:gd name="T1" fmla="*/ 1 h 2"/>
                <a:gd name="T2" fmla="*/ 1 w 2"/>
                <a:gd name="T3" fmla="*/ 2 h 2"/>
                <a:gd name="T4" fmla="*/ 1 w 2"/>
                <a:gd name="T5" fmla="*/ 2 h 2"/>
                <a:gd name="T6" fmla="*/ 0 w 2"/>
                <a:gd name="T7" fmla="*/ 0 h 2"/>
                <a:gd name="T8" fmla="*/ 2 w 2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2" y="1"/>
                  </a:moveTo>
                  <a:cubicBezTo>
                    <a:pt x="2" y="1"/>
                    <a:pt x="1" y="1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0" y="0"/>
                    <a:pt x="0" y="0"/>
                  </a:cubicBezTo>
                  <a:cubicBezTo>
                    <a:pt x="1" y="0"/>
                    <a:pt x="1" y="0"/>
                    <a:pt x="2" y="1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11" name="Freeform 7874"/>
            <p:cNvSpPr>
              <a:spLocks/>
            </p:cNvSpPr>
            <p:nvPr/>
          </p:nvSpPr>
          <p:spPr bwMode="auto">
            <a:xfrm>
              <a:off x="5076" y="2855"/>
              <a:ext cx="3" cy="3"/>
            </a:xfrm>
            <a:custGeom>
              <a:avLst/>
              <a:gdLst>
                <a:gd name="T0" fmla="*/ 2 w 2"/>
                <a:gd name="T1" fmla="*/ 3 h 3"/>
                <a:gd name="T2" fmla="*/ 0 w 2"/>
                <a:gd name="T3" fmla="*/ 2 h 3"/>
                <a:gd name="T4" fmla="*/ 1 w 2"/>
                <a:gd name="T5" fmla="*/ 0 h 3"/>
                <a:gd name="T6" fmla="*/ 1 w 2"/>
                <a:gd name="T7" fmla="*/ 1 h 3"/>
                <a:gd name="T8" fmla="*/ 2 w 2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3">
                  <a:moveTo>
                    <a:pt x="2" y="3"/>
                  </a:move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2" y="2"/>
                    <a:pt x="2" y="3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12" name="Freeform 7875"/>
            <p:cNvSpPr>
              <a:spLocks/>
            </p:cNvSpPr>
            <p:nvPr/>
          </p:nvSpPr>
          <p:spPr bwMode="auto">
            <a:xfrm>
              <a:off x="5171" y="2823"/>
              <a:ext cx="6" cy="16"/>
            </a:xfrm>
            <a:custGeom>
              <a:avLst/>
              <a:gdLst>
                <a:gd name="T0" fmla="*/ 1 w 5"/>
                <a:gd name="T1" fmla="*/ 11 h 13"/>
                <a:gd name="T2" fmla="*/ 5 w 5"/>
                <a:gd name="T3" fmla="*/ 13 h 13"/>
                <a:gd name="T4" fmla="*/ 1 w 5"/>
                <a:gd name="T5" fmla="*/ 0 h 13"/>
                <a:gd name="T6" fmla="*/ 0 w 5"/>
                <a:gd name="T7" fmla="*/ 3 h 13"/>
                <a:gd name="T8" fmla="*/ 0 w 5"/>
                <a:gd name="T9" fmla="*/ 5 h 13"/>
                <a:gd name="T10" fmla="*/ 1 w 5"/>
                <a:gd name="T11" fmla="*/ 1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13">
                  <a:moveTo>
                    <a:pt x="1" y="11"/>
                  </a:moveTo>
                  <a:cubicBezTo>
                    <a:pt x="3" y="12"/>
                    <a:pt x="4" y="13"/>
                    <a:pt x="5" y="13"/>
                  </a:cubicBezTo>
                  <a:cubicBezTo>
                    <a:pt x="4" y="8"/>
                    <a:pt x="2" y="3"/>
                    <a:pt x="1" y="0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0" y="3"/>
                    <a:pt x="0" y="4"/>
                    <a:pt x="0" y="5"/>
                  </a:cubicBezTo>
                  <a:cubicBezTo>
                    <a:pt x="0" y="6"/>
                    <a:pt x="1" y="9"/>
                    <a:pt x="1" y="11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13" name="Freeform 7876"/>
            <p:cNvSpPr>
              <a:spLocks/>
            </p:cNvSpPr>
            <p:nvPr/>
          </p:nvSpPr>
          <p:spPr bwMode="auto">
            <a:xfrm>
              <a:off x="5166" y="2852"/>
              <a:ext cx="1" cy="4"/>
            </a:xfrm>
            <a:custGeom>
              <a:avLst/>
              <a:gdLst>
                <a:gd name="T0" fmla="*/ 1 w 1"/>
                <a:gd name="T1" fmla="*/ 0 h 3"/>
                <a:gd name="T2" fmla="*/ 0 w 1"/>
                <a:gd name="T3" fmla="*/ 0 h 3"/>
                <a:gd name="T4" fmla="*/ 0 w 1"/>
                <a:gd name="T5" fmla="*/ 3 h 3"/>
                <a:gd name="T6" fmla="*/ 1 w 1"/>
                <a:gd name="T7" fmla="*/ 3 h 3"/>
                <a:gd name="T8" fmla="*/ 1 w 1"/>
                <a:gd name="T9" fmla="*/ 1 h 3"/>
                <a:gd name="T10" fmla="*/ 1 w 1"/>
                <a:gd name="T11" fmla="*/ 1 h 3"/>
                <a:gd name="T12" fmla="*/ 1 w 1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" h="3">
                  <a:moveTo>
                    <a:pt x="1" y="0"/>
                  </a:moveTo>
                  <a:cubicBezTo>
                    <a:pt x="1" y="0"/>
                    <a:pt x="0" y="0"/>
                    <a:pt x="0" y="0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2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14" name="Freeform 7877"/>
            <p:cNvSpPr>
              <a:spLocks/>
            </p:cNvSpPr>
            <p:nvPr/>
          </p:nvSpPr>
          <p:spPr bwMode="auto">
            <a:xfrm>
              <a:off x="5167" y="2854"/>
              <a:ext cx="2" cy="0"/>
            </a:xfrm>
            <a:custGeom>
              <a:avLst/>
              <a:gdLst>
                <a:gd name="T0" fmla="*/ 0 w 1"/>
                <a:gd name="T1" fmla="*/ 1 w 1"/>
                <a:gd name="T2" fmla="*/ 0 w 1"/>
                <a:gd name="T3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15" name="Freeform 7878"/>
            <p:cNvSpPr>
              <a:spLocks/>
            </p:cNvSpPr>
            <p:nvPr/>
          </p:nvSpPr>
          <p:spPr bwMode="auto">
            <a:xfrm>
              <a:off x="5175" y="2857"/>
              <a:ext cx="1" cy="4"/>
            </a:xfrm>
            <a:custGeom>
              <a:avLst/>
              <a:gdLst>
                <a:gd name="T0" fmla="*/ 0 w 1"/>
                <a:gd name="T1" fmla="*/ 3 h 3"/>
                <a:gd name="T2" fmla="*/ 1 w 1"/>
                <a:gd name="T3" fmla="*/ 2 h 3"/>
                <a:gd name="T4" fmla="*/ 0 w 1"/>
                <a:gd name="T5" fmla="*/ 0 h 3"/>
                <a:gd name="T6" fmla="*/ 0 w 1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3">
                  <a:moveTo>
                    <a:pt x="0" y="3"/>
                  </a:moveTo>
                  <a:cubicBezTo>
                    <a:pt x="0" y="3"/>
                    <a:pt x="1" y="3"/>
                    <a:pt x="1" y="2"/>
                  </a:cubicBezTo>
                  <a:cubicBezTo>
                    <a:pt x="1" y="1"/>
                    <a:pt x="1" y="1"/>
                    <a:pt x="0" y="0"/>
                  </a:cubicBezTo>
                  <a:cubicBezTo>
                    <a:pt x="0" y="1"/>
                    <a:pt x="0" y="2"/>
                    <a:pt x="0" y="3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16" name="Freeform 7879"/>
            <p:cNvSpPr>
              <a:spLocks/>
            </p:cNvSpPr>
            <p:nvPr/>
          </p:nvSpPr>
          <p:spPr bwMode="auto">
            <a:xfrm>
              <a:off x="5155" y="2804"/>
              <a:ext cx="16" cy="19"/>
            </a:xfrm>
            <a:custGeom>
              <a:avLst/>
              <a:gdLst>
                <a:gd name="T0" fmla="*/ 0 w 13"/>
                <a:gd name="T1" fmla="*/ 1 h 16"/>
                <a:gd name="T2" fmla="*/ 12 w 13"/>
                <a:gd name="T3" fmla="*/ 16 h 16"/>
                <a:gd name="T4" fmla="*/ 13 w 13"/>
                <a:gd name="T5" fmla="*/ 14 h 16"/>
                <a:gd name="T6" fmla="*/ 0 w 13"/>
                <a:gd name="T7" fmla="*/ 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16">
                  <a:moveTo>
                    <a:pt x="0" y="1"/>
                  </a:moveTo>
                  <a:cubicBezTo>
                    <a:pt x="6" y="4"/>
                    <a:pt x="10" y="10"/>
                    <a:pt x="12" y="16"/>
                  </a:cubicBezTo>
                  <a:cubicBezTo>
                    <a:pt x="12" y="16"/>
                    <a:pt x="13" y="15"/>
                    <a:pt x="13" y="14"/>
                  </a:cubicBezTo>
                  <a:cubicBezTo>
                    <a:pt x="8" y="2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17" name="Freeform 7880"/>
            <p:cNvSpPr>
              <a:spLocks/>
            </p:cNvSpPr>
            <p:nvPr/>
          </p:nvSpPr>
          <p:spPr bwMode="auto">
            <a:xfrm>
              <a:off x="5172" y="2779"/>
              <a:ext cx="25" cy="81"/>
            </a:xfrm>
            <a:custGeom>
              <a:avLst/>
              <a:gdLst>
                <a:gd name="T0" fmla="*/ 11 w 20"/>
                <a:gd name="T1" fmla="*/ 22 h 66"/>
                <a:gd name="T2" fmla="*/ 4 w 20"/>
                <a:gd name="T3" fmla="*/ 62 h 66"/>
                <a:gd name="T4" fmla="*/ 4 w 20"/>
                <a:gd name="T5" fmla="*/ 49 h 66"/>
                <a:gd name="T6" fmla="*/ 0 w 20"/>
                <a:gd name="T7" fmla="*/ 47 h 66"/>
                <a:gd name="T8" fmla="*/ 2 w 20"/>
                <a:gd name="T9" fmla="*/ 64 h 66"/>
                <a:gd name="T10" fmla="*/ 3 w 20"/>
                <a:gd name="T11" fmla="*/ 66 h 66"/>
                <a:gd name="T12" fmla="*/ 11 w 20"/>
                <a:gd name="T13" fmla="*/ 60 h 66"/>
                <a:gd name="T14" fmla="*/ 5 w 20"/>
                <a:gd name="T15" fmla="*/ 0 h 66"/>
                <a:gd name="T16" fmla="*/ 11 w 20"/>
                <a:gd name="T17" fmla="*/ 22 h 66"/>
                <a:gd name="T18" fmla="*/ 13 w 20"/>
                <a:gd name="T19" fmla="*/ 22 h 66"/>
                <a:gd name="T20" fmla="*/ 11 w 20"/>
                <a:gd name="T21" fmla="*/ 22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66">
                  <a:moveTo>
                    <a:pt x="11" y="22"/>
                  </a:moveTo>
                  <a:cubicBezTo>
                    <a:pt x="11" y="40"/>
                    <a:pt x="4" y="62"/>
                    <a:pt x="4" y="62"/>
                  </a:cubicBezTo>
                  <a:cubicBezTo>
                    <a:pt x="4" y="57"/>
                    <a:pt x="4" y="53"/>
                    <a:pt x="4" y="49"/>
                  </a:cubicBezTo>
                  <a:cubicBezTo>
                    <a:pt x="2" y="48"/>
                    <a:pt x="1" y="48"/>
                    <a:pt x="0" y="47"/>
                  </a:cubicBezTo>
                  <a:cubicBezTo>
                    <a:pt x="1" y="52"/>
                    <a:pt x="2" y="57"/>
                    <a:pt x="2" y="64"/>
                  </a:cubicBezTo>
                  <a:cubicBezTo>
                    <a:pt x="2" y="64"/>
                    <a:pt x="3" y="65"/>
                    <a:pt x="3" y="66"/>
                  </a:cubicBezTo>
                  <a:cubicBezTo>
                    <a:pt x="5" y="64"/>
                    <a:pt x="7" y="61"/>
                    <a:pt x="11" y="60"/>
                  </a:cubicBezTo>
                  <a:cubicBezTo>
                    <a:pt x="20" y="0"/>
                    <a:pt x="5" y="0"/>
                    <a:pt x="5" y="0"/>
                  </a:cubicBezTo>
                  <a:cubicBezTo>
                    <a:pt x="10" y="4"/>
                    <a:pt x="12" y="12"/>
                    <a:pt x="11" y="22"/>
                  </a:cubicBezTo>
                  <a:cubicBezTo>
                    <a:pt x="12" y="22"/>
                    <a:pt x="12" y="22"/>
                    <a:pt x="13" y="22"/>
                  </a:cubicBezTo>
                  <a:cubicBezTo>
                    <a:pt x="13" y="22"/>
                    <a:pt x="12" y="22"/>
                    <a:pt x="11" y="22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18" name="Freeform 7881"/>
            <p:cNvSpPr>
              <a:spLocks/>
            </p:cNvSpPr>
            <p:nvPr/>
          </p:nvSpPr>
          <p:spPr bwMode="auto">
            <a:xfrm>
              <a:off x="5176" y="2852"/>
              <a:ext cx="15" cy="22"/>
            </a:xfrm>
            <a:custGeom>
              <a:avLst/>
              <a:gdLst>
                <a:gd name="T0" fmla="*/ 7 w 12"/>
                <a:gd name="T1" fmla="*/ 3 h 18"/>
                <a:gd name="T2" fmla="*/ 7 w 12"/>
                <a:gd name="T3" fmla="*/ 3 h 18"/>
                <a:gd name="T4" fmla="*/ 0 w 12"/>
                <a:gd name="T5" fmla="*/ 18 h 18"/>
                <a:gd name="T6" fmla="*/ 10 w 12"/>
                <a:gd name="T7" fmla="*/ 18 h 18"/>
                <a:gd name="T8" fmla="*/ 12 w 12"/>
                <a:gd name="T9" fmla="*/ 0 h 18"/>
                <a:gd name="T10" fmla="*/ 7 w 12"/>
                <a:gd name="T11" fmla="*/ 3 h 18"/>
                <a:gd name="T12" fmla="*/ 7 w 12"/>
                <a:gd name="T13" fmla="*/ 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8">
                  <a:moveTo>
                    <a:pt x="7" y="3"/>
                  </a:moveTo>
                  <a:cubicBezTo>
                    <a:pt x="7" y="3"/>
                    <a:pt x="7" y="3"/>
                    <a:pt x="7" y="3"/>
                  </a:cubicBezTo>
                  <a:cubicBezTo>
                    <a:pt x="5" y="5"/>
                    <a:pt x="2" y="10"/>
                    <a:pt x="0" y="18"/>
                  </a:cubicBezTo>
                  <a:cubicBezTo>
                    <a:pt x="10" y="18"/>
                    <a:pt x="10" y="18"/>
                    <a:pt x="10" y="18"/>
                  </a:cubicBezTo>
                  <a:cubicBezTo>
                    <a:pt x="11" y="11"/>
                    <a:pt x="11" y="5"/>
                    <a:pt x="12" y="0"/>
                  </a:cubicBezTo>
                  <a:cubicBezTo>
                    <a:pt x="10" y="0"/>
                    <a:pt x="9" y="1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19" name="Freeform 7882"/>
            <p:cNvSpPr>
              <a:spLocks/>
            </p:cNvSpPr>
            <p:nvPr/>
          </p:nvSpPr>
          <p:spPr bwMode="auto">
            <a:xfrm>
              <a:off x="5160" y="2849"/>
              <a:ext cx="1" cy="2"/>
            </a:xfrm>
            <a:custGeom>
              <a:avLst/>
              <a:gdLst>
                <a:gd name="T0" fmla="*/ 0 w 1"/>
                <a:gd name="T1" fmla="*/ 2 h 2"/>
                <a:gd name="T2" fmla="*/ 1 w 1"/>
                <a:gd name="T3" fmla="*/ 2 h 2"/>
                <a:gd name="T4" fmla="*/ 1 w 1"/>
                <a:gd name="T5" fmla="*/ 1 h 2"/>
                <a:gd name="T6" fmla="*/ 1 w 1"/>
                <a:gd name="T7" fmla="*/ 0 h 2"/>
                <a:gd name="T8" fmla="*/ 0 w 1"/>
                <a:gd name="T9" fmla="*/ 0 h 2"/>
                <a:gd name="T10" fmla="*/ 0 w 1"/>
                <a:gd name="T11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" h="2">
                  <a:moveTo>
                    <a:pt x="0" y="2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1"/>
                    <a:pt x="1" y="1"/>
                  </a:cubicBezTo>
                  <a:cubicBezTo>
                    <a:pt x="1" y="1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20" name="Freeform 7883"/>
            <p:cNvSpPr>
              <a:spLocks/>
            </p:cNvSpPr>
            <p:nvPr/>
          </p:nvSpPr>
          <p:spPr bwMode="auto">
            <a:xfrm>
              <a:off x="5170" y="2821"/>
              <a:ext cx="2" cy="6"/>
            </a:xfrm>
            <a:custGeom>
              <a:avLst/>
              <a:gdLst>
                <a:gd name="T0" fmla="*/ 2 w 2"/>
                <a:gd name="T1" fmla="*/ 2 h 5"/>
                <a:gd name="T2" fmla="*/ 1 w 2"/>
                <a:gd name="T3" fmla="*/ 0 h 5"/>
                <a:gd name="T4" fmla="*/ 0 w 2"/>
                <a:gd name="T5" fmla="*/ 2 h 5"/>
                <a:gd name="T6" fmla="*/ 1 w 2"/>
                <a:gd name="T7" fmla="*/ 5 h 5"/>
                <a:gd name="T8" fmla="*/ 2 w 2"/>
                <a:gd name="T9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5">
                  <a:moveTo>
                    <a:pt x="2" y="2"/>
                  </a:moveTo>
                  <a:cubicBezTo>
                    <a:pt x="2" y="1"/>
                    <a:pt x="1" y="0"/>
                    <a:pt x="1" y="0"/>
                  </a:cubicBezTo>
                  <a:cubicBezTo>
                    <a:pt x="1" y="1"/>
                    <a:pt x="0" y="2"/>
                    <a:pt x="0" y="2"/>
                  </a:cubicBezTo>
                  <a:cubicBezTo>
                    <a:pt x="0" y="3"/>
                    <a:pt x="0" y="4"/>
                    <a:pt x="1" y="5"/>
                  </a:cubicBezTo>
                  <a:cubicBezTo>
                    <a:pt x="1" y="4"/>
                    <a:pt x="1" y="3"/>
                    <a:pt x="2" y="2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21" name="Freeform 7884"/>
            <p:cNvSpPr>
              <a:spLocks/>
            </p:cNvSpPr>
            <p:nvPr/>
          </p:nvSpPr>
          <p:spPr bwMode="auto">
            <a:xfrm>
              <a:off x="5158" y="2847"/>
              <a:ext cx="2" cy="4"/>
            </a:xfrm>
            <a:custGeom>
              <a:avLst/>
              <a:gdLst>
                <a:gd name="T0" fmla="*/ 1 w 2"/>
                <a:gd name="T1" fmla="*/ 0 h 3"/>
                <a:gd name="T2" fmla="*/ 0 w 2"/>
                <a:gd name="T3" fmla="*/ 0 h 3"/>
                <a:gd name="T4" fmla="*/ 1 w 2"/>
                <a:gd name="T5" fmla="*/ 2 h 3"/>
                <a:gd name="T6" fmla="*/ 2 w 2"/>
                <a:gd name="T7" fmla="*/ 3 h 3"/>
                <a:gd name="T8" fmla="*/ 2 w 2"/>
                <a:gd name="T9" fmla="*/ 1 h 3"/>
                <a:gd name="T10" fmla="*/ 1 w 2"/>
                <a:gd name="T11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3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1" y="2"/>
                    <a:pt x="1" y="2"/>
                  </a:cubicBezTo>
                  <a:cubicBezTo>
                    <a:pt x="1" y="2"/>
                    <a:pt x="2" y="3"/>
                    <a:pt x="2" y="3"/>
                  </a:cubicBezTo>
                  <a:cubicBezTo>
                    <a:pt x="2" y="2"/>
                    <a:pt x="2" y="1"/>
                    <a:pt x="2" y="1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22" name="Freeform 7885"/>
            <p:cNvSpPr>
              <a:spLocks/>
            </p:cNvSpPr>
            <p:nvPr/>
          </p:nvSpPr>
          <p:spPr bwMode="auto">
            <a:xfrm>
              <a:off x="5150" y="2846"/>
              <a:ext cx="5" cy="3"/>
            </a:xfrm>
            <a:custGeom>
              <a:avLst/>
              <a:gdLst>
                <a:gd name="T0" fmla="*/ 1 w 4"/>
                <a:gd name="T1" fmla="*/ 0 h 2"/>
                <a:gd name="T2" fmla="*/ 0 w 4"/>
                <a:gd name="T3" fmla="*/ 0 h 2"/>
                <a:gd name="T4" fmla="*/ 0 w 4"/>
                <a:gd name="T5" fmla="*/ 0 h 2"/>
                <a:gd name="T6" fmla="*/ 0 w 4"/>
                <a:gd name="T7" fmla="*/ 1 h 2"/>
                <a:gd name="T8" fmla="*/ 3 w 4"/>
                <a:gd name="T9" fmla="*/ 2 h 2"/>
                <a:gd name="T10" fmla="*/ 4 w 4"/>
                <a:gd name="T11" fmla="*/ 1 h 2"/>
                <a:gd name="T12" fmla="*/ 2 w 4"/>
                <a:gd name="T13" fmla="*/ 0 h 2"/>
                <a:gd name="T14" fmla="*/ 2 w 4"/>
                <a:gd name="T15" fmla="*/ 0 h 2"/>
                <a:gd name="T16" fmla="*/ 2 w 4"/>
                <a:gd name="T17" fmla="*/ 1 h 2"/>
                <a:gd name="T18" fmla="*/ 2 w 4"/>
                <a:gd name="T19" fmla="*/ 0 h 2"/>
                <a:gd name="T20" fmla="*/ 0 w 4"/>
                <a:gd name="T21" fmla="*/ 0 h 2"/>
                <a:gd name="T22" fmla="*/ 0 w 4"/>
                <a:gd name="T23" fmla="*/ 0 h 2"/>
                <a:gd name="T24" fmla="*/ 1 w 4"/>
                <a:gd name="T2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" h="2">
                  <a:moveTo>
                    <a:pt x="1" y="0"/>
                  </a:move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1" y="1"/>
                    <a:pt x="2" y="1"/>
                    <a:pt x="3" y="2"/>
                  </a:cubicBezTo>
                  <a:cubicBezTo>
                    <a:pt x="3" y="1"/>
                    <a:pt x="4" y="1"/>
                    <a:pt x="4" y="1"/>
                  </a:cubicBezTo>
                  <a:cubicBezTo>
                    <a:pt x="3" y="1"/>
                    <a:pt x="3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1"/>
                  </a:cubicBezTo>
                  <a:cubicBezTo>
                    <a:pt x="1" y="1"/>
                    <a:pt x="1" y="1"/>
                    <a:pt x="2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1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23" name="Oval 7886"/>
            <p:cNvSpPr>
              <a:spLocks noChangeArrowheads="1"/>
            </p:cNvSpPr>
            <p:nvPr/>
          </p:nvSpPr>
          <p:spPr bwMode="auto">
            <a:xfrm>
              <a:off x="5161" y="2850"/>
              <a:ext cx="1" cy="1"/>
            </a:xfrm>
            <a:prstGeom prst="ellipse">
              <a:avLst/>
            </a:pr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24" name="Freeform 7887"/>
            <p:cNvSpPr>
              <a:spLocks/>
            </p:cNvSpPr>
            <p:nvPr/>
          </p:nvSpPr>
          <p:spPr bwMode="auto">
            <a:xfrm>
              <a:off x="5172" y="2836"/>
              <a:ext cx="5" cy="3"/>
            </a:xfrm>
            <a:custGeom>
              <a:avLst/>
              <a:gdLst>
                <a:gd name="T0" fmla="*/ 0 w 4"/>
                <a:gd name="T1" fmla="*/ 0 h 2"/>
                <a:gd name="T2" fmla="*/ 0 w 4"/>
                <a:gd name="T3" fmla="*/ 0 h 2"/>
                <a:gd name="T4" fmla="*/ 4 w 4"/>
                <a:gd name="T5" fmla="*/ 2 h 2"/>
                <a:gd name="T6" fmla="*/ 4 w 4"/>
                <a:gd name="T7" fmla="*/ 2 h 2"/>
                <a:gd name="T8" fmla="*/ 0 w 4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1"/>
                    <a:pt x="2" y="1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3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25" name="Freeform 7888"/>
            <p:cNvSpPr>
              <a:spLocks/>
            </p:cNvSpPr>
            <p:nvPr/>
          </p:nvSpPr>
          <p:spPr bwMode="auto">
            <a:xfrm>
              <a:off x="5150" y="2846"/>
              <a:ext cx="2" cy="0"/>
            </a:xfrm>
            <a:custGeom>
              <a:avLst/>
              <a:gdLst>
                <a:gd name="T0" fmla="*/ 0 w 1"/>
                <a:gd name="T1" fmla="*/ 0 w 1"/>
                <a:gd name="T2" fmla="*/ 1 w 1"/>
                <a:gd name="T3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26" name="Freeform 7889"/>
            <p:cNvSpPr>
              <a:spLocks/>
            </p:cNvSpPr>
            <p:nvPr/>
          </p:nvSpPr>
          <p:spPr bwMode="auto">
            <a:xfrm>
              <a:off x="5158" y="2840"/>
              <a:ext cx="5" cy="6"/>
            </a:xfrm>
            <a:custGeom>
              <a:avLst/>
              <a:gdLst>
                <a:gd name="T0" fmla="*/ 2 w 4"/>
                <a:gd name="T1" fmla="*/ 5 h 5"/>
                <a:gd name="T2" fmla="*/ 3 w 4"/>
                <a:gd name="T3" fmla="*/ 5 h 5"/>
                <a:gd name="T4" fmla="*/ 4 w 4"/>
                <a:gd name="T5" fmla="*/ 3 h 5"/>
                <a:gd name="T6" fmla="*/ 0 w 4"/>
                <a:gd name="T7" fmla="*/ 0 h 5"/>
                <a:gd name="T8" fmla="*/ 1 w 4"/>
                <a:gd name="T9" fmla="*/ 3 h 5"/>
                <a:gd name="T10" fmla="*/ 2 w 4"/>
                <a:gd name="T1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5">
                  <a:moveTo>
                    <a:pt x="2" y="5"/>
                  </a:moveTo>
                  <a:cubicBezTo>
                    <a:pt x="2" y="5"/>
                    <a:pt x="3" y="5"/>
                    <a:pt x="3" y="5"/>
                  </a:cubicBezTo>
                  <a:cubicBezTo>
                    <a:pt x="4" y="5"/>
                    <a:pt x="4" y="4"/>
                    <a:pt x="4" y="3"/>
                  </a:cubicBezTo>
                  <a:cubicBezTo>
                    <a:pt x="3" y="1"/>
                    <a:pt x="1" y="0"/>
                    <a:pt x="0" y="0"/>
                  </a:cubicBezTo>
                  <a:cubicBezTo>
                    <a:pt x="0" y="1"/>
                    <a:pt x="1" y="2"/>
                    <a:pt x="1" y="3"/>
                  </a:cubicBezTo>
                  <a:cubicBezTo>
                    <a:pt x="1" y="4"/>
                    <a:pt x="2" y="4"/>
                    <a:pt x="2" y="5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27" name="Freeform 7890"/>
            <p:cNvSpPr>
              <a:spLocks/>
            </p:cNvSpPr>
            <p:nvPr/>
          </p:nvSpPr>
          <p:spPr bwMode="auto">
            <a:xfrm>
              <a:off x="5169" y="2835"/>
              <a:ext cx="5" cy="20"/>
            </a:xfrm>
            <a:custGeom>
              <a:avLst/>
              <a:gdLst>
                <a:gd name="T0" fmla="*/ 3 w 4"/>
                <a:gd name="T1" fmla="*/ 1 h 16"/>
                <a:gd name="T2" fmla="*/ 1 w 4"/>
                <a:gd name="T3" fmla="*/ 0 h 16"/>
                <a:gd name="T4" fmla="*/ 0 w 4"/>
                <a:gd name="T5" fmla="*/ 14 h 16"/>
                <a:gd name="T6" fmla="*/ 3 w 4"/>
                <a:gd name="T7" fmla="*/ 16 h 16"/>
                <a:gd name="T8" fmla="*/ 3 w 4"/>
                <a:gd name="T9" fmla="*/ 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6">
                  <a:moveTo>
                    <a:pt x="3" y="1"/>
                  </a:moveTo>
                  <a:cubicBezTo>
                    <a:pt x="2" y="1"/>
                    <a:pt x="1" y="0"/>
                    <a:pt x="1" y="0"/>
                  </a:cubicBezTo>
                  <a:cubicBezTo>
                    <a:pt x="1" y="5"/>
                    <a:pt x="0" y="10"/>
                    <a:pt x="0" y="14"/>
                  </a:cubicBezTo>
                  <a:cubicBezTo>
                    <a:pt x="1" y="14"/>
                    <a:pt x="2" y="15"/>
                    <a:pt x="3" y="16"/>
                  </a:cubicBezTo>
                  <a:cubicBezTo>
                    <a:pt x="3" y="13"/>
                    <a:pt x="4" y="7"/>
                    <a:pt x="3" y="1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28" name="Freeform 7891"/>
            <p:cNvSpPr>
              <a:spLocks/>
            </p:cNvSpPr>
            <p:nvPr/>
          </p:nvSpPr>
          <p:spPr bwMode="auto">
            <a:xfrm>
              <a:off x="5159" y="2816"/>
              <a:ext cx="11" cy="16"/>
            </a:xfrm>
            <a:custGeom>
              <a:avLst/>
              <a:gdLst>
                <a:gd name="T0" fmla="*/ 1 w 9"/>
                <a:gd name="T1" fmla="*/ 11 h 13"/>
                <a:gd name="T2" fmla="*/ 8 w 9"/>
                <a:gd name="T3" fmla="*/ 9 h 13"/>
                <a:gd name="T4" fmla="*/ 9 w 9"/>
                <a:gd name="T5" fmla="*/ 7 h 13"/>
                <a:gd name="T6" fmla="*/ 1 w 9"/>
                <a:gd name="T7" fmla="*/ 1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3">
                  <a:moveTo>
                    <a:pt x="1" y="11"/>
                  </a:moveTo>
                  <a:cubicBezTo>
                    <a:pt x="5" y="5"/>
                    <a:pt x="7" y="5"/>
                    <a:pt x="8" y="9"/>
                  </a:cubicBezTo>
                  <a:cubicBezTo>
                    <a:pt x="8" y="8"/>
                    <a:pt x="8" y="8"/>
                    <a:pt x="9" y="7"/>
                  </a:cubicBezTo>
                  <a:cubicBezTo>
                    <a:pt x="5" y="0"/>
                    <a:pt x="0" y="13"/>
                    <a:pt x="1" y="11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29" name="Freeform 7892"/>
            <p:cNvSpPr>
              <a:spLocks/>
            </p:cNvSpPr>
            <p:nvPr/>
          </p:nvSpPr>
          <p:spPr bwMode="auto">
            <a:xfrm>
              <a:off x="5169" y="2827"/>
              <a:ext cx="3" cy="9"/>
            </a:xfrm>
            <a:custGeom>
              <a:avLst/>
              <a:gdLst>
                <a:gd name="T0" fmla="*/ 3 w 3"/>
                <a:gd name="T1" fmla="*/ 8 h 8"/>
                <a:gd name="T2" fmla="*/ 2 w 3"/>
                <a:gd name="T3" fmla="*/ 2 h 8"/>
                <a:gd name="T4" fmla="*/ 2 w 3"/>
                <a:gd name="T5" fmla="*/ 0 h 8"/>
                <a:gd name="T6" fmla="*/ 0 w 3"/>
                <a:gd name="T7" fmla="*/ 3 h 8"/>
                <a:gd name="T8" fmla="*/ 1 w 3"/>
                <a:gd name="T9" fmla="*/ 7 h 8"/>
                <a:gd name="T10" fmla="*/ 3 w 3"/>
                <a:gd name="T11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8">
                  <a:moveTo>
                    <a:pt x="3" y="8"/>
                  </a:moveTo>
                  <a:cubicBezTo>
                    <a:pt x="3" y="6"/>
                    <a:pt x="2" y="4"/>
                    <a:pt x="2" y="2"/>
                  </a:cubicBezTo>
                  <a:cubicBezTo>
                    <a:pt x="2" y="1"/>
                    <a:pt x="2" y="1"/>
                    <a:pt x="2" y="0"/>
                  </a:cubicBezTo>
                  <a:cubicBezTo>
                    <a:pt x="1" y="1"/>
                    <a:pt x="1" y="2"/>
                    <a:pt x="0" y="3"/>
                  </a:cubicBezTo>
                  <a:cubicBezTo>
                    <a:pt x="1" y="5"/>
                    <a:pt x="1" y="6"/>
                    <a:pt x="1" y="7"/>
                  </a:cubicBezTo>
                  <a:cubicBezTo>
                    <a:pt x="1" y="7"/>
                    <a:pt x="2" y="8"/>
                    <a:pt x="3" y="8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30" name="Freeform 7893"/>
            <p:cNvSpPr>
              <a:spLocks/>
            </p:cNvSpPr>
            <p:nvPr/>
          </p:nvSpPr>
          <p:spPr bwMode="auto">
            <a:xfrm>
              <a:off x="5165" y="2851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31" name="Freeform 7894"/>
            <p:cNvSpPr>
              <a:spLocks/>
            </p:cNvSpPr>
            <p:nvPr/>
          </p:nvSpPr>
          <p:spPr bwMode="auto">
            <a:xfrm>
              <a:off x="5169" y="2852"/>
              <a:ext cx="3" cy="6"/>
            </a:xfrm>
            <a:custGeom>
              <a:avLst/>
              <a:gdLst>
                <a:gd name="T0" fmla="*/ 0 w 3"/>
                <a:gd name="T1" fmla="*/ 1 h 5"/>
                <a:gd name="T2" fmla="*/ 3 w 3"/>
                <a:gd name="T3" fmla="*/ 5 h 5"/>
                <a:gd name="T4" fmla="*/ 3 w 3"/>
                <a:gd name="T5" fmla="*/ 2 h 5"/>
                <a:gd name="T6" fmla="*/ 0 w 3"/>
                <a:gd name="T7" fmla="*/ 0 h 5"/>
                <a:gd name="T8" fmla="*/ 0 w 3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5">
                  <a:moveTo>
                    <a:pt x="0" y="1"/>
                  </a:moveTo>
                  <a:cubicBezTo>
                    <a:pt x="1" y="2"/>
                    <a:pt x="2" y="3"/>
                    <a:pt x="3" y="5"/>
                  </a:cubicBezTo>
                  <a:cubicBezTo>
                    <a:pt x="3" y="5"/>
                    <a:pt x="3" y="4"/>
                    <a:pt x="3" y="2"/>
                  </a:cubicBezTo>
                  <a:cubicBezTo>
                    <a:pt x="2" y="2"/>
                    <a:pt x="1" y="1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32" name="Freeform 7895"/>
            <p:cNvSpPr>
              <a:spLocks/>
            </p:cNvSpPr>
            <p:nvPr/>
          </p:nvSpPr>
          <p:spPr bwMode="auto">
            <a:xfrm>
              <a:off x="5184" y="2851"/>
              <a:ext cx="2" cy="5"/>
            </a:xfrm>
            <a:custGeom>
              <a:avLst/>
              <a:gdLst>
                <a:gd name="T0" fmla="*/ 0 w 1"/>
                <a:gd name="T1" fmla="*/ 4 h 4"/>
                <a:gd name="T2" fmla="*/ 1 w 1"/>
                <a:gd name="T3" fmla="*/ 0 h 4"/>
                <a:gd name="T4" fmla="*/ 1 w 1"/>
                <a:gd name="T5" fmla="*/ 1 h 4"/>
                <a:gd name="T6" fmla="*/ 0 w 1"/>
                <a:gd name="T7" fmla="*/ 4 h 4"/>
                <a:gd name="T8" fmla="*/ 0 w 1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4">
                  <a:moveTo>
                    <a:pt x="0" y="4"/>
                  </a:moveTo>
                  <a:cubicBezTo>
                    <a:pt x="0" y="3"/>
                    <a:pt x="1" y="2"/>
                    <a:pt x="1" y="0"/>
                  </a:cubicBezTo>
                  <a:cubicBezTo>
                    <a:pt x="1" y="0"/>
                    <a:pt x="1" y="0"/>
                    <a:pt x="1" y="1"/>
                  </a:cubicBezTo>
                  <a:cubicBezTo>
                    <a:pt x="0" y="2"/>
                    <a:pt x="0" y="3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33" name="Freeform 7896"/>
            <p:cNvSpPr>
              <a:spLocks/>
            </p:cNvSpPr>
            <p:nvPr/>
          </p:nvSpPr>
          <p:spPr bwMode="auto">
            <a:xfrm>
              <a:off x="5164" y="2856"/>
              <a:ext cx="12" cy="18"/>
            </a:xfrm>
            <a:custGeom>
              <a:avLst/>
              <a:gdLst>
                <a:gd name="T0" fmla="*/ 3 w 10"/>
                <a:gd name="T1" fmla="*/ 1 h 15"/>
                <a:gd name="T2" fmla="*/ 3 w 10"/>
                <a:gd name="T3" fmla="*/ 2 h 15"/>
                <a:gd name="T4" fmla="*/ 3 w 10"/>
                <a:gd name="T5" fmla="*/ 1 h 15"/>
                <a:gd name="T6" fmla="*/ 1 w 10"/>
                <a:gd name="T7" fmla="*/ 0 h 15"/>
                <a:gd name="T8" fmla="*/ 0 w 10"/>
                <a:gd name="T9" fmla="*/ 14 h 15"/>
                <a:gd name="T10" fmla="*/ 1 w 10"/>
                <a:gd name="T11" fmla="*/ 15 h 15"/>
                <a:gd name="T12" fmla="*/ 10 w 10"/>
                <a:gd name="T13" fmla="*/ 15 h 15"/>
                <a:gd name="T14" fmla="*/ 3 w 10"/>
                <a:gd name="T15" fmla="*/ 1 h 15"/>
                <a:gd name="T16" fmla="*/ 3 w 10"/>
                <a:gd name="T17" fmla="*/ 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15">
                  <a:moveTo>
                    <a:pt x="3" y="1"/>
                  </a:moveTo>
                  <a:cubicBezTo>
                    <a:pt x="3" y="2"/>
                    <a:pt x="3" y="2"/>
                    <a:pt x="3" y="2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0"/>
                    <a:pt x="2" y="0"/>
                    <a:pt x="1" y="0"/>
                  </a:cubicBezTo>
                  <a:cubicBezTo>
                    <a:pt x="1" y="4"/>
                    <a:pt x="0" y="9"/>
                    <a:pt x="0" y="14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0" y="15"/>
                    <a:pt x="10" y="15"/>
                    <a:pt x="10" y="15"/>
                  </a:cubicBezTo>
                  <a:cubicBezTo>
                    <a:pt x="10" y="15"/>
                    <a:pt x="8" y="7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34" name="Freeform 7897"/>
            <p:cNvSpPr>
              <a:spLocks/>
            </p:cNvSpPr>
            <p:nvPr/>
          </p:nvSpPr>
          <p:spPr bwMode="auto">
            <a:xfrm>
              <a:off x="5160" y="2847"/>
              <a:ext cx="1" cy="2"/>
            </a:xfrm>
            <a:custGeom>
              <a:avLst/>
              <a:gdLst>
                <a:gd name="T0" fmla="*/ 1 w 1"/>
                <a:gd name="T1" fmla="*/ 1 h 1"/>
                <a:gd name="T2" fmla="*/ 1 w 1"/>
                <a:gd name="T3" fmla="*/ 1 h 1"/>
                <a:gd name="T4" fmla="*/ 1 w 1"/>
                <a:gd name="T5" fmla="*/ 0 h 1"/>
                <a:gd name="T6" fmla="*/ 0 w 1"/>
                <a:gd name="T7" fmla="*/ 0 h 1"/>
                <a:gd name="T8" fmla="*/ 1 w 1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0" y="0"/>
                    <a:pt x="0" y="1"/>
                    <a:pt x="1" y="1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35" name="Freeform 7898"/>
            <p:cNvSpPr>
              <a:spLocks/>
            </p:cNvSpPr>
            <p:nvPr/>
          </p:nvSpPr>
          <p:spPr bwMode="auto">
            <a:xfrm>
              <a:off x="5165" y="2855"/>
              <a:ext cx="1" cy="0"/>
            </a:xfrm>
            <a:custGeom>
              <a:avLst/>
              <a:gdLst>
                <a:gd name="T0" fmla="*/ 0 w 1"/>
                <a:gd name="T1" fmla="*/ 1 w 1"/>
                <a:gd name="T2" fmla="*/ 0 w 1"/>
                <a:gd name="T3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0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36" name="Freeform 7899"/>
            <p:cNvSpPr>
              <a:spLocks/>
            </p:cNvSpPr>
            <p:nvPr/>
          </p:nvSpPr>
          <p:spPr bwMode="auto">
            <a:xfrm>
              <a:off x="5163" y="2856"/>
              <a:ext cx="2" cy="17"/>
            </a:xfrm>
            <a:custGeom>
              <a:avLst/>
              <a:gdLst>
                <a:gd name="T0" fmla="*/ 2 w 2"/>
                <a:gd name="T1" fmla="*/ 0 h 14"/>
                <a:gd name="T2" fmla="*/ 0 w 2"/>
                <a:gd name="T3" fmla="*/ 0 h 14"/>
                <a:gd name="T4" fmla="*/ 1 w 2"/>
                <a:gd name="T5" fmla="*/ 4 h 14"/>
                <a:gd name="T6" fmla="*/ 1 w 2"/>
                <a:gd name="T7" fmla="*/ 7 h 14"/>
                <a:gd name="T8" fmla="*/ 1 w 2"/>
                <a:gd name="T9" fmla="*/ 5 h 14"/>
                <a:gd name="T10" fmla="*/ 1 w 2"/>
                <a:gd name="T11" fmla="*/ 14 h 14"/>
                <a:gd name="T12" fmla="*/ 2 w 2"/>
                <a:gd name="T13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14">
                  <a:moveTo>
                    <a:pt x="2" y="0"/>
                  </a:moveTo>
                  <a:cubicBezTo>
                    <a:pt x="1" y="0"/>
                    <a:pt x="1" y="0"/>
                    <a:pt x="0" y="0"/>
                  </a:cubicBezTo>
                  <a:cubicBezTo>
                    <a:pt x="0" y="1"/>
                    <a:pt x="0" y="3"/>
                    <a:pt x="1" y="4"/>
                  </a:cubicBezTo>
                  <a:cubicBezTo>
                    <a:pt x="1" y="6"/>
                    <a:pt x="1" y="7"/>
                    <a:pt x="1" y="7"/>
                  </a:cubicBezTo>
                  <a:cubicBezTo>
                    <a:pt x="1" y="6"/>
                    <a:pt x="1" y="6"/>
                    <a:pt x="1" y="5"/>
                  </a:cubicBezTo>
                  <a:cubicBezTo>
                    <a:pt x="1" y="9"/>
                    <a:pt x="1" y="13"/>
                    <a:pt x="1" y="14"/>
                  </a:cubicBezTo>
                  <a:cubicBezTo>
                    <a:pt x="1" y="9"/>
                    <a:pt x="2" y="4"/>
                    <a:pt x="2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37" name="Freeform 7900"/>
            <p:cNvSpPr>
              <a:spLocks/>
            </p:cNvSpPr>
            <p:nvPr/>
          </p:nvSpPr>
          <p:spPr bwMode="auto">
            <a:xfrm>
              <a:off x="5169" y="2824"/>
              <a:ext cx="2" cy="6"/>
            </a:xfrm>
            <a:custGeom>
              <a:avLst/>
              <a:gdLst>
                <a:gd name="T0" fmla="*/ 2 w 2"/>
                <a:gd name="T1" fmla="*/ 2 h 5"/>
                <a:gd name="T2" fmla="*/ 1 w 2"/>
                <a:gd name="T3" fmla="*/ 0 h 5"/>
                <a:gd name="T4" fmla="*/ 0 w 2"/>
                <a:gd name="T5" fmla="*/ 2 h 5"/>
                <a:gd name="T6" fmla="*/ 0 w 2"/>
                <a:gd name="T7" fmla="*/ 5 h 5"/>
                <a:gd name="T8" fmla="*/ 2 w 2"/>
                <a:gd name="T9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5">
                  <a:moveTo>
                    <a:pt x="2" y="2"/>
                  </a:moveTo>
                  <a:cubicBezTo>
                    <a:pt x="1" y="1"/>
                    <a:pt x="1" y="1"/>
                    <a:pt x="1" y="0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0" y="3"/>
                    <a:pt x="0" y="4"/>
                    <a:pt x="0" y="5"/>
                  </a:cubicBezTo>
                  <a:cubicBezTo>
                    <a:pt x="1" y="4"/>
                    <a:pt x="1" y="3"/>
                    <a:pt x="2" y="2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38" name="Freeform 7901"/>
            <p:cNvSpPr>
              <a:spLocks/>
            </p:cNvSpPr>
            <p:nvPr/>
          </p:nvSpPr>
          <p:spPr bwMode="auto">
            <a:xfrm>
              <a:off x="5154" y="2840"/>
              <a:ext cx="5" cy="4"/>
            </a:xfrm>
            <a:custGeom>
              <a:avLst/>
              <a:gdLst>
                <a:gd name="T0" fmla="*/ 4 w 4"/>
                <a:gd name="T1" fmla="*/ 3 h 3"/>
                <a:gd name="T2" fmla="*/ 3 w 4"/>
                <a:gd name="T3" fmla="*/ 0 h 3"/>
                <a:gd name="T4" fmla="*/ 0 w 4"/>
                <a:gd name="T5" fmla="*/ 3 h 3"/>
                <a:gd name="T6" fmla="*/ 0 w 4"/>
                <a:gd name="T7" fmla="*/ 3 h 3"/>
                <a:gd name="T8" fmla="*/ 4 w 4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3">
                  <a:moveTo>
                    <a:pt x="4" y="3"/>
                  </a:moveTo>
                  <a:cubicBezTo>
                    <a:pt x="4" y="2"/>
                    <a:pt x="3" y="1"/>
                    <a:pt x="3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1"/>
                    <a:pt x="3" y="2"/>
                    <a:pt x="4" y="3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39" name="Freeform 7902"/>
            <p:cNvSpPr>
              <a:spLocks/>
            </p:cNvSpPr>
            <p:nvPr/>
          </p:nvSpPr>
          <p:spPr bwMode="auto">
            <a:xfrm>
              <a:off x="5161" y="2844"/>
              <a:ext cx="3" cy="5"/>
            </a:xfrm>
            <a:custGeom>
              <a:avLst/>
              <a:gdLst>
                <a:gd name="T0" fmla="*/ 2 w 2"/>
                <a:gd name="T1" fmla="*/ 4 h 4"/>
                <a:gd name="T2" fmla="*/ 1 w 2"/>
                <a:gd name="T3" fmla="*/ 0 h 4"/>
                <a:gd name="T4" fmla="*/ 0 w 2"/>
                <a:gd name="T5" fmla="*/ 2 h 4"/>
                <a:gd name="T6" fmla="*/ 2 w 2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4">
                  <a:moveTo>
                    <a:pt x="2" y="4"/>
                  </a:moveTo>
                  <a:cubicBezTo>
                    <a:pt x="2" y="2"/>
                    <a:pt x="1" y="1"/>
                    <a:pt x="1" y="0"/>
                  </a:cubicBezTo>
                  <a:cubicBezTo>
                    <a:pt x="1" y="1"/>
                    <a:pt x="1" y="2"/>
                    <a:pt x="0" y="2"/>
                  </a:cubicBezTo>
                  <a:cubicBezTo>
                    <a:pt x="1" y="3"/>
                    <a:pt x="2" y="3"/>
                    <a:pt x="2" y="4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40" name="Freeform 7903"/>
            <p:cNvSpPr>
              <a:spLocks/>
            </p:cNvSpPr>
            <p:nvPr/>
          </p:nvSpPr>
          <p:spPr bwMode="auto">
            <a:xfrm>
              <a:off x="5161" y="2847"/>
              <a:ext cx="4" cy="4"/>
            </a:xfrm>
            <a:custGeom>
              <a:avLst/>
              <a:gdLst>
                <a:gd name="T0" fmla="*/ 3 w 3"/>
                <a:gd name="T1" fmla="*/ 3 h 3"/>
                <a:gd name="T2" fmla="*/ 3 w 3"/>
                <a:gd name="T3" fmla="*/ 3 h 3"/>
                <a:gd name="T4" fmla="*/ 3 w 3"/>
                <a:gd name="T5" fmla="*/ 3 h 3"/>
                <a:gd name="T6" fmla="*/ 3 w 3"/>
                <a:gd name="T7" fmla="*/ 2 h 3"/>
                <a:gd name="T8" fmla="*/ 0 w 3"/>
                <a:gd name="T9" fmla="*/ 0 h 3"/>
                <a:gd name="T10" fmla="*/ 0 w 3"/>
                <a:gd name="T11" fmla="*/ 1 h 3"/>
                <a:gd name="T12" fmla="*/ 3 w 3"/>
                <a:gd name="T13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">
                  <a:moveTo>
                    <a:pt x="3" y="3"/>
                  </a:move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2"/>
                    <a:pt x="3" y="2"/>
                  </a:cubicBezTo>
                  <a:cubicBezTo>
                    <a:pt x="2" y="1"/>
                    <a:pt x="1" y="1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2"/>
                    <a:pt x="2" y="2"/>
                    <a:pt x="3" y="3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41" name="Oval 7904"/>
            <p:cNvSpPr>
              <a:spLocks noChangeArrowheads="1"/>
            </p:cNvSpPr>
            <p:nvPr/>
          </p:nvSpPr>
          <p:spPr bwMode="auto">
            <a:xfrm>
              <a:off x="5153" y="2846"/>
              <a:ext cx="1" cy="1"/>
            </a:xfrm>
            <a:prstGeom prst="ellipse">
              <a:avLst/>
            </a:pr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42" name="Freeform 7905"/>
            <p:cNvSpPr>
              <a:spLocks/>
            </p:cNvSpPr>
            <p:nvPr/>
          </p:nvSpPr>
          <p:spPr bwMode="auto">
            <a:xfrm>
              <a:off x="5163" y="2854"/>
              <a:ext cx="2" cy="1"/>
            </a:xfrm>
            <a:custGeom>
              <a:avLst/>
              <a:gdLst>
                <a:gd name="T0" fmla="*/ 1 w 2"/>
                <a:gd name="T1" fmla="*/ 0 h 1"/>
                <a:gd name="T2" fmla="*/ 0 w 2"/>
                <a:gd name="T3" fmla="*/ 0 h 1"/>
                <a:gd name="T4" fmla="*/ 2 w 2"/>
                <a:gd name="T5" fmla="*/ 1 h 1"/>
                <a:gd name="T6" fmla="*/ 2 w 2"/>
                <a:gd name="T7" fmla="*/ 1 h 1"/>
                <a:gd name="T8" fmla="*/ 1 w 2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1">
                  <a:moveTo>
                    <a:pt x="1" y="0"/>
                  </a:moveTo>
                  <a:cubicBezTo>
                    <a:pt x="1" y="0"/>
                    <a:pt x="0" y="0"/>
                    <a:pt x="0" y="0"/>
                  </a:cubicBezTo>
                  <a:cubicBezTo>
                    <a:pt x="1" y="0"/>
                    <a:pt x="1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43" name="Freeform 7906"/>
            <p:cNvSpPr>
              <a:spLocks/>
            </p:cNvSpPr>
            <p:nvPr/>
          </p:nvSpPr>
          <p:spPr bwMode="auto">
            <a:xfrm>
              <a:off x="5170" y="2835"/>
              <a:ext cx="2" cy="1"/>
            </a:xfrm>
            <a:custGeom>
              <a:avLst/>
              <a:gdLst>
                <a:gd name="T0" fmla="*/ 2 w 2"/>
                <a:gd name="T1" fmla="*/ 1 h 1"/>
                <a:gd name="T2" fmla="*/ 0 w 2"/>
                <a:gd name="T3" fmla="*/ 0 h 1"/>
                <a:gd name="T4" fmla="*/ 0 w 2"/>
                <a:gd name="T5" fmla="*/ 0 h 1"/>
                <a:gd name="T6" fmla="*/ 2 w 2"/>
                <a:gd name="T7" fmla="*/ 1 h 1"/>
                <a:gd name="T8" fmla="*/ 2 w 2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1">
                  <a:moveTo>
                    <a:pt x="2" y="1"/>
                  </a:moveTo>
                  <a:cubicBezTo>
                    <a:pt x="1" y="1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1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44" name="Freeform 7907"/>
            <p:cNvSpPr>
              <a:spLocks/>
            </p:cNvSpPr>
            <p:nvPr/>
          </p:nvSpPr>
          <p:spPr bwMode="auto">
            <a:xfrm>
              <a:off x="5171" y="2829"/>
              <a:ext cx="1" cy="7"/>
            </a:xfrm>
            <a:custGeom>
              <a:avLst/>
              <a:gdLst>
                <a:gd name="T0" fmla="*/ 0 w 1"/>
                <a:gd name="T1" fmla="*/ 0 h 6"/>
                <a:gd name="T2" fmla="*/ 1 w 1"/>
                <a:gd name="T3" fmla="*/ 6 h 6"/>
                <a:gd name="T4" fmla="*/ 1 w 1"/>
                <a:gd name="T5" fmla="*/ 6 h 6"/>
                <a:gd name="T6" fmla="*/ 0 w 1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6">
                  <a:moveTo>
                    <a:pt x="0" y="0"/>
                  </a:moveTo>
                  <a:cubicBezTo>
                    <a:pt x="0" y="2"/>
                    <a:pt x="1" y="4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4"/>
                    <a:pt x="0" y="1"/>
                    <a:pt x="0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45" name="Freeform 7908"/>
            <p:cNvSpPr>
              <a:spLocks/>
            </p:cNvSpPr>
            <p:nvPr/>
          </p:nvSpPr>
          <p:spPr bwMode="auto">
            <a:xfrm>
              <a:off x="5165" y="2852"/>
              <a:ext cx="1" cy="4"/>
            </a:xfrm>
            <a:custGeom>
              <a:avLst/>
              <a:gdLst>
                <a:gd name="T0" fmla="*/ 0 w 1"/>
                <a:gd name="T1" fmla="*/ 2 h 3"/>
                <a:gd name="T2" fmla="*/ 1 w 1"/>
                <a:gd name="T3" fmla="*/ 2 h 3"/>
                <a:gd name="T4" fmla="*/ 1 w 1"/>
                <a:gd name="T5" fmla="*/ 3 h 3"/>
                <a:gd name="T6" fmla="*/ 1 w 1"/>
                <a:gd name="T7" fmla="*/ 0 h 3"/>
                <a:gd name="T8" fmla="*/ 0 w 1"/>
                <a:gd name="T9" fmla="*/ 0 h 3"/>
                <a:gd name="T10" fmla="*/ 0 w 1"/>
                <a:gd name="T11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" h="3">
                  <a:moveTo>
                    <a:pt x="0" y="2"/>
                  </a:moveTo>
                  <a:cubicBezTo>
                    <a:pt x="0" y="2"/>
                    <a:pt x="0" y="2"/>
                    <a:pt x="1" y="2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2"/>
                    <a:pt x="1" y="1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1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46" name="Freeform 7909"/>
            <p:cNvSpPr>
              <a:spLocks/>
            </p:cNvSpPr>
            <p:nvPr/>
          </p:nvSpPr>
          <p:spPr bwMode="auto">
            <a:xfrm>
              <a:off x="5161" y="2849"/>
              <a:ext cx="0" cy="1"/>
            </a:xfrm>
            <a:custGeom>
              <a:avLst/>
              <a:gdLst>
                <a:gd name="T0" fmla="*/ 0 h 1"/>
                <a:gd name="T1" fmla="*/ 0 h 1"/>
                <a:gd name="T2" fmla="*/ 1 h 1"/>
                <a:gd name="T3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47" name="Freeform 7910"/>
            <p:cNvSpPr>
              <a:spLocks/>
            </p:cNvSpPr>
            <p:nvPr/>
          </p:nvSpPr>
          <p:spPr bwMode="auto">
            <a:xfrm>
              <a:off x="5172" y="2836"/>
              <a:ext cx="3" cy="21"/>
            </a:xfrm>
            <a:custGeom>
              <a:avLst/>
              <a:gdLst>
                <a:gd name="T0" fmla="*/ 0 w 2"/>
                <a:gd name="T1" fmla="*/ 15 h 17"/>
                <a:gd name="T2" fmla="*/ 2 w 2"/>
                <a:gd name="T3" fmla="*/ 17 h 17"/>
                <a:gd name="T4" fmla="*/ 0 w 2"/>
                <a:gd name="T5" fmla="*/ 0 h 17"/>
                <a:gd name="T6" fmla="*/ 0 w 2"/>
                <a:gd name="T7" fmla="*/ 0 h 17"/>
                <a:gd name="T8" fmla="*/ 0 w 2"/>
                <a:gd name="T9" fmla="*/ 1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17">
                  <a:moveTo>
                    <a:pt x="0" y="15"/>
                  </a:moveTo>
                  <a:cubicBezTo>
                    <a:pt x="1" y="16"/>
                    <a:pt x="1" y="16"/>
                    <a:pt x="2" y="17"/>
                  </a:cubicBezTo>
                  <a:cubicBezTo>
                    <a:pt x="2" y="10"/>
                    <a:pt x="1" y="5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6"/>
                    <a:pt x="0" y="12"/>
                    <a:pt x="0" y="15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48" name="Freeform 7911"/>
            <p:cNvSpPr>
              <a:spLocks/>
            </p:cNvSpPr>
            <p:nvPr/>
          </p:nvSpPr>
          <p:spPr bwMode="auto">
            <a:xfrm>
              <a:off x="5184" y="2851"/>
              <a:ext cx="7" cy="5"/>
            </a:xfrm>
            <a:custGeom>
              <a:avLst/>
              <a:gdLst>
                <a:gd name="T0" fmla="*/ 5 w 5"/>
                <a:gd name="T1" fmla="*/ 1 h 4"/>
                <a:gd name="T2" fmla="*/ 5 w 5"/>
                <a:gd name="T3" fmla="*/ 0 h 4"/>
                <a:gd name="T4" fmla="*/ 1 w 5"/>
                <a:gd name="T5" fmla="*/ 0 h 4"/>
                <a:gd name="T6" fmla="*/ 0 w 5"/>
                <a:gd name="T7" fmla="*/ 4 h 4"/>
                <a:gd name="T8" fmla="*/ 5 w 5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4">
                  <a:moveTo>
                    <a:pt x="5" y="1"/>
                  </a:moveTo>
                  <a:cubicBezTo>
                    <a:pt x="5" y="1"/>
                    <a:pt x="5" y="1"/>
                    <a:pt x="5" y="0"/>
                  </a:cubicBezTo>
                  <a:cubicBezTo>
                    <a:pt x="4" y="0"/>
                    <a:pt x="2" y="0"/>
                    <a:pt x="1" y="0"/>
                  </a:cubicBezTo>
                  <a:cubicBezTo>
                    <a:pt x="1" y="2"/>
                    <a:pt x="0" y="3"/>
                    <a:pt x="0" y="4"/>
                  </a:cubicBezTo>
                  <a:cubicBezTo>
                    <a:pt x="2" y="2"/>
                    <a:pt x="3" y="1"/>
                    <a:pt x="5" y="1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49" name="Freeform 7912"/>
            <p:cNvSpPr>
              <a:spLocks/>
            </p:cNvSpPr>
            <p:nvPr/>
          </p:nvSpPr>
          <p:spPr bwMode="auto">
            <a:xfrm>
              <a:off x="5167" y="2852"/>
              <a:ext cx="19" cy="22"/>
            </a:xfrm>
            <a:custGeom>
              <a:avLst/>
              <a:gdLst>
                <a:gd name="T0" fmla="*/ 7 w 15"/>
                <a:gd name="T1" fmla="*/ 6 h 18"/>
                <a:gd name="T2" fmla="*/ 8 w 15"/>
                <a:gd name="T3" fmla="*/ 7 h 18"/>
                <a:gd name="T4" fmla="*/ 8 w 15"/>
                <a:gd name="T5" fmla="*/ 7 h 18"/>
                <a:gd name="T6" fmla="*/ 8 w 15"/>
                <a:gd name="T7" fmla="*/ 7 h 18"/>
                <a:gd name="T8" fmla="*/ 7 w 15"/>
                <a:gd name="T9" fmla="*/ 6 h 18"/>
                <a:gd name="T10" fmla="*/ 6 w 15"/>
                <a:gd name="T11" fmla="*/ 7 h 18"/>
                <a:gd name="T12" fmla="*/ 6 w 15"/>
                <a:gd name="T13" fmla="*/ 4 h 18"/>
                <a:gd name="T14" fmla="*/ 4 w 15"/>
                <a:gd name="T15" fmla="*/ 2 h 18"/>
                <a:gd name="T16" fmla="*/ 4 w 15"/>
                <a:gd name="T17" fmla="*/ 5 h 18"/>
                <a:gd name="T18" fmla="*/ 1 w 15"/>
                <a:gd name="T19" fmla="*/ 1 h 18"/>
                <a:gd name="T20" fmla="*/ 0 w 15"/>
                <a:gd name="T21" fmla="*/ 1 h 18"/>
                <a:gd name="T22" fmla="*/ 1 w 15"/>
                <a:gd name="T23" fmla="*/ 1 h 18"/>
                <a:gd name="T24" fmla="*/ 0 w 15"/>
                <a:gd name="T25" fmla="*/ 1 h 18"/>
                <a:gd name="T26" fmla="*/ 0 w 15"/>
                <a:gd name="T27" fmla="*/ 3 h 18"/>
                <a:gd name="T28" fmla="*/ 5 w 15"/>
                <a:gd name="T29" fmla="*/ 7 h 18"/>
                <a:gd name="T30" fmla="*/ 0 w 15"/>
                <a:gd name="T31" fmla="*/ 4 h 18"/>
                <a:gd name="T32" fmla="*/ 7 w 15"/>
                <a:gd name="T33" fmla="*/ 18 h 18"/>
                <a:gd name="T34" fmla="*/ 7 w 15"/>
                <a:gd name="T35" fmla="*/ 18 h 18"/>
                <a:gd name="T36" fmla="*/ 14 w 15"/>
                <a:gd name="T37" fmla="*/ 3 h 18"/>
                <a:gd name="T38" fmla="*/ 15 w 15"/>
                <a:gd name="T39" fmla="*/ 0 h 18"/>
                <a:gd name="T40" fmla="*/ 7 w 15"/>
                <a:gd name="T41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5" h="18">
                  <a:moveTo>
                    <a:pt x="7" y="6"/>
                  </a:moveTo>
                  <a:cubicBezTo>
                    <a:pt x="8" y="6"/>
                    <a:pt x="8" y="6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6"/>
                    <a:pt x="7" y="6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6" y="6"/>
                    <a:pt x="6" y="5"/>
                    <a:pt x="6" y="4"/>
                  </a:cubicBezTo>
                  <a:cubicBezTo>
                    <a:pt x="6" y="4"/>
                    <a:pt x="5" y="3"/>
                    <a:pt x="4" y="2"/>
                  </a:cubicBezTo>
                  <a:cubicBezTo>
                    <a:pt x="4" y="4"/>
                    <a:pt x="4" y="5"/>
                    <a:pt x="4" y="5"/>
                  </a:cubicBezTo>
                  <a:cubicBezTo>
                    <a:pt x="3" y="3"/>
                    <a:pt x="2" y="2"/>
                    <a:pt x="1" y="1"/>
                  </a:cubicBezTo>
                  <a:cubicBezTo>
                    <a:pt x="1" y="1"/>
                    <a:pt x="1" y="1"/>
                    <a:pt x="0" y="1"/>
                  </a:cubicBezTo>
                  <a:cubicBezTo>
                    <a:pt x="0" y="1"/>
                    <a:pt x="0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3" y="5"/>
                    <a:pt x="5" y="7"/>
                    <a:pt x="5" y="7"/>
                  </a:cubicBezTo>
                  <a:cubicBezTo>
                    <a:pt x="3" y="6"/>
                    <a:pt x="2" y="5"/>
                    <a:pt x="0" y="4"/>
                  </a:cubicBezTo>
                  <a:cubicBezTo>
                    <a:pt x="5" y="10"/>
                    <a:pt x="7" y="18"/>
                    <a:pt x="7" y="18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9" y="10"/>
                    <a:pt x="12" y="5"/>
                    <a:pt x="14" y="3"/>
                  </a:cubicBezTo>
                  <a:cubicBezTo>
                    <a:pt x="14" y="2"/>
                    <a:pt x="14" y="1"/>
                    <a:pt x="15" y="0"/>
                  </a:cubicBezTo>
                  <a:cubicBezTo>
                    <a:pt x="11" y="1"/>
                    <a:pt x="9" y="4"/>
                    <a:pt x="7" y="6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50" name="Freeform 7913"/>
            <p:cNvSpPr>
              <a:spLocks/>
            </p:cNvSpPr>
            <p:nvPr/>
          </p:nvSpPr>
          <p:spPr bwMode="auto">
            <a:xfrm>
              <a:off x="5164" y="2852"/>
              <a:ext cx="1" cy="3"/>
            </a:xfrm>
            <a:custGeom>
              <a:avLst/>
              <a:gdLst>
                <a:gd name="T0" fmla="*/ 1 w 1"/>
                <a:gd name="T1" fmla="*/ 2 h 2"/>
                <a:gd name="T2" fmla="*/ 1 w 1"/>
                <a:gd name="T3" fmla="*/ 0 h 2"/>
                <a:gd name="T4" fmla="*/ 0 w 1"/>
                <a:gd name="T5" fmla="*/ 1 h 2"/>
                <a:gd name="T6" fmla="*/ 1 w 1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2">
                  <a:moveTo>
                    <a:pt x="1" y="2"/>
                  </a:moveTo>
                  <a:cubicBezTo>
                    <a:pt x="1" y="1"/>
                    <a:pt x="1" y="1"/>
                    <a:pt x="1" y="0"/>
                  </a:cubicBezTo>
                  <a:cubicBezTo>
                    <a:pt x="1" y="0"/>
                    <a:pt x="0" y="1"/>
                    <a:pt x="0" y="1"/>
                  </a:cubicBezTo>
                  <a:cubicBezTo>
                    <a:pt x="0" y="1"/>
                    <a:pt x="1" y="1"/>
                    <a:pt x="1" y="2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51" name="Freeform 7914"/>
            <p:cNvSpPr>
              <a:spLocks/>
            </p:cNvSpPr>
            <p:nvPr/>
          </p:nvSpPr>
          <p:spPr bwMode="auto">
            <a:xfrm>
              <a:off x="5152" y="2846"/>
              <a:ext cx="1" cy="1"/>
            </a:xfrm>
            <a:custGeom>
              <a:avLst/>
              <a:gdLst>
                <a:gd name="T0" fmla="*/ 1 w 1"/>
                <a:gd name="T1" fmla="*/ 1 h 1"/>
                <a:gd name="T2" fmla="*/ 1 w 1"/>
                <a:gd name="T3" fmla="*/ 0 h 1"/>
                <a:gd name="T4" fmla="*/ 1 w 1"/>
                <a:gd name="T5" fmla="*/ 0 h 1"/>
                <a:gd name="T6" fmla="*/ 1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1" y="1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52" name="Freeform 7915"/>
            <p:cNvSpPr>
              <a:spLocks/>
            </p:cNvSpPr>
            <p:nvPr/>
          </p:nvSpPr>
          <p:spPr bwMode="auto">
            <a:xfrm>
              <a:off x="5161" y="2849"/>
              <a:ext cx="4" cy="2"/>
            </a:xfrm>
            <a:custGeom>
              <a:avLst/>
              <a:gdLst>
                <a:gd name="T0" fmla="*/ 0 w 3"/>
                <a:gd name="T1" fmla="*/ 2 h 2"/>
                <a:gd name="T2" fmla="*/ 3 w 3"/>
                <a:gd name="T3" fmla="*/ 2 h 2"/>
                <a:gd name="T4" fmla="*/ 0 w 3"/>
                <a:gd name="T5" fmla="*/ 0 h 2"/>
                <a:gd name="T6" fmla="*/ 0 w 3"/>
                <a:gd name="T7" fmla="*/ 1 h 2"/>
                <a:gd name="T8" fmla="*/ 0 w 3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2">
                  <a:moveTo>
                    <a:pt x="0" y="2"/>
                  </a:moveTo>
                  <a:cubicBezTo>
                    <a:pt x="1" y="2"/>
                    <a:pt x="2" y="2"/>
                    <a:pt x="3" y="2"/>
                  </a:cubicBezTo>
                  <a:cubicBezTo>
                    <a:pt x="2" y="1"/>
                    <a:pt x="1" y="1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53" name="Oval 7916"/>
            <p:cNvSpPr>
              <a:spLocks noChangeArrowheads="1"/>
            </p:cNvSpPr>
            <p:nvPr/>
          </p:nvSpPr>
          <p:spPr bwMode="auto">
            <a:xfrm>
              <a:off x="5172" y="2836"/>
              <a:ext cx="1" cy="1"/>
            </a:xfrm>
            <a:prstGeom prst="ellipse">
              <a:avLst/>
            </a:pr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54" name="Freeform 7917"/>
            <p:cNvSpPr>
              <a:spLocks/>
            </p:cNvSpPr>
            <p:nvPr/>
          </p:nvSpPr>
          <p:spPr bwMode="auto">
            <a:xfrm>
              <a:off x="5107" y="2830"/>
              <a:ext cx="3" cy="8"/>
            </a:xfrm>
            <a:custGeom>
              <a:avLst/>
              <a:gdLst>
                <a:gd name="T0" fmla="*/ 3 w 3"/>
                <a:gd name="T1" fmla="*/ 6 h 6"/>
                <a:gd name="T2" fmla="*/ 3 w 3"/>
                <a:gd name="T3" fmla="*/ 6 h 6"/>
                <a:gd name="T4" fmla="*/ 1 w 3"/>
                <a:gd name="T5" fmla="*/ 0 h 6"/>
                <a:gd name="T6" fmla="*/ 0 w 3"/>
                <a:gd name="T7" fmla="*/ 4 h 6"/>
                <a:gd name="T8" fmla="*/ 3 w 3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6">
                  <a:moveTo>
                    <a:pt x="3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2" y="4"/>
                    <a:pt x="2" y="2"/>
                    <a:pt x="1" y="0"/>
                  </a:cubicBezTo>
                  <a:cubicBezTo>
                    <a:pt x="1" y="2"/>
                    <a:pt x="0" y="3"/>
                    <a:pt x="0" y="4"/>
                  </a:cubicBezTo>
                  <a:cubicBezTo>
                    <a:pt x="1" y="5"/>
                    <a:pt x="2" y="6"/>
                    <a:pt x="3" y="6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55" name="Freeform 7918"/>
            <p:cNvSpPr>
              <a:spLocks/>
            </p:cNvSpPr>
            <p:nvPr/>
          </p:nvSpPr>
          <p:spPr bwMode="auto">
            <a:xfrm>
              <a:off x="5094" y="2829"/>
              <a:ext cx="3" cy="3"/>
            </a:xfrm>
            <a:custGeom>
              <a:avLst/>
              <a:gdLst>
                <a:gd name="T0" fmla="*/ 2 w 2"/>
                <a:gd name="T1" fmla="*/ 2 h 2"/>
                <a:gd name="T2" fmla="*/ 0 w 2"/>
                <a:gd name="T3" fmla="*/ 1 h 2"/>
                <a:gd name="T4" fmla="*/ 1 w 2"/>
                <a:gd name="T5" fmla="*/ 0 h 2"/>
                <a:gd name="T6" fmla="*/ 2 w 2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cubicBezTo>
                    <a:pt x="1" y="1"/>
                    <a:pt x="1" y="1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" y="0"/>
                    <a:pt x="1" y="1"/>
                    <a:pt x="2" y="2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56" name="Freeform 7919"/>
            <p:cNvSpPr>
              <a:spLocks/>
            </p:cNvSpPr>
            <p:nvPr/>
          </p:nvSpPr>
          <p:spPr bwMode="auto">
            <a:xfrm>
              <a:off x="5087" y="2824"/>
              <a:ext cx="5" cy="4"/>
            </a:xfrm>
            <a:custGeom>
              <a:avLst/>
              <a:gdLst>
                <a:gd name="T0" fmla="*/ 4 w 4"/>
                <a:gd name="T1" fmla="*/ 1 h 3"/>
                <a:gd name="T2" fmla="*/ 3 w 4"/>
                <a:gd name="T3" fmla="*/ 3 h 3"/>
                <a:gd name="T4" fmla="*/ 0 w 4"/>
                <a:gd name="T5" fmla="*/ 1 h 3"/>
                <a:gd name="T6" fmla="*/ 0 w 4"/>
                <a:gd name="T7" fmla="*/ 0 h 3"/>
                <a:gd name="T8" fmla="*/ 4 w 4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3">
                  <a:moveTo>
                    <a:pt x="4" y="1"/>
                  </a:moveTo>
                  <a:cubicBezTo>
                    <a:pt x="4" y="2"/>
                    <a:pt x="3" y="2"/>
                    <a:pt x="3" y="3"/>
                  </a:cubicBezTo>
                  <a:cubicBezTo>
                    <a:pt x="2" y="2"/>
                    <a:pt x="1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2" y="0"/>
                    <a:pt x="4" y="1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57" name="Freeform 7920"/>
            <p:cNvSpPr>
              <a:spLocks/>
            </p:cNvSpPr>
            <p:nvPr/>
          </p:nvSpPr>
          <p:spPr bwMode="auto">
            <a:xfrm>
              <a:off x="5116" y="2810"/>
              <a:ext cx="5" cy="5"/>
            </a:xfrm>
            <a:custGeom>
              <a:avLst/>
              <a:gdLst>
                <a:gd name="T0" fmla="*/ 0 w 4"/>
                <a:gd name="T1" fmla="*/ 3 h 4"/>
                <a:gd name="T2" fmla="*/ 1 w 4"/>
                <a:gd name="T3" fmla="*/ 4 h 4"/>
                <a:gd name="T4" fmla="*/ 4 w 4"/>
                <a:gd name="T5" fmla="*/ 1 h 4"/>
                <a:gd name="T6" fmla="*/ 3 w 4"/>
                <a:gd name="T7" fmla="*/ 0 h 4"/>
                <a:gd name="T8" fmla="*/ 0 w 4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cubicBezTo>
                    <a:pt x="0" y="3"/>
                    <a:pt x="0" y="4"/>
                    <a:pt x="1" y="4"/>
                  </a:cubicBezTo>
                  <a:cubicBezTo>
                    <a:pt x="2" y="2"/>
                    <a:pt x="3" y="1"/>
                    <a:pt x="4" y="1"/>
                  </a:cubicBezTo>
                  <a:cubicBezTo>
                    <a:pt x="4" y="1"/>
                    <a:pt x="3" y="0"/>
                    <a:pt x="3" y="0"/>
                  </a:cubicBezTo>
                  <a:cubicBezTo>
                    <a:pt x="2" y="1"/>
                    <a:pt x="1" y="2"/>
                    <a:pt x="0" y="3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58" name="Freeform 7921"/>
            <p:cNvSpPr>
              <a:spLocks/>
            </p:cNvSpPr>
            <p:nvPr/>
          </p:nvSpPr>
          <p:spPr bwMode="auto">
            <a:xfrm>
              <a:off x="5110" y="2816"/>
              <a:ext cx="5" cy="13"/>
            </a:xfrm>
            <a:custGeom>
              <a:avLst/>
              <a:gdLst>
                <a:gd name="T0" fmla="*/ 4 w 4"/>
                <a:gd name="T1" fmla="*/ 2 h 11"/>
                <a:gd name="T2" fmla="*/ 4 w 4"/>
                <a:gd name="T3" fmla="*/ 0 h 11"/>
                <a:gd name="T4" fmla="*/ 0 w 4"/>
                <a:gd name="T5" fmla="*/ 8 h 11"/>
                <a:gd name="T6" fmla="*/ 1 w 4"/>
                <a:gd name="T7" fmla="*/ 11 h 11"/>
                <a:gd name="T8" fmla="*/ 4 w 4"/>
                <a:gd name="T9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1">
                  <a:moveTo>
                    <a:pt x="4" y="2"/>
                  </a:moveTo>
                  <a:cubicBezTo>
                    <a:pt x="4" y="1"/>
                    <a:pt x="4" y="1"/>
                    <a:pt x="4" y="0"/>
                  </a:cubicBezTo>
                  <a:cubicBezTo>
                    <a:pt x="2" y="2"/>
                    <a:pt x="1" y="5"/>
                    <a:pt x="0" y="8"/>
                  </a:cubicBezTo>
                  <a:cubicBezTo>
                    <a:pt x="0" y="9"/>
                    <a:pt x="1" y="10"/>
                    <a:pt x="1" y="11"/>
                  </a:cubicBezTo>
                  <a:cubicBezTo>
                    <a:pt x="2" y="7"/>
                    <a:pt x="3" y="4"/>
                    <a:pt x="4" y="2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59" name="Freeform 7922"/>
            <p:cNvSpPr>
              <a:spLocks/>
            </p:cNvSpPr>
            <p:nvPr/>
          </p:nvSpPr>
          <p:spPr bwMode="auto">
            <a:xfrm>
              <a:off x="5098" y="2857"/>
              <a:ext cx="3" cy="4"/>
            </a:xfrm>
            <a:custGeom>
              <a:avLst/>
              <a:gdLst>
                <a:gd name="T0" fmla="*/ 0 w 2"/>
                <a:gd name="T1" fmla="*/ 0 h 3"/>
                <a:gd name="T2" fmla="*/ 0 w 2"/>
                <a:gd name="T3" fmla="*/ 3 h 3"/>
                <a:gd name="T4" fmla="*/ 2 w 2"/>
                <a:gd name="T5" fmla="*/ 2 h 3"/>
                <a:gd name="T6" fmla="*/ 1 w 2"/>
                <a:gd name="T7" fmla="*/ 0 h 3"/>
                <a:gd name="T8" fmla="*/ 0 w 2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3">
                  <a:moveTo>
                    <a:pt x="0" y="0"/>
                  </a:moveTo>
                  <a:cubicBezTo>
                    <a:pt x="0" y="1"/>
                    <a:pt x="0" y="2"/>
                    <a:pt x="0" y="3"/>
                  </a:cubicBezTo>
                  <a:cubicBezTo>
                    <a:pt x="1" y="2"/>
                    <a:pt x="1" y="2"/>
                    <a:pt x="2" y="2"/>
                  </a:cubicBezTo>
                  <a:cubicBezTo>
                    <a:pt x="1" y="1"/>
                    <a:pt x="1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60" name="Freeform 7923"/>
            <p:cNvSpPr>
              <a:spLocks/>
            </p:cNvSpPr>
            <p:nvPr/>
          </p:nvSpPr>
          <p:spPr bwMode="auto">
            <a:xfrm>
              <a:off x="5083" y="2824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61" name="Freeform 7924"/>
            <p:cNvSpPr>
              <a:spLocks/>
            </p:cNvSpPr>
            <p:nvPr/>
          </p:nvSpPr>
          <p:spPr bwMode="auto">
            <a:xfrm>
              <a:off x="5098" y="2866"/>
              <a:ext cx="9" cy="8"/>
            </a:xfrm>
            <a:custGeom>
              <a:avLst/>
              <a:gdLst>
                <a:gd name="T0" fmla="*/ 0 w 7"/>
                <a:gd name="T1" fmla="*/ 7 h 7"/>
                <a:gd name="T2" fmla="*/ 0 w 7"/>
                <a:gd name="T3" fmla="*/ 7 h 7"/>
                <a:gd name="T4" fmla="*/ 7 w 7"/>
                <a:gd name="T5" fmla="*/ 7 h 7"/>
                <a:gd name="T6" fmla="*/ 4 w 7"/>
                <a:gd name="T7" fmla="*/ 0 h 7"/>
                <a:gd name="T8" fmla="*/ 0 w 7"/>
                <a:gd name="T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0" y="7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6" y="4"/>
                    <a:pt x="5" y="2"/>
                    <a:pt x="4" y="0"/>
                  </a:cubicBezTo>
                  <a:cubicBezTo>
                    <a:pt x="2" y="3"/>
                    <a:pt x="0" y="6"/>
                    <a:pt x="0" y="7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62" name="Freeform 7925"/>
            <p:cNvSpPr>
              <a:spLocks/>
            </p:cNvSpPr>
            <p:nvPr/>
          </p:nvSpPr>
          <p:spPr bwMode="auto">
            <a:xfrm>
              <a:off x="5102" y="2847"/>
              <a:ext cx="6" cy="9"/>
            </a:xfrm>
            <a:custGeom>
              <a:avLst/>
              <a:gdLst>
                <a:gd name="T0" fmla="*/ 5 w 5"/>
                <a:gd name="T1" fmla="*/ 0 h 7"/>
                <a:gd name="T2" fmla="*/ 1 w 5"/>
                <a:gd name="T3" fmla="*/ 4 h 7"/>
                <a:gd name="T4" fmla="*/ 1 w 5"/>
                <a:gd name="T5" fmla="*/ 4 h 7"/>
                <a:gd name="T6" fmla="*/ 1 w 5"/>
                <a:gd name="T7" fmla="*/ 4 h 7"/>
                <a:gd name="T8" fmla="*/ 0 w 5"/>
                <a:gd name="T9" fmla="*/ 4 h 7"/>
                <a:gd name="T10" fmla="*/ 4 w 5"/>
                <a:gd name="T11" fmla="*/ 7 h 7"/>
                <a:gd name="T12" fmla="*/ 5 w 5"/>
                <a:gd name="T13" fmla="*/ 6 h 7"/>
                <a:gd name="T14" fmla="*/ 5 w 5"/>
                <a:gd name="T1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" h="7">
                  <a:moveTo>
                    <a:pt x="5" y="0"/>
                  </a:moveTo>
                  <a:cubicBezTo>
                    <a:pt x="4" y="1"/>
                    <a:pt x="2" y="2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0" y="4"/>
                    <a:pt x="0" y="4"/>
                  </a:cubicBezTo>
                  <a:cubicBezTo>
                    <a:pt x="2" y="5"/>
                    <a:pt x="3" y="6"/>
                    <a:pt x="4" y="7"/>
                  </a:cubicBezTo>
                  <a:cubicBezTo>
                    <a:pt x="4" y="6"/>
                    <a:pt x="4" y="6"/>
                    <a:pt x="5" y="6"/>
                  </a:cubicBezTo>
                  <a:cubicBezTo>
                    <a:pt x="5" y="4"/>
                    <a:pt x="5" y="2"/>
                    <a:pt x="5" y="0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63" name="Freeform 7926"/>
            <p:cNvSpPr>
              <a:spLocks/>
            </p:cNvSpPr>
            <p:nvPr/>
          </p:nvSpPr>
          <p:spPr bwMode="auto">
            <a:xfrm>
              <a:off x="5104" y="2838"/>
              <a:ext cx="5" cy="9"/>
            </a:xfrm>
            <a:custGeom>
              <a:avLst/>
              <a:gdLst>
                <a:gd name="T0" fmla="*/ 4 w 4"/>
                <a:gd name="T1" fmla="*/ 6 h 8"/>
                <a:gd name="T2" fmla="*/ 4 w 4"/>
                <a:gd name="T3" fmla="*/ 3 h 8"/>
                <a:gd name="T4" fmla="*/ 2 w 4"/>
                <a:gd name="T5" fmla="*/ 0 h 8"/>
                <a:gd name="T6" fmla="*/ 0 w 4"/>
                <a:gd name="T7" fmla="*/ 8 h 8"/>
                <a:gd name="T8" fmla="*/ 4 w 4"/>
                <a:gd name="T9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8">
                  <a:moveTo>
                    <a:pt x="4" y="6"/>
                  </a:moveTo>
                  <a:cubicBezTo>
                    <a:pt x="4" y="5"/>
                    <a:pt x="4" y="4"/>
                    <a:pt x="4" y="3"/>
                  </a:cubicBezTo>
                  <a:cubicBezTo>
                    <a:pt x="3" y="2"/>
                    <a:pt x="2" y="1"/>
                    <a:pt x="2" y="0"/>
                  </a:cubicBezTo>
                  <a:cubicBezTo>
                    <a:pt x="1" y="3"/>
                    <a:pt x="0" y="6"/>
                    <a:pt x="0" y="8"/>
                  </a:cubicBezTo>
                  <a:cubicBezTo>
                    <a:pt x="1" y="7"/>
                    <a:pt x="2" y="6"/>
                    <a:pt x="4" y="6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64" name="Freeform 7927"/>
            <p:cNvSpPr>
              <a:spLocks/>
            </p:cNvSpPr>
            <p:nvPr/>
          </p:nvSpPr>
          <p:spPr bwMode="auto">
            <a:xfrm>
              <a:off x="5094" y="2832"/>
              <a:ext cx="8" cy="19"/>
            </a:xfrm>
            <a:custGeom>
              <a:avLst/>
              <a:gdLst>
                <a:gd name="T0" fmla="*/ 6 w 6"/>
                <a:gd name="T1" fmla="*/ 14 h 16"/>
                <a:gd name="T2" fmla="*/ 4 w 6"/>
                <a:gd name="T3" fmla="*/ 16 h 16"/>
                <a:gd name="T4" fmla="*/ 3 w 6"/>
                <a:gd name="T5" fmla="*/ 16 h 16"/>
                <a:gd name="T6" fmla="*/ 0 w 6"/>
                <a:gd name="T7" fmla="*/ 1 h 16"/>
                <a:gd name="T8" fmla="*/ 0 w 6"/>
                <a:gd name="T9" fmla="*/ 0 h 16"/>
                <a:gd name="T10" fmla="*/ 2 w 6"/>
                <a:gd name="T11" fmla="*/ 1 h 16"/>
                <a:gd name="T12" fmla="*/ 6 w 6"/>
                <a:gd name="T13" fmla="*/ 1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16">
                  <a:moveTo>
                    <a:pt x="6" y="14"/>
                  </a:moveTo>
                  <a:cubicBezTo>
                    <a:pt x="5" y="15"/>
                    <a:pt x="5" y="15"/>
                    <a:pt x="4" y="16"/>
                  </a:cubicBezTo>
                  <a:cubicBezTo>
                    <a:pt x="4" y="16"/>
                    <a:pt x="3" y="16"/>
                    <a:pt x="3" y="16"/>
                  </a:cubicBezTo>
                  <a:cubicBezTo>
                    <a:pt x="3" y="10"/>
                    <a:pt x="2" y="5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2" y="1"/>
                  </a:cubicBezTo>
                  <a:cubicBezTo>
                    <a:pt x="4" y="4"/>
                    <a:pt x="5" y="8"/>
                    <a:pt x="6" y="14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65" name="Freeform 7928"/>
            <p:cNvSpPr>
              <a:spLocks/>
            </p:cNvSpPr>
            <p:nvPr/>
          </p:nvSpPr>
          <p:spPr bwMode="auto">
            <a:xfrm>
              <a:off x="5120" y="2809"/>
              <a:ext cx="5" cy="2"/>
            </a:xfrm>
            <a:custGeom>
              <a:avLst/>
              <a:gdLst>
                <a:gd name="T0" fmla="*/ 4 w 4"/>
                <a:gd name="T1" fmla="*/ 1 h 2"/>
                <a:gd name="T2" fmla="*/ 0 w 4"/>
                <a:gd name="T3" fmla="*/ 1 h 2"/>
                <a:gd name="T4" fmla="*/ 1 w 4"/>
                <a:gd name="T5" fmla="*/ 2 h 2"/>
                <a:gd name="T6" fmla="*/ 4 w 4"/>
                <a:gd name="T7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2">
                  <a:moveTo>
                    <a:pt x="4" y="1"/>
                  </a:moveTo>
                  <a:cubicBezTo>
                    <a:pt x="3" y="0"/>
                    <a:pt x="1" y="0"/>
                    <a:pt x="0" y="1"/>
                  </a:cubicBezTo>
                  <a:cubicBezTo>
                    <a:pt x="0" y="1"/>
                    <a:pt x="1" y="2"/>
                    <a:pt x="1" y="2"/>
                  </a:cubicBezTo>
                  <a:cubicBezTo>
                    <a:pt x="3" y="0"/>
                    <a:pt x="4" y="1"/>
                    <a:pt x="4" y="1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66" name="Freeform 7929"/>
            <p:cNvSpPr>
              <a:spLocks/>
            </p:cNvSpPr>
            <p:nvPr/>
          </p:nvSpPr>
          <p:spPr bwMode="auto">
            <a:xfrm>
              <a:off x="5098" y="2851"/>
              <a:ext cx="1" cy="1"/>
            </a:xfrm>
            <a:custGeom>
              <a:avLst/>
              <a:gdLst>
                <a:gd name="T0" fmla="*/ 0 w 1"/>
                <a:gd name="T1" fmla="*/ 1 h 1"/>
                <a:gd name="T2" fmla="*/ 1 w 1"/>
                <a:gd name="T3" fmla="*/ 0 h 1"/>
                <a:gd name="T4" fmla="*/ 0 w 1"/>
                <a:gd name="T5" fmla="*/ 0 h 1"/>
                <a:gd name="T6" fmla="*/ 0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1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67" name="Freeform 7930"/>
            <p:cNvSpPr>
              <a:spLocks/>
            </p:cNvSpPr>
            <p:nvPr/>
          </p:nvSpPr>
          <p:spPr bwMode="auto">
            <a:xfrm>
              <a:off x="5108" y="2826"/>
              <a:ext cx="3" cy="12"/>
            </a:xfrm>
            <a:custGeom>
              <a:avLst/>
              <a:gdLst>
                <a:gd name="T0" fmla="*/ 2 w 3"/>
                <a:gd name="T1" fmla="*/ 6 h 10"/>
                <a:gd name="T2" fmla="*/ 1 w 3"/>
                <a:gd name="T3" fmla="*/ 7 h 10"/>
                <a:gd name="T4" fmla="*/ 2 w 3"/>
                <a:gd name="T5" fmla="*/ 6 h 10"/>
                <a:gd name="T6" fmla="*/ 3 w 3"/>
                <a:gd name="T7" fmla="*/ 3 h 10"/>
                <a:gd name="T8" fmla="*/ 2 w 3"/>
                <a:gd name="T9" fmla="*/ 0 h 10"/>
                <a:gd name="T10" fmla="*/ 0 w 3"/>
                <a:gd name="T11" fmla="*/ 4 h 10"/>
                <a:gd name="T12" fmla="*/ 2 w 3"/>
                <a:gd name="T13" fmla="*/ 10 h 10"/>
                <a:gd name="T14" fmla="*/ 2 w 3"/>
                <a:gd name="T15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" h="10">
                  <a:moveTo>
                    <a:pt x="2" y="6"/>
                  </a:moveTo>
                  <a:cubicBezTo>
                    <a:pt x="2" y="7"/>
                    <a:pt x="2" y="7"/>
                    <a:pt x="1" y="7"/>
                  </a:cubicBezTo>
                  <a:cubicBezTo>
                    <a:pt x="1" y="7"/>
                    <a:pt x="2" y="7"/>
                    <a:pt x="2" y="6"/>
                  </a:cubicBezTo>
                  <a:cubicBezTo>
                    <a:pt x="3" y="5"/>
                    <a:pt x="3" y="4"/>
                    <a:pt x="3" y="3"/>
                  </a:cubicBezTo>
                  <a:cubicBezTo>
                    <a:pt x="3" y="2"/>
                    <a:pt x="2" y="1"/>
                    <a:pt x="2" y="0"/>
                  </a:cubicBezTo>
                  <a:cubicBezTo>
                    <a:pt x="1" y="2"/>
                    <a:pt x="1" y="3"/>
                    <a:pt x="0" y="4"/>
                  </a:cubicBezTo>
                  <a:cubicBezTo>
                    <a:pt x="1" y="6"/>
                    <a:pt x="1" y="8"/>
                    <a:pt x="2" y="10"/>
                  </a:cubicBezTo>
                  <a:cubicBezTo>
                    <a:pt x="2" y="9"/>
                    <a:pt x="2" y="7"/>
                    <a:pt x="2" y="6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68" name="Freeform 7931"/>
            <p:cNvSpPr>
              <a:spLocks/>
            </p:cNvSpPr>
            <p:nvPr/>
          </p:nvSpPr>
          <p:spPr bwMode="auto">
            <a:xfrm>
              <a:off x="5115" y="2813"/>
              <a:ext cx="3" cy="5"/>
            </a:xfrm>
            <a:custGeom>
              <a:avLst/>
              <a:gdLst>
                <a:gd name="T0" fmla="*/ 2 w 2"/>
                <a:gd name="T1" fmla="*/ 1 h 4"/>
                <a:gd name="T2" fmla="*/ 1 w 2"/>
                <a:gd name="T3" fmla="*/ 0 h 4"/>
                <a:gd name="T4" fmla="*/ 0 w 2"/>
                <a:gd name="T5" fmla="*/ 2 h 4"/>
                <a:gd name="T6" fmla="*/ 0 w 2"/>
                <a:gd name="T7" fmla="*/ 4 h 4"/>
                <a:gd name="T8" fmla="*/ 2 w 2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2" y="1"/>
                  </a:moveTo>
                  <a:cubicBezTo>
                    <a:pt x="1" y="1"/>
                    <a:pt x="1" y="0"/>
                    <a:pt x="1" y="0"/>
                  </a:cubicBezTo>
                  <a:cubicBezTo>
                    <a:pt x="1" y="1"/>
                    <a:pt x="0" y="1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3"/>
                    <a:pt x="1" y="2"/>
                    <a:pt x="2" y="1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69" name="Freeform 7932"/>
            <p:cNvSpPr>
              <a:spLocks/>
            </p:cNvSpPr>
            <p:nvPr/>
          </p:nvSpPr>
          <p:spPr bwMode="auto">
            <a:xfrm>
              <a:off x="5101" y="2852"/>
              <a:ext cx="6" cy="5"/>
            </a:xfrm>
            <a:custGeom>
              <a:avLst/>
              <a:gdLst>
                <a:gd name="T0" fmla="*/ 5 w 5"/>
                <a:gd name="T1" fmla="*/ 3 h 4"/>
                <a:gd name="T2" fmla="*/ 2 w 5"/>
                <a:gd name="T3" fmla="*/ 4 h 4"/>
                <a:gd name="T4" fmla="*/ 0 w 5"/>
                <a:gd name="T5" fmla="*/ 3 h 4"/>
                <a:gd name="T6" fmla="*/ 1 w 5"/>
                <a:gd name="T7" fmla="*/ 0 h 4"/>
                <a:gd name="T8" fmla="*/ 5 w 5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4">
                  <a:moveTo>
                    <a:pt x="5" y="3"/>
                  </a:moveTo>
                  <a:cubicBezTo>
                    <a:pt x="4" y="3"/>
                    <a:pt x="3" y="3"/>
                    <a:pt x="2" y="4"/>
                  </a:cubicBezTo>
                  <a:cubicBezTo>
                    <a:pt x="1" y="4"/>
                    <a:pt x="0" y="3"/>
                    <a:pt x="0" y="3"/>
                  </a:cubicBezTo>
                  <a:cubicBezTo>
                    <a:pt x="0" y="2"/>
                    <a:pt x="1" y="1"/>
                    <a:pt x="1" y="0"/>
                  </a:cubicBezTo>
                  <a:cubicBezTo>
                    <a:pt x="3" y="1"/>
                    <a:pt x="4" y="2"/>
                    <a:pt x="5" y="3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70" name="Freeform 7933"/>
            <p:cNvSpPr>
              <a:spLocks/>
            </p:cNvSpPr>
            <p:nvPr/>
          </p:nvSpPr>
          <p:spPr bwMode="auto">
            <a:xfrm>
              <a:off x="5103" y="2862"/>
              <a:ext cx="4" cy="12"/>
            </a:xfrm>
            <a:custGeom>
              <a:avLst/>
              <a:gdLst>
                <a:gd name="T0" fmla="*/ 0 w 3"/>
                <a:gd name="T1" fmla="*/ 3 h 10"/>
                <a:gd name="T2" fmla="*/ 3 w 3"/>
                <a:gd name="T3" fmla="*/ 10 h 10"/>
                <a:gd name="T4" fmla="*/ 3 w 3"/>
                <a:gd name="T5" fmla="*/ 10 h 10"/>
                <a:gd name="T6" fmla="*/ 3 w 3"/>
                <a:gd name="T7" fmla="*/ 0 h 10"/>
                <a:gd name="T8" fmla="*/ 0 w 3"/>
                <a:gd name="T9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10">
                  <a:moveTo>
                    <a:pt x="0" y="3"/>
                  </a:moveTo>
                  <a:cubicBezTo>
                    <a:pt x="1" y="5"/>
                    <a:pt x="2" y="7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6"/>
                    <a:pt x="3" y="3"/>
                    <a:pt x="3" y="0"/>
                  </a:cubicBezTo>
                  <a:cubicBezTo>
                    <a:pt x="2" y="1"/>
                    <a:pt x="1" y="2"/>
                    <a:pt x="0" y="3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71" name="Freeform 7934"/>
            <p:cNvSpPr>
              <a:spLocks/>
            </p:cNvSpPr>
            <p:nvPr/>
          </p:nvSpPr>
          <p:spPr bwMode="auto">
            <a:xfrm>
              <a:off x="5099" y="2856"/>
              <a:ext cx="3" cy="4"/>
            </a:xfrm>
            <a:custGeom>
              <a:avLst/>
              <a:gdLst>
                <a:gd name="T0" fmla="*/ 2 w 2"/>
                <a:gd name="T1" fmla="*/ 1 h 3"/>
                <a:gd name="T2" fmla="*/ 1 w 2"/>
                <a:gd name="T3" fmla="*/ 3 h 3"/>
                <a:gd name="T4" fmla="*/ 0 w 2"/>
                <a:gd name="T5" fmla="*/ 1 h 3"/>
                <a:gd name="T6" fmla="*/ 0 w 2"/>
                <a:gd name="T7" fmla="*/ 0 h 3"/>
                <a:gd name="T8" fmla="*/ 2 w 2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3">
                  <a:moveTo>
                    <a:pt x="2" y="1"/>
                  </a:moveTo>
                  <a:cubicBezTo>
                    <a:pt x="2" y="2"/>
                    <a:pt x="1" y="2"/>
                    <a:pt x="1" y="3"/>
                  </a:cubicBezTo>
                  <a:cubicBezTo>
                    <a:pt x="0" y="2"/>
                    <a:pt x="0" y="1"/>
                    <a:pt x="0" y="1"/>
                  </a:cubicBezTo>
                  <a:cubicBezTo>
                    <a:pt x="0" y="1"/>
                    <a:pt x="0" y="1"/>
                    <a:pt x="0" y="0"/>
                  </a:cubicBezTo>
                  <a:cubicBezTo>
                    <a:pt x="1" y="1"/>
                    <a:pt x="2" y="1"/>
                    <a:pt x="2" y="1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72" name="Freeform 7935"/>
            <p:cNvSpPr>
              <a:spLocks/>
            </p:cNvSpPr>
            <p:nvPr/>
          </p:nvSpPr>
          <p:spPr bwMode="auto">
            <a:xfrm>
              <a:off x="5107" y="2835"/>
              <a:ext cx="3" cy="6"/>
            </a:xfrm>
            <a:custGeom>
              <a:avLst/>
              <a:gdLst>
                <a:gd name="T0" fmla="*/ 2 w 3"/>
                <a:gd name="T1" fmla="*/ 5 h 5"/>
                <a:gd name="T2" fmla="*/ 3 w 3"/>
                <a:gd name="T3" fmla="*/ 2 h 5"/>
                <a:gd name="T4" fmla="*/ 0 w 3"/>
                <a:gd name="T5" fmla="*/ 0 h 5"/>
                <a:gd name="T6" fmla="*/ 0 w 3"/>
                <a:gd name="T7" fmla="*/ 2 h 5"/>
                <a:gd name="T8" fmla="*/ 2 w 3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5">
                  <a:moveTo>
                    <a:pt x="2" y="5"/>
                  </a:moveTo>
                  <a:cubicBezTo>
                    <a:pt x="2" y="4"/>
                    <a:pt x="2" y="3"/>
                    <a:pt x="3" y="2"/>
                  </a:cubicBezTo>
                  <a:cubicBezTo>
                    <a:pt x="2" y="2"/>
                    <a:pt x="1" y="1"/>
                    <a:pt x="0" y="0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1" y="4"/>
                    <a:pt x="2" y="5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73" name="Freeform 7936"/>
            <p:cNvSpPr>
              <a:spLocks/>
            </p:cNvSpPr>
            <p:nvPr/>
          </p:nvSpPr>
          <p:spPr bwMode="auto">
            <a:xfrm>
              <a:off x="5094" y="2830"/>
              <a:ext cx="3" cy="3"/>
            </a:xfrm>
            <a:custGeom>
              <a:avLst/>
              <a:gdLst>
                <a:gd name="T0" fmla="*/ 2 w 2"/>
                <a:gd name="T1" fmla="*/ 2 h 2"/>
                <a:gd name="T2" fmla="*/ 0 w 2"/>
                <a:gd name="T3" fmla="*/ 1 h 2"/>
                <a:gd name="T4" fmla="*/ 0 w 2"/>
                <a:gd name="T5" fmla="*/ 0 h 2"/>
                <a:gd name="T6" fmla="*/ 2 w 2"/>
                <a:gd name="T7" fmla="*/ 1 h 2"/>
                <a:gd name="T8" fmla="*/ 2 w 2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cubicBezTo>
                    <a:pt x="1" y="1"/>
                    <a:pt x="1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1" y="0"/>
                    <a:pt x="1" y="0"/>
                    <a:pt x="2" y="1"/>
                  </a:cubicBezTo>
                  <a:cubicBezTo>
                    <a:pt x="2" y="1"/>
                    <a:pt x="2" y="1"/>
                    <a:pt x="2" y="2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74" name="Freeform 7937"/>
            <p:cNvSpPr>
              <a:spLocks/>
            </p:cNvSpPr>
            <p:nvPr/>
          </p:nvSpPr>
          <p:spPr bwMode="auto">
            <a:xfrm>
              <a:off x="5083" y="2824"/>
              <a:ext cx="4" cy="0"/>
            </a:xfrm>
            <a:custGeom>
              <a:avLst/>
              <a:gdLst>
                <a:gd name="T0" fmla="*/ 3 w 3"/>
                <a:gd name="T1" fmla="*/ 0 w 3"/>
                <a:gd name="T2" fmla="*/ 0 w 3"/>
                <a:gd name="T3" fmla="*/ 3 w 3"/>
                <a:gd name="T4" fmla="*/ 3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3">
                  <a:moveTo>
                    <a:pt x="3" y="0"/>
                  </a:moveTo>
                  <a:cubicBezTo>
                    <a:pt x="2" y="0"/>
                    <a:pt x="1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75" name="Freeform 7938"/>
            <p:cNvSpPr>
              <a:spLocks/>
            </p:cNvSpPr>
            <p:nvPr/>
          </p:nvSpPr>
          <p:spPr bwMode="auto">
            <a:xfrm>
              <a:off x="5108" y="2854"/>
              <a:ext cx="2" cy="4"/>
            </a:xfrm>
            <a:custGeom>
              <a:avLst/>
              <a:gdLst>
                <a:gd name="T0" fmla="*/ 0 w 2"/>
                <a:gd name="T1" fmla="*/ 2 h 4"/>
                <a:gd name="T2" fmla="*/ 2 w 2"/>
                <a:gd name="T3" fmla="*/ 4 h 4"/>
                <a:gd name="T4" fmla="*/ 2 w 2"/>
                <a:gd name="T5" fmla="*/ 0 h 4"/>
                <a:gd name="T6" fmla="*/ 0 w 2"/>
                <a:gd name="T7" fmla="*/ 1 h 4"/>
                <a:gd name="T8" fmla="*/ 0 w 2"/>
                <a:gd name="T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0" y="2"/>
                  </a:moveTo>
                  <a:cubicBezTo>
                    <a:pt x="1" y="3"/>
                    <a:pt x="2" y="4"/>
                    <a:pt x="2" y="4"/>
                  </a:cubicBezTo>
                  <a:cubicBezTo>
                    <a:pt x="2" y="3"/>
                    <a:pt x="2" y="2"/>
                    <a:pt x="2" y="0"/>
                  </a:cubicBezTo>
                  <a:cubicBezTo>
                    <a:pt x="1" y="1"/>
                    <a:pt x="1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76" name="Freeform 7939"/>
            <p:cNvSpPr>
              <a:spLocks/>
            </p:cNvSpPr>
            <p:nvPr/>
          </p:nvSpPr>
          <p:spPr bwMode="auto">
            <a:xfrm>
              <a:off x="5092" y="2858"/>
              <a:ext cx="7" cy="16"/>
            </a:xfrm>
            <a:custGeom>
              <a:avLst/>
              <a:gdLst>
                <a:gd name="T0" fmla="*/ 5 w 6"/>
                <a:gd name="T1" fmla="*/ 2 h 13"/>
                <a:gd name="T2" fmla="*/ 5 w 6"/>
                <a:gd name="T3" fmla="*/ 2 h 13"/>
                <a:gd name="T4" fmla="*/ 5 w 6"/>
                <a:gd name="T5" fmla="*/ 0 h 13"/>
                <a:gd name="T6" fmla="*/ 4 w 6"/>
                <a:gd name="T7" fmla="*/ 2 h 13"/>
                <a:gd name="T8" fmla="*/ 4 w 6"/>
                <a:gd name="T9" fmla="*/ 5 h 13"/>
                <a:gd name="T10" fmla="*/ 4 w 6"/>
                <a:gd name="T11" fmla="*/ 3 h 13"/>
                <a:gd name="T12" fmla="*/ 0 w 6"/>
                <a:gd name="T13" fmla="*/ 13 h 13"/>
                <a:gd name="T14" fmla="*/ 5 w 6"/>
                <a:gd name="T15" fmla="*/ 13 h 13"/>
                <a:gd name="T16" fmla="*/ 5 w 6"/>
                <a:gd name="T17" fmla="*/ 13 h 13"/>
                <a:gd name="T18" fmla="*/ 5 w 6"/>
                <a:gd name="T19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" h="13">
                  <a:moveTo>
                    <a:pt x="5" y="2"/>
                  </a:moveTo>
                  <a:cubicBezTo>
                    <a:pt x="5" y="2"/>
                    <a:pt x="5" y="2"/>
                    <a:pt x="5" y="2"/>
                  </a:cubicBezTo>
                  <a:cubicBezTo>
                    <a:pt x="5" y="2"/>
                    <a:pt x="5" y="1"/>
                    <a:pt x="5" y="0"/>
                  </a:cubicBezTo>
                  <a:cubicBezTo>
                    <a:pt x="5" y="1"/>
                    <a:pt x="4" y="2"/>
                    <a:pt x="4" y="2"/>
                  </a:cubicBezTo>
                  <a:cubicBezTo>
                    <a:pt x="4" y="4"/>
                    <a:pt x="4" y="5"/>
                    <a:pt x="4" y="5"/>
                  </a:cubicBezTo>
                  <a:cubicBezTo>
                    <a:pt x="4" y="4"/>
                    <a:pt x="4" y="3"/>
                    <a:pt x="4" y="3"/>
                  </a:cubicBezTo>
                  <a:cubicBezTo>
                    <a:pt x="1" y="8"/>
                    <a:pt x="0" y="13"/>
                    <a:pt x="0" y="1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12"/>
                    <a:pt x="6" y="7"/>
                    <a:pt x="5" y="2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77" name="Freeform 7940"/>
            <p:cNvSpPr>
              <a:spLocks/>
            </p:cNvSpPr>
            <p:nvPr/>
          </p:nvSpPr>
          <p:spPr bwMode="auto">
            <a:xfrm>
              <a:off x="5090" y="2830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78" name="Freeform 7941"/>
            <p:cNvSpPr>
              <a:spLocks/>
            </p:cNvSpPr>
            <p:nvPr/>
          </p:nvSpPr>
          <p:spPr bwMode="auto">
            <a:xfrm>
              <a:off x="5087" y="2826"/>
              <a:ext cx="4" cy="4"/>
            </a:xfrm>
            <a:custGeom>
              <a:avLst/>
              <a:gdLst>
                <a:gd name="T0" fmla="*/ 3 w 3"/>
                <a:gd name="T1" fmla="*/ 2 h 4"/>
                <a:gd name="T2" fmla="*/ 2 w 3"/>
                <a:gd name="T3" fmla="*/ 4 h 4"/>
                <a:gd name="T4" fmla="*/ 2 w 3"/>
                <a:gd name="T5" fmla="*/ 4 h 4"/>
                <a:gd name="T6" fmla="*/ 0 w 3"/>
                <a:gd name="T7" fmla="*/ 1 h 4"/>
                <a:gd name="T8" fmla="*/ 0 w 3"/>
                <a:gd name="T9" fmla="*/ 0 h 4"/>
                <a:gd name="T10" fmla="*/ 3 w 3"/>
                <a:gd name="T11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4">
                  <a:moveTo>
                    <a:pt x="3" y="2"/>
                  </a:moveTo>
                  <a:cubicBezTo>
                    <a:pt x="3" y="3"/>
                    <a:pt x="3" y="3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" y="3"/>
                    <a:pt x="1" y="2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1" y="1"/>
                    <a:pt x="2" y="1"/>
                    <a:pt x="3" y="2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79" name="Freeform 7942"/>
            <p:cNvSpPr>
              <a:spLocks/>
            </p:cNvSpPr>
            <p:nvPr/>
          </p:nvSpPr>
          <p:spPr bwMode="auto">
            <a:xfrm>
              <a:off x="5092" y="2833"/>
              <a:ext cx="6" cy="18"/>
            </a:xfrm>
            <a:custGeom>
              <a:avLst/>
              <a:gdLst>
                <a:gd name="T0" fmla="*/ 5 w 5"/>
                <a:gd name="T1" fmla="*/ 15 h 15"/>
                <a:gd name="T2" fmla="*/ 5 w 5"/>
                <a:gd name="T3" fmla="*/ 14 h 15"/>
                <a:gd name="T4" fmla="*/ 0 w 5"/>
                <a:gd name="T5" fmla="*/ 5 h 15"/>
                <a:gd name="T6" fmla="*/ 0 w 5"/>
                <a:gd name="T7" fmla="*/ 4 h 15"/>
                <a:gd name="T8" fmla="*/ 1 w 5"/>
                <a:gd name="T9" fmla="*/ 0 h 15"/>
                <a:gd name="T10" fmla="*/ 5 w 5"/>
                <a:gd name="T11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15">
                  <a:moveTo>
                    <a:pt x="5" y="15"/>
                  </a:moveTo>
                  <a:cubicBezTo>
                    <a:pt x="5" y="15"/>
                    <a:pt x="5" y="15"/>
                    <a:pt x="5" y="14"/>
                  </a:cubicBezTo>
                  <a:cubicBezTo>
                    <a:pt x="4" y="12"/>
                    <a:pt x="3" y="9"/>
                    <a:pt x="0" y="5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1" y="0"/>
                  </a:cubicBezTo>
                  <a:cubicBezTo>
                    <a:pt x="4" y="5"/>
                    <a:pt x="4" y="10"/>
                    <a:pt x="5" y="15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80" name="Freeform 7943"/>
            <p:cNvSpPr>
              <a:spLocks/>
            </p:cNvSpPr>
            <p:nvPr/>
          </p:nvSpPr>
          <p:spPr bwMode="auto">
            <a:xfrm>
              <a:off x="5119" y="2855"/>
              <a:ext cx="0" cy="2"/>
            </a:xfrm>
            <a:custGeom>
              <a:avLst/>
              <a:gdLst>
                <a:gd name="T0" fmla="*/ 0 h 2"/>
                <a:gd name="T1" fmla="*/ 2 h 2"/>
                <a:gd name="T2" fmla="*/ 2 h 2"/>
                <a:gd name="T3" fmla="*/ 0 h 2"/>
                <a:gd name="T4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cubicBezTo>
                    <a:pt x="0" y="0"/>
                    <a:pt x="0" y="1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81" name="Freeform 7944"/>
            <p:cNvSpPr>
              <a:spLocks/>
            </p:cNvSpPr>
            <p:nvPr/>
          </p:nvSpPr>
          <p:spPr bwMode="auto">
            <a:xfrm>
              <a:off x="5098" y="2850"/>
              <a:ext cx="0" cy="2"/>
            </a:xfrm>
            <a:custGeom>
              <a:avLst/>
              <a:gdLst>
                <a:gd name="T0" fmla="*/ 0 h 2"/>
                <a:gd name="T1" fmla="*/ 2 h 2"/>
                <a:gd name="T2" fmla="*/ 1 h 2"/>
                <a:gd name="T3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cubicBezTo>
                    <a:pt x="0" y="1"/>
                    <a:pt x="0" y="1"/>
                    <a:pt x="0" y="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82" name="Freeform 7945"/>
            <p:cNvSpPr>
              <a:spLocks/>
            </p:cNvSpPr>
            <p:nvPr/>
          </p:nvSpPr>
          <p:spPr bwMode="auto">
            <a:xfrm>
              <a:off x="5119" y="2855"/>
              <a:ext cx="2" cy="2"/>
            </a:xfrm>
            <a:custGeom>
              <a:avLst/>
              <a:gdLst>
                <a:gd name="T0" fmla="*/ 0 w 2"/>
                <a:gd name="T1" fmla="*/ 0 h 2"/>
                <a:gd name="T2" fmla="*/ 0 w 2"/>
                <a:gd name="T3" fmla="*/ 2 h 2"/>
                <a:gd name="T4" fmla="*/ 2 w 2"/>
                <a:gd name="T5" fmla="*/ 2 h 2"/>
                <a:gd name="T6" fmla="*/ 0 w 2"/>
                <a:gd name="T7" fmla="*/ 0 h 2"/>
                <a:gd name="T8" fmla="*/ 0 w 2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cubicBezTo>
                    <a:pt x="0" y="0"/>
                    <a:pt x="0" y="1"/>
                    <a:pt x="0" y="2"/>
                  </a:cubicBezTo>
                  <a:cubicBezTo>
                    <a:pt x="1" y="2"/>
                    <a:pt x="1" y="2"/>
                    <a:pt x="2" y="2"/>
                  </a:cubicBezTo>
                  <a:cubicBezTo>
                    <a:pt x="1" y="1"/>
                    <a:pt x="1" y="1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83" name="Freeform 7946"/>
            <p:cNvSpPr>
              <a:spLocks/>
            </p:cNvSpPr>
            <p:nvPr/>
          </p:nvSpPr>
          <p:spPr bwMode="auto">
            <a:xfrm>
              <a:off x="5107" y="2854"/>
              <a:ext cx="12" cy="8"/>
            </a:xfrm>
            <a:custGeom>
              <a:avLst/>
              <a:gdLst>
                <a:gd name="T0" fmla="*/ 6 w 10"/>
                <a:gd name="T1" fmla="*/ 0 h 7"/>
                <a:gd name="T2" fmla="*/ 5 w 10"/>
                <a:gd name="T3" fmla="*/ 2 h 7"/>
                <a:gd name="T4" fmla="*/ 5 w 10"/>
                <a:gd name="T5" fmla="*/ 0 h 7"/>
                <a:gd name="T6" fmla="*/ 3 w 10"/>
                <a:gd name="T7" fmla="*/ 0 h 7"/>
                <a:gd name="T8" fmla="*/ 3 w 10"/>
                <a:gd name="T9" fmla="*/ 4 h 7"/>
                <a:gd name="T10" fmla="*/ 1 w 10"/>
                <a:gd name="T11" fmla="*/ 2 h 7"/>
                <a:gd name="T12" fmla="*/ 0 w 10"/>
                <a:gd name="T13" fmla="*/ 7 h 7"/>
                <a:gd name="T14" fmla="*/ 10 w 10"/>
                <a:gd name="T15" fmla="*/ 3 h 7"/>
                <a:gd name="T16" fmla="*/ 10 w 10"/>
                <a:gd name="T17" fmla="*/ 1 h 7"/>
                <a:gd name="T18" fmla="*/ 6 w 10"/>
                <a:gd name="T1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7">
                  <a:moveTo>
                    <a:pt x="6" y="0"/>
                  </a:moveTo>
                  <a:cubicBezTo>
                    <a:pt x="5" y="1"/>
                    <a:pt x="5" y="2"/>
                    <a:pt x="5" y="2"/>
                  </a:cubicBezTo>
                  <a:cubicBezTo>
                    <a:pt x="5" y="1"/>
                    <a:pt x="5" y="1"/>
                    <a:pt x="5" y="0"/>
                  </a:cubicBezTo>
                  <a:cubicBezTo>
                    <a:pt x="5" y="0"/>
                    <a:pt x="4" y="0"/>
                    <a:pt x="3" y="0"/>
                  </a:cubicBezTo>
                  <a:cubicBezTo>
                    <a:pt x="3" y="2"/>
                    <a:pt x="3" y="3"/>
                    <a:pt x="3" y="4"/>
                  </a:cubicBezTo>
                  <a:cubicBezTo>
                    <a:pt x="3" y="4"/>
                    <a:pt x="2" y="3"/>
                    <a:pt x="1" y="2"/>
                  </a:cubicBezTo>
                  <a:cubicBezTo>
                    <a:pt x="1" y="4"/>
                    <a:pt x="0" y="5"/>
                    <a:pt x="0" y="7"/>
                  </a:cubicBezTo>
                  <a:cubicBezTo>
                    <a:pt x="3" y="4"/>
                    <a:pt x="6" y="3"/>
                    <a:pt x="10" y="3"/>
                  </a:cubicBezTo>
                  <a:cubicBezTo>
                    <a:pt x="10" y="2"/>
                    <a:pt x="10" y="1"/>
                    <a:pt x="10" y="1"/>
                  </a:cubicBezTo>
                  <a:cubicBezTo>
                    <a:pt x="8" y="0"/>
                    <a:pt x="7" y="0"/>
                    <a:pt x="6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84" name="Oval 7947"/>
            <p:cNvSpPr>
              <a:spLocks noChangeArrowheads="1"/>
            </p:cNvSpPr>
            <p:nvPr/>
          </p:nvSpPr>
          <p:spPr bwMode="auto">
            <a:xfrm>
              <a:off x="5090" y="2830"/>
              <a:ext cx="1" cy="1"/>
            </a:xfrm>
            <a:prstGeom prst="ellipse">
              <a:avLst/>
            </a:pr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85" name="Freeform 7948"/>
            <p:cNvSpPr>
              <a:spLocks/>
            </p:cNvSpPr>
            <p:nvPr/>
          </p:nvSpPr>
          <p:spPr bwMode="auto">
            <a:xfrm>
              <a:off x="5119" y="2855"/>
              <a:ext cx="6" cy="3"/>
            </a:xfrm>
            <a:custGeom>
              <a:avLst/>
              <a:gdLst>
                <a:gd name="T0" fmla="*/ 5 w 5"/>
                <a:gd name="T1" fmla="*/ 3 h 3"/>
                <a:gd name="T2" fmla="*/ 5 w 5"/>
                <a:gd name="T3" fmla="*/ 2 h 3"/>
                <a:gd name="T4" fmla="*/ 0 w 5"/>
                <a:gd name="T5" fmla="*/ 0 h 3"/>
                <a:gd name="T6" fmla="*/ 2 w 5"/>
                <a:gd name="T7" fmla="*/ 2 h 3"/>
                <a:gd name="T8" fmla="*/ 4 w 5"/>
                <a:gd name="T9" fmla="*/ 3 h 3"/>
                <a:gd name="T10" fmla="*/ 5 w 5"/>
                <a:gd name="T11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">
                  <a:moveTo>
                    <a:pt x="5" y="3"/>
                  </a:moveTo>
                  <a:cubicBezTo>
                    <a:pt x="5" y="3"/>
                    <a:pt x="5" y="2"/>
                    <a:pt x="5" y="2"/>
                  </a:cubicBezTo>
                  <a:cubicBezTo>
                    <a:pt x="3" y="1"/>
                    <a:pt x="2" y="0"/>
                    <a:pt x="0" y="0"/>
                  </a:cubicBezTo>
                  <a:cubicBezTo>
                    <a:pt x="1" y="1"/>
                    <a:pt x="1" y="1"/>
                    <a:pt x="2" y="2"/>
                  </a:cubicBezTo>
                  <a:cubicBezTo>
                    <a:pt x="2" y="2"/>
                    <a:pt x="3" y="3"/>
                    <a:pt x="4" y="3"/>
                  </a:cubicBezTo>
                  <a:cubicBezTo>
                    <a:pt x="4" y="3"/>
                    <a:pt x="4" y="3"/>
                    <a:pt x="5" y="3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86" name="Freeform 7949"/>
            <p:cNvSpPr>
              <a:spLocks/>
            </p:cNvSpPr>
            <p:nvPr/>
          </p:nvSpPr>
          <p:spPr bwMode="auto">
            <a:xfrm>
              <a:off x="5126" y="2860"/>
              <a:ext cx="5" cy="4"/>
            </a:xfrm>
            <a:custGeom>
              <a:avLst/>
              <a:gdLst>
                <a:gd name="T0" fmla="*/ 1 w 4"/>
                <a:gd name="T1" fmla="*/ 0 h 4"/>
                <a:gd name="T2" fmla="*/ 0 w 4"/>
                <a:gd name="T3" fmla="*/ 0 h 4"/>
                <a:gd name="T4" fmla="*/ 4 w 4"/>
                <a:gd name="T5" fmla="*/ 4 h 4"/>
                <a:gd name="T6" fmla="*/ 4 w 4"/>
                <a:gd name="T7" fmla="*/ 4 h 4"/>
                <a:gd name="T8" fmla="*/ 1 w 4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1" y="0"/>
                  </a:moveTo>
                  <a:cubicBezTo>
                    <a:pt x="1" y="0"/>
                    <a:pt x="0" y="0"/>
                    <a:pt x="0" y="0"/>
                  </a:cubicBezTo>
                  <a:cubicBezTo>
                    <a:pt x="1" y="1"/>
                    <a:pt x="3" y="2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3"/>
                    <a:pt x="2" y="1"/>
                    <a:pt x="1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87" name="Freeform 7950"/>
            <p:cNvSpPr>
              <a:spLocks/>
            </p:cNvSpPr>
            <p:nvPr/>
          </p:nvSpPr>
          <p:spPr bwMode="auto">
            <a:xfrm>
              <a:off x="5086" y="2824"/>
              <a:ext cx="1" cy="3"/>
            </a:xfrm>
            <a:custGeom>
              <a:avLst/>
              <a:gdLst>
                <a:gd name="T0" fmla="*/ 0 w 1"/>
                <a:gd name="T1" fmla="*/ 0 h 2"/>
                <a:gd name="T2" fmla="*/ 1 w 1"/>
                <a:gd name="T3" fmla="*/ 2 h 2"/>
                <a:gd name="T4" fmla="*/ 1 w 1"/>
                <a:gd name="T5" fmla="*/ 1 h 2"/>
                <a:gd name="T6" fmla="*/ 0 w 1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2">
                  <a:moveTo>
                    <a:pt x="0" y="0"/>
                  </a:moveTo>
                  <a:cubicBezTo>
                    <a:pt x="0" y="0"/>
                    <a:pt x="0" y="1"/>
                    <a:pt x="1" y="2"/>
                  </a:cubicBezTo>
                  <a:cubicBezTo>
                    <a:pt x="1" y="2"/>
                    <a:pt x="1" y="1"/>
                    <a:pt x="1" y="1"/>
                  </a:cubicBezTo>
                  <a:cubicBezTo>
                    <a:pt x="1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88" name="Freeform 7951"/>
            <p:cNvSpPr>
              <a:spLocks/>
            </p:cNvSpPr>
            <p:nvPr/>
          </p:nvSpPr>
          <p:spPr bwMode="auto">
            <a:xfrm>
              <a:off x="5107" y="2855"/>
              <a:ext cx="1" cy="1"/>
            </a:xfrm>
            <a:custGeom>
              <a:avLst/>
              <a:gdLst>
                <a:gd name="T0" fmla="*/ 0 w 1"/>
                <a:gd name="T1" fmla="*/ 1 h 1"/>
                <a:gd name="T2" fmla="*/ 1 w 1"/>
                <a:gd name="T3" fmla="*/ 1 h 1"/>
                <a:gd name="T4" fmla="*/ 1 w 1"/>
                <a:gd name="T5" fmla="*/ 0 h 1"/>
                <a:gd name="T6" fmla="*/ 0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1"/>
                    <a:pt x="0" y="1"/>
                    <a:pt x="1" y="1"/>
                  </a:cubicBezTo>
                  <a:cubicBezTo>
                    <a:pt x="1" y="1"/>
                    <a:pt x="1" y="0"/>
                    <a:pt x="1" y="0"/>
                  </a:cubicBezTo>
                  <a:cubicBezTo>
                    <a:pt x="0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89" name="Freeform 7952"/>
            <p:cNvSpPr>
              <a:spLocks/>
            </p:cNvSpPr>
            <p:nvPr/>
          </p:nvSpPr>
          <p:spPr bwMode="auto">
            <a:xfrm>
              <a:off x="5098" y="2860"/>
              <a:ext cx="5" cy="14"/>
            </a:xfrm>
            <a:custGeom>
              <a:avLst/>
              <a:gdLst>
                <a:gd name="T0" fmla="*/ 2 w 4"/>
                <a:gd name="T1" fmla="*/ 0 h 12"/>
                <a:gd name="T2" fmla="*/ 0 w 4"/>
                <a:gd name="T3" fmla="*/ 1 h 12"/>
                <a:gd name="T4" fmla="*/ 0 w 4"/>
                <a:gd name="T5" fmla="*/ 12 h 12"/>
                <a:gd name="T6" fmla="*/ 4 w 4"/>
                <a:gd name="T7" fmla="*/ 5 h 12"/>
                <a:gd name="T8" fmla="*/ 2 w 4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2">
                  <a:moveTo>
                    <a:pt x="2" y="0"/>
                  </a:moveTo>
                  <a:cubicBezTo>
                    <a:pt x="1" y="0"/>
                    <a:pt x="1" y="0"/>
                    <a:pt x="0" y="1"/>
                  </a:cubicBezTo>
                  <a:cubicBezTo>
                    <a:pt x="1" y="6"/>
                    <a:pt x="0" y="11"/>
                    <a:pt x="0" y="12"/>
                  </a:cubicBezTo>
                  <a:cubicBezTo>
                    <a:pt x="0" y="11"/>
                    <a:pt x="2" y="8"/>
                    <a:pt x="4" y="5"/>
                  </a:cubicBezTo>
                  <a:cubicBezTo>
                    <a:pt x="3" y="3"/>
                    <a:pt x="3" y="1"/>
                    <a:pt x="2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90" name="Freeform 7953"/>
            <p:cNvSpPr>
              <a:spLocks/>
            </p:cNvSpPr>
            <p:nvPr/>
          </p:nvSpPr>
          <p:spPr bwMode="auto">
            <a:xfrm>
              <a:off x="5101" y="2856"/>
              <a:ext cx="7" cy="10"/>
            </a:xfrm>
            <a:custGeom>
              <a:avLst/>
              <a:gdLst>
                <a:gd name="T0" fmla="*/ 6 w 6"/>
                <a:gd name="T1" fmla="*/ 0 h 8"/>
                <a:gd name="T2" fmla="*/ 5 w 6"/>
                <a:gd name="T3" fmla="*/ 5 h 8"/>
                <a:gd name="T4" fmla="*/ 2 w 6"/>
                <a:gd name="T5" fmla="*/ 8 h 8"/>
                <a:gd name="T6" fmla="*/ 0 w 6"/>
                <a:gd name="T7" fmla="*/ 3 h 8"/>
                <a:gd name="T8" fmla="*/ 1 w 6"/>
                <a:gd name="T9" fmla="*/ 1 h 8"/>
                <a:gd name="T10" fmla="*/ 5 w 6"/>
                <a:gd name="T11" fmla="*/ 4 h 8"/>
                <a:gd name="T12" fmla="*/ 2 w 6"/>
                <a:gd name="T13" fmla="*/ 1 h 8"/>
                <a:gd name="T14" fmla="*/ 5 w 6"/>
                <a:gd name="T15" fmla="*/ 0 h 8"/>
                <a:gd name="T16" fmla="*/ 6 w 6"/>
                <a:gd name="T1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" h="8">
                  <a:moveTo>
                    <a:pt x="6" y="0"/>
                  </a:moveTo>
                  <a:cubicBezTo>
                    <a:pt x="6" y="2"/>
                    <a:pt x="5" y="3"/>
                    <a:pt x="5" y="5"/>
                  </a:cubicBezTo>
                  <a:cubicBezTo>
                    <a:pt x="4" y="6"/>
                    <a:pt x="3" y="7"/>
                    <a:pt x="2" y="8"/>
                  </a:cubicBezTo>
                  <a:cubicBezTo>
                    <a:pt x="1" y="6"/>
                    <a:pt x="1" y="4"/>
                    <a:pt x="0" y="3"/>
                  </a:cubicBezTo>
                  <a:cubicBezTo>
                    <a:pt x="0" y="2"/>
                    <a:pt x="1" y="2"/>
                    <a:pt x="1" y="1"/>
                  </a:cubicBezTo>
                  <a:cubicBezTo>
                    <a:pt x="2" y="2"/>
                    <a:pt x="4" y="3"/>
                    <a:pt x="5" y="4"/>
                  </a:cubicBezTo>
                  <a:cubicBezTo>
                    <a:pt x="5" y="4"/>
                    <a:pt x="4" y="2"/>
                    <a:pt x="2" y="1"/>
                  </a:cubicBezTo>
                  <a:cubicBezTo>
                    <a:pt x="3" y="0"/>
                    <a:pt x="4" y="0"/>
                    <a:pt x="5" y="0"/>
                  </a:cubicBezTo>
                  <a:cubicBezTo>
                    <a:pt x="5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91" name="Freeform 7954"/>
            <p:cNvSpPr>
              <a:spLocks/>
            </p:cNvSpPr>
            <p:nvPr/>
          </p:nvSpPr>
          <p:spPr bwMode="auto">
            <a:xfrm>
              <a:off x="5071" y="2822"/>
              <a:ext cx="4" cy="1"/>
            </a:xfrm>
            <a:custGeom>
              <a:avLst/>
              <a:gdLst>
                <a:gd name="T0" fmla="*/ 3 w 3"/>
                <a:gd name="T1" fmla="*/ 1 h 1"/>
                <a:gd name="T2" fmla="*/ 0 w 3"/>
                <a:gd name="T3" fmla="*/ 0 h 1"/>
                <a:gd name="T4" fmla="*/ 3 w 3"/>
                <a:gd name="T5" fmla="*/ 0 h 1"/>
                <a:gd name="T6" fmla="*/ 3 w 3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">
                  <a:moveTo>
                    <a:pt x="3" y="1"/>
                  </a:moveTo>
                  <a:cubicBezTo>
                    <a:pt x="1" y="0"/>
                    <a:pt x="0" y="0"/>
                    <a:pt x="0" y="0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3" y="1"/>
                    <a:pt x="3" y="1"/>
                    <a:pt x="3" y="1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92" name="Freeform 7955"/>
            <p:cNvSpPr>
              <a:spLocks/>
            </p:cNvSpPr>
            <p:nvPr/>
          </p:nvSpPr>
          <p:spPr bwMode="auto">
            <a:xfrm>
              <a:off x="5081" y="2826"/>
              <a:ext cx="2" cy="4"/>
            </a:xfrm>
            <a:custGeom>
              <a:avLst/>
              <a:gdLst>
                <a:gd name="T0" fmla="*/ 2 w 2"/>
                <a:gd name="T1" fmla="*/ 2 h 4"/>
                <a:gd name="T2" fmla="*/ 2 w 2"/>
                <a:gd name="T3" fmla="*/ 4 h 4"/>
                <a:gd name="T4" fmla="*/ 0 w 2"/>
                <a:gd name="T5" fmla="*/ 2 h 4"/>
                <a:gd name="T6" fmla="*/ 0 w 2"/>
                <a:gd name="T7" fmla="*/ 0 h 4"/>
                <a:gd name="T8" fmla="*/ 2 w 2"/>
                <a:gd name="T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2" y="2"/>
                  </a:moveTo>
                  <a:cubicBezTo>
                    <a:pt x="2" y="2"/>
                    <a:pt x="2" y="3"/>
                    <a:pt x="2" y="4"/>
                  </a:cubicBezTo>
                  <a:cubicBezTo>
                    <a:pt x="2" y="3"/>
                    <a:pt x="1" y="2"/>
                    <a:pt x="0" y="2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1" y="0"/>
                    <a:pt x="1" y="1"/>
                    <a:pt x="2" y="2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93" name="Freeform 7956"/>
            <p:cNvSpPr>
              <a:spLocks/>
            </p:cNvSpPr>
            <p:nvPr/>
          </p:nvSpPr>
          <p:spPr bwMode="auto">
            <a:xfrm>
              <a:off x="5098" y="2856"/>
              <a:ext cx="0" cy="2"/>
            </a:xfrm>
            <a:custGeom>
              <a:avLst/>
              <a:gdLst>
                <a:gd name="T0" fmla="*/ 0 h 2"/>
                <a:gd name="T1" fmla="*/ 0 h 2"/>
                <a:gd name="T2" fmla="*/ 0 h 2"/>
                <a:gd name="T3" fmla="*/ 2 h 2"/>
                <a:gd name="T4" fmla="*/ 1 h 2"/>
                <a:gd name="T5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1"/>
                    <a:pt x="0" y="1"/>
                    <a:pt x="0" y="0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94" name="Freeform 7957"/>
            <p:cNvSpPr>
              <a:spLocks/>
            </p:cNvSpPr>
            <p:nvPr/>
          </p:nvSpPr>
          <p:spPr bwMode="auto">
            <a:xfrm>
              <a:off x="5085" y="2861"/>
              <a:ext cx="3" cy="13"/>
            </a:xfrm>
            <a:custGeom>
              <a:avLst/>
              <a:gdLst>
                <a:gd name="T0" fmla="*/ 2 w 3"/>
                <a:gd name="T1" fmla="*/ 11 h 11"/>
                <a:gd name="T2" fmla="*/ 0 w 3"/>
                <a:gd name="T3" fmla="*/ 11 h 11"/>
                <a:gd name="T4" fmla="*/ 0 w 3"/>
                <a:gd name="T5" fmla="*/ 11 h 11"/>
                <a:gd name="T6" fmla="*/ 2 w 3"/>
                <a:gd name="T7" fmla="*/ 0 h 11"/>
                <a:gd name="T8" fmla="*/ 2 w 3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11">
                  <a:moveTo>
                    <a:pt x="2" y="11"/>
                  </a:move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0"/>
                    <a:pt x="1" y="6"/>
                    <a:pt x="2" y="0"/>
                  </a:cubicBezTo>
                  <a:cubicBezTo>
                    <a:pt x="3" y="3"/>
                    <a:pt x="3" y="7"/>
                    <a:pt x="2" y="11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95" name="Freeform 7958"/>
            <p:cNvSpPr>
              <a:spLocks/>
            </p:cNvSpPr>
            <p:nvPr/>
          </p:nvSpPr>
          <p:spPr bwMode="auto">
            <a:xfrm>
              <a:off x="5088" y="2851"/>
              <a:ext cx="4" cy="3"/>
            </a:xfrm>
            <a:custGeom>
              <a:avLst/>
              <a:gdLst>
                <a:gd name="T0" fmla="*/ 3 w 3"/>
                <a:gd name="T1" fmla="*/ 1 h 2"/>
                <a:gd name="T2" fmla="*/ 0 w 3"/>
                <a:gd name="T3" fmla="*/ 2 h 2"/>
                <a:gd name="T4" fmla="*/ 1 w 3"/>
                <a:gd name="T5" fmla="*/ 0 h 2"/>
                <a:gd name="T6" fmla="*/ 3 w 3"/>
                <a:gd name="T7" fmla="*/ 0 h 2"/>
                <a:gd name="T8" fmla="*/ 3 w 3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2">
                  <a:moveTo>
                    <a:pt x="3" y="1"/>
                  </a:moveTo>
                  <a:cubicBezTo>
                    <a:pt x="2" y="1"/>
                    <a:pt x="1" y="1"/>
                    <a:pt x="0" y="2"/>
                  </a:cubicBezTo>
                  <a:cubicBezTo>
                    <a:pt x="0" y="1"/>
                    <a:pt x="1" y="1"/>
                    <a:pt x="1" y="0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3" y="1"/>
                    <a:pt x="3" y="1"/>
                    <a:pt x="3" y="1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96" name="Freeform 7959"/>
            <p:cNvSpPr>
              <a:spLocks/>
            </p:cNvSpPr>
            <p:nvPr/>
          </p:nvSpPr>
          <p:spPr bwMode="auto">
            <a:xfrm>
              <a:off x="5102" y="2847"/>
              <a:ext cx="2" cy="5"/>
            </a:xfrm>
            <a:custGeom>
              <a:avLst/>
              <a:gdLst>
                <a:gd name="T0" fmla="*/ 0 w 2"/>
                <a:gd name="T1" fmla="*/ 1 h 4"/>
                <a:gd name="T2" fmla="*/ 1 w 2"/>
                <a:gd name="T3" fmla="*/ 4 h 4"/>
                <a:gd name="T4" fmla="*/ 1 w 2"/>
                <a:gd name="T5" fmla="*/ 4 h 4"/>
                <a:gd name="T6" fmla="*/ 2 w 2"/>
                <a:gd name="T7" fmla="*/ 0 h 4"/>
                <a:gd name="T8" fmla="*/ 0 w 2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0" y="1"/>
                  </a:moveTo>
                  <a:cubicBezTo>
                    <a:pt x="0" y="2"/>
                    <a:pt x="0" y="3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3"/>
                    <a:pt x="1" y="2"/>
                    <a:pt x="2" y="0"/>
                  </a:cubicBezTo>
                  <a:cubicBezTo>
                    <a:pt x="1" y="0"/>
                    <a:pt x="1" y="1"/>
                    <a:pt x="0" y="1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97" name="Freeform 7960"/>
            <p:cNvSpPr>
              <a:spLocks/>
            </p:cNvSpPr>
            <p:nvPr/>
          </p:nvSpPr>
          <p:spPr bwMode="auto">
            <a:xfrm>
              <a:off x="5075" y="2845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98" name="Freeform 7961"/>
            <p:cNvSpPr>
              <a:spLocks/>
            </p:cNvSpPr>
            <p:nvPr/>
          </p:nvSpPr>
          <p:spPr bwMode="auto">
            <a:xfrm>
              <a:off x="5116" y="2844"/>
              <a:ext cx="3" cy="0"/>
            </a:xfrm>
            <a:custGeom>
              <a:avLst/>
              <a:gdLst>
                <a:gd name="T0" fmla="*/ 1 w 2"/>
                <a:gd name="T1" fmla="*/ 2 w 2"/>
                <a:gd name="T2" fmla="*/ 2 w 2"/>
                <a:gd name="T3" fmla="*/ 0 w 2"/>
                <a:gd name="T4" fmla="*/ 0 w 2"/>
                <a:gd name="T5" fmla="*/ 1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2">
                  <a:moveTo>
                    <a:pt x="1" y="0"/>
                  </a:moveTo>
                  <a:cubicBezTo>
                    <a:pt x="1" y="0"/>
                    <a:pt x="1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1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1" y="0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99" name="Freeform 7962"/>
            <p:cNvSpPr>
              <a:spLocks/>
            </p:cNvSpPr>
            <p:nvPr/>
          </p:nvSpPr>
          <p:spPr bwMode="auto">
            <a:xfrm>
              <a:off x="5093" y="2852"/>
              <a:ext cx="0" cy="2"/>
            </a:xfrm>
            <a:custGeom>
              <a:avLst/>
              <a:gdLst>
                <a:gd name="T0" fmla="*/ 0 h 1"/>
                <a:gd name="T1" fmla="*/ 1 h 1"/>
                <a:gd name="T2" fmla="*/ 1 h 1"/>
                <a:gd name="T3" fmla="*/ 0 h 1"/>
                <a:gd name="T4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00" name="Freeform 7963"/>
            <p:cNvSpPr>
              <a:spLocks/>
            </p:cNvSpPr>
            <p:nvPr/>
          </p:nvSpPr>
          <p:spPr bwMode="auto">
            <a:xfrm>
              <a:off x="5090" y="2838"/>
              <a:ext cx="4" cy="12"/>
            </a:xfrm>
            <a:custGeom>
              <a:avLst/>
              <a:gdLst>
                <a:gd name="T0" fmla="*/ 4 w 4"/>
                <a:gd name="T1" fmla="*/ 10 h 10"/>
                <a:gd name="T2" fmla="*/ 2 w 4"/>
                <a:gd name="T3" fmla="*/ 9 h 10"/>
                <a:gd name="T4" fmla="*/ 0 w 4"/>
                <a:gd name="T5" fmla="*/ 7 h 10"/>
                <a:gd name="T6" fmla="*/ 2 w 4"/>
                <a:gd name="T7" fmla="*/ 0 h 10"/>
                <a:gd name="T8" fmla="*/ 2 w 4"/>
                <a:gd name="T9" fmla="*/ 1 h 10"/>
                <a:gd name="T10" fmla="*/ 4 w 4"/>
                <a:gd name="T11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10">
                  <a:moveTo>
                    <a:pt x="4" y="10"/>
                  </a:moveTo>
                  <a:cubicBezTo>
                    <a:pt x="3" y="9"/>
                    <a:pt x="2" y="9"/>
                    <a:pt x="2" y="9"/>
                  </a:cubicBezTo>
                  <a:cubicBezTo>
                    <a:pt x="1" y="9"/>
                    <a:pt x="1" y="8"/>
                    <a:pt x="0" y="7"/>
                  </a:cubicBezTo>
                  <a:cubicBezTo>
                    <a:pt x="1" y="5"/>
                    <a:pt x="2" y="3"/>
                    <a:pt x="2" y="0"/>
                  </a:cubicBezTo>
                  <a:cubicBezTo>
                    <a:pt x="2" y="0"/>
                    <a:pt x="2" y="1"/>
                    <a:pt x="2" y="1"/>
                  </a:cubicBezTo>
                  <a:cubicBezTo>
                    <a:pt x="3" y="3"/>
                    <a:pt x="3" y="6"/>
                    <a:pt x="4" y="10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01" name="Freeform 7964"/>
            <p:cNvSpPr>
              <a:spLocks/>
            </p:cNvSpPr>
            <p:nvPr/>
          </p:nvSpPr>
          <p:spPr bwMode="auto">
            <a:xfrm>
              <a:off x="5090" y="2849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02" name="Freeform 7965"/>
            <p:cNvSpPr>
              <a:spLocks/>
            </p:cNvSpPr>
            <p:nvPr/>
          </p:nvSpPr>
          <p:spPr bwMode="auto">
            <a:xfrm>
              <a:off x="5087" y="2832"/>
              <a:ext cx="3" cy="4"/>
            </a:xfrm>
            <a:custGeom>
              <a:avLst/>
              <a:gdLst>
                <a:gd name="T0" fmla="*/ 1 w 2"/>
                <a:gd name="T1" fmla="*/ 4 h 4"/>
                <a:gd name="T2" fmla="*/ 0 w 2"/>
                <a:gd name="T3" fmla="*/ 0 h 4"/>
                <a:gd name="T4" fmla="*/ 2 w 2"/>
                <a:gd name="T5" fmla="*/ 1 h 4"/>
                <a:gd name="T6" fmla="*/ 1 w 2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4">
                  <a:moveTo>
                    <a:pt x="1" y="4"/>
                  </a:moveTo>
                  <a:cubicBezTo>
                    <a:pt x="1" y="3"/>
                    <a:pt x="1" y="1"/>
                    <a:pt x="0" y="0"/>
                  </a:cubicBezTo>
                  <a:cubicBezTo>
                    <a:pt x="1" y="0"/>
                    <a:pt x="1" y="1"/>
                    <a:pt x="2" y="1"/>
                  </a:cubicBezTo>
                  <a:cubicBezTo>
                    <a:pt x="1" y="2"/>
                    <a:pt x="1" y="3"/>
                    <a:pt x="1" y="4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03" name="Freeform 7966"/>
            <p:cNvSpPr>
              <a:spLocks/>
            </p:cNvSpPr>
            <p:nvPr/>
          </p:nvSpPr>
          <p:spPr bwMode="auto">
            <a:xfrm>
              <a:off x="5088" y="2855"/>
              <a:ext cx="5" cy="11"/>
            </a:xfrm>
            <a:custGeom>
              <a:avLst/>
              <a:gdLst>
                <a:gd name="T0" fmla="*/ 4 w 4"/>
                <a:gd name="T1" fmla="*/ 0 h 9"/>
                <a:gd name="T2" fmla="*/ 3 w 4"/>
                <a:gd name="T3" fmla="*/ 9 h 9"/>
                <a:gd name="T4" fmla="*/ 0 w 4"/>
                <a:gd name="T5" fmla="*/ 1 h 9"/>
                <a:gd name="T6" fmla="*/ 4 w 4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9">
                  <a:moveTo>
                    <a:pt x="4" y="0"/>
                  </a:moveTo>
                  <a:cubicBezTo>
                    <a:pt x="4" y="3"/>
                    <a:pt x="4" y="6"/>
                    <a:pt x="3" y="9"/>
                  </a:cubicBezTo>
                  <a:cubicBezTo>
                    <a:pt x="3" y="9"/>
                    <a:pt x="2" y="5"/>
                    <a:pt x="0" y="1"/>
                  </a:cubicBezTo>
                  <a:cubicBezTo>
                    <a:pt x="1" y="1"/>
                    <a:pt x="3" y="0"/>
                    <a:pt x="4" y="0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04" name="Freeform 7967"/>
            <p:cNvSpPr>
              <a:spLocks/>
            </p:cNvSpPr>
            <p:nvPr/>
          </p:nvSpPr>
          <p:spPr bwMode="auto">
            <a:xfrm>
              <a:off x="5108" y="2844"/>
              <a:ext cx="2" cy="3"/>
            </a:xfrm>
            <a:custGeom>
              <a:avLst/>
              <a:gdLst>
                <a:gd name="T0" fmla="*/ 1 w 2"/>
                <a:gd name="T1" fmla="*/ 1 h 3"/>
                <a:gd name="T2" fmla="*/ 0 w 2"/>
                <a:gd name="T3" fmla="*/ 3 h 3"/>
                <a:gd name="T4" fmla="*/ 2 w 2"/>
                <a:gd name="T5" fmla="*/ 2 h 3"/>
                <a:gd name="T6" fmla="*/ 2 w 2"/>
                <a:gd name="T7" fmla="*/ 0 h 3"/>
                <a:gd name="T8" fmla="*/ 1 w 2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3">
                  <a:moveTo>
                    <a:pt x="1" y="1"/>
                  </a:moveTo>
                  <a:cubicBezTo>
                    <a:pt x="1" y="1"/>
                    <a:pt x="1" y="2"/>
                    <a:pt x="0" y="3"/>
                  </a:cubicBezTo>
                  <a:cubicBezTo>
                    <a:pt x="1" y="2"/>
                    <a:pt x="2" y="2"/>
                    <a:pt x="2" y="2"/>
                  </a:cubicBezTo>
                  <a:cubicBezTo>
                    <a:pt x="2" y="1"/>
                    <a:pt x="2" y="1"/>
                    <a:pt x="2" y="0"/>
                  </a:cubicBezTo>
                  <a:cubicBezTo>
                    <a:pt x="2" y="0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05" name="Freeform 7968"/>
            <p:cNvSpPr>
              <a:spLocks/>
            </p:cNvSpPr>
            <p:nvPr/>
          </p:nvSpPr>
          <p:spPr bwMode="auto">
            <a:xfrm>
              <a:off x="5116" y="2844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06" name="Freeform 7969"/>
            <p:cNvSpPr>
              <a:spLocks/>
            </p:cNvSpPr>
            <p:nvPr/>
          </p:nvSpPr>
          <p:spPr bwMode="auto">
            <a:xfrm>
              <a:off x="5121" y="2845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07" name="Freeform 7970"/>
            <p:cNvSpPr>
              <a:spLocks/>
            </p:cNvSpPr>
            <p:nvPr/>
          </p:nvSpPr>
          <p:spPr bwMode="auto">
            <a:xfrm>
              <a:off x="5090" y="2849"/>
              <a:ext cx="2" cy="2"/>
            </a:xfrm>
            <a:custGeom>
              <a:avLst/>
              <a:gdLst>
                <a:gd name="T0" fmla="*/ 2 w 2"/>
                <a:gd name="T1" fmla="*/ 2 h 2"/>
                <a:gd name="T2" fmla="*/ 0 w 2"/>
                <a:gd name="T3" fmla="*/ 2 h 2"/>
                <a:gd name="T4" fmla="*/ 0 w 2"/>
                <a:gd name="T5" fmla="*/ 0 h 2"/>
                <a:gd name="T6" fmla="*/ 0 w 2"/>
                <a:gd name="T7" fmla="*/ 0 h 2"/>
                <a:gd name="T8" fmla="*/ 2 w 2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1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1"/>
                    <a:pt x="1" y="2"/>
                    <a:pt x="2" y="2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08" name="Freeform 7971"/>
            <p:cNvSpPr>
              <a:spLocks/>
            </p:cNvSpPr>
            <p:nvPr/>
          </p:nvSpPr>
          <p:spPr bwMode="auto">
            <a:xfrm>
              <a:off x="5098" y="2852"/>
              <a:ext cx="0" cy="3"/>
            </a:xfrm>
            <a:custGeom>
              <a:avLst/>
              <a:gdLst>
                <a:gd name="T0" fmla="*/ 2 h 2"/>
                <a:gd name="T1" fmla="*/ 2 h 2"/>
                <a:gd name="T2" fmla="*/ 0 h 2"/>
                <a:gd name="T3" fmla="*/ 0 h 2"/>
                <a:gd name="T4" fmla="*/ 0 h 2"/>
                <a:gd name="T5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09" name="Freeform 7972"/>
            <p:cNvSpPr>
              <a:spLocks/>
            </p:cNvSpPr>
            <p:nvPr/>
          </p:nvSpPr>
          <p:spPr bwMode="auto">
            <a:xfrm>
              <a:off x="5092" y="2849"/>
              <a:ext cx="2" cy="3"/>
            </a:xfrm>
            <a:custGeom>
              <a:avLst/>
              <a:gdLst>
                <a:gd name="T0" fmla="*/ 1 w 2"/>
                <a:gd name="T1" fmla="*/ 3 h 3"/>
                <a:gd name="T2" fmla="*/ 1 w 2"/>
                <a:gd name="T3" fmla="*/ 3 h 3"/>
                <a:gd name="T4" fmla="*/ 0 w 2"/>
                <a:gd name="T5" fmla="*/ 0 h 3"/>
                <a:gd name="T6" fmla="*/ 2 w 2"/>
                <a:gd name="T7" fmla="*/ 1 h 3"/>
                <a:gd name="T8" fmla="*/ 1 w 2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3">
                  <a:moveTo>
                    <a:pt x="1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2"/>
                    <a:pt x="0" y="1"/>
                    <a:pt x="0" y="0"/>
                  </a:cubicBezTo>
                  <a:cubicBezTo>
                    <a:pt x="0" y="0"/>
                    <a:pt x="1" y="0"/>
                    <a:pt x="2" y="1"/>
                  </a:cubicBezTo>
                  <a:cubicBezTo>
                    <a:pt x="2" y="1"/>
                    <a:pt x="2" y="2"/>
                    <a:pt x="1" y="3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10" name="Freeform 7973"/>
            <p:cNvSpPr>
              <a:spLocks/>
            </p:cNvSpPr>
            <p:nvPr/>
          </p:nvSpPr>
          <p:spPr bwMode="auto">
            <a:xfrm>
              <a:off x="5098" y="2856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11" name="Freeform 7974"/>
            <p:cNvSpPr>
              <a:spLocks/>
            </p:cNvSpPr>
            <p:nvPr/>
          </p:nvSpPr>
          <p:spPr bwMode="auto">
            <a:xfrm>
              <a:off x="5110" y="2844"/>
              <a:ext cx="3" cy="2"/>
            </a:xfrm>
            <a:custGeom>
              <a:avLst/>
              <a:gdLst>
                <a:gd name="T0" fmla="*/ 0 w 2"/>
                <a:gd name="T1" fmla="*/ 0 h 2"/>
                <a:gd name="T2" fmla="*/ 0 w 2"/>
                <a:gd name="T3" fmla="*/ 2 h 2"/>
                <a:gd name="T4" fmla="*/ 2 w 2"/>
                <a:gd name="T5" fmla="*/ 1 h 2"/>
                <a:gd name="T6" fmla="*/ 1 w 2"/>
                <a:gd name="T7" fmla="*/ 0 h 2"/>
                <a:gd name="T8" fmla="*/ 0 w 2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cubicBezTo>
                    <a:pt x="0" y="1"/>
                    <a:pt x="0" y="1"/>
                    <a:pt x="0" y="2"/>
                  </a:cubicBezTo>
                  <a:cubicBezTo>
                    <a:pt x="1" y="1"/>
                    <a:pt x="1" y="1"/>
                    <a:pt x="2" y="1"/>
                  </a:cubicBezTo>
                  <a:cubicBezTo>
                    <a:pt x="2" y="1"/>
                    <a:pt x="1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12" name="Freeform 7975"/>
            <p:cNvSpPr>
              <a:spLocks/>
            </p:cNvSpPr>
            <p:nvPr/>
          </p:nvSpPr>
          <p:spPr bwMode="auto">
            <a:xfrm>
              <a:off x="5116" y="2844"/>
              <a:ext cx="2" cy="0"/>
            </a:xfrm>
            <a:custGeom>
              <a:avLst/>
              <a:gdLst>
                <a:gd name="T0" fmla="*/ 0 w 1"/>
                <a:gd name="T1" fmla="*/ 0 w 1"/>
                <a:gd name="T2" fmla="*/ 1 w 1"/>
                <a:gd name="T3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13" name="Freeform 7976"/>
            <p:cNvSpPr>
              <a:spLocks/>
            </p:cNvSpPr>
            <p:nvPr/>
          </p:nvSpPr>
          <p:spPr bwMode="auto">
            <a:xfrm>
              <a:off x="5121" y="2844"/>
              <a:ext cx="3" cy="1"/>
            </a:xfrm>
            <a:custGeom>
              <a:avLst/>
              <a:gdLst>
                <a:gd name="T0" fmla="*/ 0 w 2"/>
                <a:gd name="T1" fmla="*/ 1 h 1"/>
                <a:gd name="T2" fmla="*/ 2 w 2"/>
                <a:gd name="T3" fmla="*/ 1 h 1"/>
                <a:gd name="T4" fmla="*/ 1 w 2"/>
                <a:gd name="T5" fmla="*/ 0 h 1"/>
                <a:gd name="T6" fmla="*/ 0 w 2"/>
                <a:gd name="T7" fmla="*/ 1 h 1"/>
                <a:gd name="T8" fmla="*/ 0 w 2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cubicBezTo>
                    <a:pt x="1" y="1"/>
                    <a:pt x="1" y="1"/>
                    <a:pt x="2" y="1"/>
                  </a:cubicBezTo>
                  <a:cubicBezTo>
                    <a:pt x="2" y="1"/>
                    <a:pt x="1" y="1"/>
                    <a:pt x="1" y="0"/>
                  </a:cubicBezTo>
                  <a:cubicBezTo>
                    <a:pt x="1" y="0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14" name="Freeform 7977"/>
            <p:cNvSpPr>
              <a:spLocks/>
            </p:cNvSpPr>
            <p:nvPr/>
          </p:nvSpPr>
          <p:spPr bwMode="auto">
            <a:xfrm>
              <a:off x="5111" y="2844"/>
              <a:ext cx="5" cy="1"/>
            </a:xfrm>
            <a:custGeom>
              <a:avLst/>
              <a:gdLst>
                <a:gd name="T0" fmla="*/ 4 w 4"/>
                <a:gd name="T1" fmla="*/ 0 h 1"/>
                <a:gd name="T2" fmla="*/ 4 w 4"/>
                <a:gd name="T3" fmla="*/ 0 h 1"/>
                <a:gd name="T4" fmla="*/ 0 w 4"/>
                <a:gd name="T5" fmla="*/ 0 h 1"/>
                <a:gd name="T6" fmla="*/ 1 w 4"/>
                <a:gd name="T7" fmla="*/ 1 h 1"/>
                <a:gd name="T8" fmla="*/ 4 w 4"/>
                <a:gd name="T9" fmla="*/ 0 h 1"/>
                <a:gd name="T10" fmla="*/ 4 w 4"/>
                <a:gd name="T11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1"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2" y="0"/>
                    <a:pt x="0" y="0"/>
                  </a:cubicBezTo>
                  <a:cubicBezTo>
                    <a:pt x="0" y="0"/>
                    <a:pt x="1" y="1"/>
                    <a:pt x="1" y="1"/>
                  </a:cubicBezTo>
                  <a:cubicBezTo>
                    <a:pt x="2" y="1"/>
                    <a:pt x="3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15" name="Freeform 7978"/>
            <p:cNvSpPr>
              <a:spLocks/>
            </p:cNvSpPr>
            <p:nvPr/>
          </p:nvSpPr>
          <p:spPr bwMode="auto">
            <a:xfrm>
              <a:off x="5083" y="2828"/>
              <a:ext cx="3" cy="2"/>
            </a:xfrm>
            <a:custGeom>
              <a:avLst/>
              <a:gdLst>
                <a:gd name="T0" fmla="*/ 1 w 2"/>
                <a:gd name="T1" fmla="*/ 2 h 2"/>
                <a:gd name="T2" fmla="*/ 2 w 2"/>
                <a:gd name="T3" fmla="*/ 2 h 2"/>
                <a:gd name="T4" fmla="*/ 0 w 2"/>
                <a:gd name="T5" fmla="*/ 0 h 2"/>
                <a:gd name="T6" fmla="*/ 0 w 2"/>
                <a:gd name="T7" fmla="*/ 2 h 2"/>
                <a:gd name="T8" fmla="*/ 1 w 2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1" y="2"/>
                  </a:moveTo>
                  <a:cubicBezTo>
                    <a:pt x="1" y="2"/>
                    <a:pt x="2" y="2"/>
                    <a:pt x="2" y="2"/>
                  </a:cubicBezTo>
                  <a:cubicBezTo>
                    <a:pt x="2" y="1"/>
                    <a:pt x="1" y="0"/>
                    <a:pt x="0" y="0"/>
                  </a:cubicBezTo>
                  <a:cubicBezTo>
                    <a:pt x="0" y="0"/>
                    <a:pt x="0" y="1"/>
                    <a:pt x="0" y="2"/>
                  </a:cubicBezTo>
                  <a:cubicBezTo>
                    <a:pt x="0" y="2"/>
                    <a:pt x="0" y="2"/>
                    <a:pt x="1" y="2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16" name="Freeform 7979"/>
            <p:cNvSpPr>
              <a:spLocks/>
            </p:cNvSpPr>
            <p:nvPr/>
          </p:nvSpPr>
          <p:spPr bwMode="auto">
            <a:xfrm>
              <a:off x="5085" y="2830"/>
              <a:ext cx="3" cy="8"/>
            </a:xfrm>
            <a:custGeom>
              <a:avLst/>
              <a:gdLst>
                <a:gd name="T0" fmla="*/ 2 w 3"/>
                <a:gd name="T1" fmla="*/ 1 h 6"/>
                <a:gd name="T2" fmla="*/ 2 w 3"/>
                <a:gd name="T3" fmla="*/ 0 h 6"/>
                <a:gd name="T4" fmla="*/ 0 w 3"/>
                <a:gd name="T5" fmla="*/ 1 h 6"/>
                <a:gd name="T6" fmla="*/ 2 w 3"/>
                <a:gd name="T7" fmla="*/ 6 h 6"/>
                <a:gd name="T8" fmla="*/ 3 w 3"/>
                <a:gd name="T9" fmla="*/ 5 h 6"/>
                <a:gd name="T10" fmla="*/ 2 w 3"/>
                <a:gd name="T11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6">
                  <a:moveTo>
                    <a:pt x="2" y="1"/>
                  </a:moveTo>
                  <a:cubicBezTo>
                    <a:pt x="2" y="1"/>
                    <a:pt x="2" y="0"/>
                    <a:pt x="2" y="0"/>
                  </a:cubicBezTo>
                  <a:cubicBezTo>
                    <a:pt x="1" y="0"/>
                    <a:pt x="1" y="0"/>
                    <a:pt x="0" y="1"/>
                  </a:cubicBezTo>
                  <a:cubicBezTo>
                    <a:pt x="1" y="2"/>
                    <a:pt x="2" y="4"/>
                    <a:pt x="2" y="6"/>
                  </a:cubicBezTo>
                  <a:cubicBezTo>
                    <a:pt x="2" y="6"/>
                    <a:pt x="2" y="5"/>
                    <a:pt x="3" y="5"/>
                  </a:cubicBezTo>
                  <a:cubicBezTo>
                    <a:pt x="3" y="4"/>
                    <a:pt x="3" y="2"/>
                    <a:pt x="2" y="1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17" name="Freeform 7980"/>
            <p:cNvSpPr>
              <a:spLocks/>
            </p:cNvSpPr>
            <p:nvPr/>
          </p:nvSpPr>
          <p:spPr bwMode="auto">
            <a:xfrm>
              <a:off x="5085" y="2830"/>
              <a:ext cx="2" cy="2"/>
            </a:xfrm>
            <a:custGeom>
              <a:avLst/>
              <a:gdLst>
                <a:gd name="T0" fmla="*/ 2 w 2"/>
                <a:gd name="T1" fmla="*/ 0 h 1"/>
                <a:gd name="T2" fmla="*/ 1 w 2"/>
                <a:gd name="T3" fmla="*/ 0 h 1"/>
                <a:gd name="T4" fmla="*/ 0 w 2"/>
                <a:gd name="T5" fmla="*/ 0 h 1"/>
                <a:gd name="T6" fmla="*/ 0 w 2"/>
                <a:gd name="T7" fmla="*/ 1 h 1"/>
                <a:gd name="T8" fmla="*/ 2 w 2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2" y="0"/>
                    <a:pt x="2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1" y="0"/>
                    <a:pt x="1" y="0"/>
                    <a:pt x="2" y="0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18" name="Freeform 7981"/>
            <p:cNvSpPr>
              <a:spLocks/>
            </p:cNvSpPr>
            <p:nvPr/>
          </p:nvSpPr>
          <p:spPr bwMode="auto">
            <a:xfrm>
              <a:off x="5099" y="2849"/>
              <a:ext cx="4" cy="3"/>
            </a:xfrm>
            <a:custGeom>
              <a:avLst/>
              <a:gdLst>
                <a:gd name="T0" fmla="*/ 0 w 3"/>
                <a:gd name="T1" fmla="*/ 2 h 3"/>
                <a:gd name="T2" fmla="*/ 2 w 3"/>
                <a:gd name="T3" fmla="*/ 3 h 3"/>
                <a:gd name="T4" fmla="*/ 3 w 3"/>
                <a:gd name="T5" fmla="*/ 3 h 3"/>
                <a:gd name="T6" fmla="*/ 2 w 3"/>
                <a:gd name="T7" fmla="*/ 0 h 3"/>
                <a:gd name="T8" fmla="*/ 0 w 3"/>
                <a:gd name="T9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0" y="2"/>
                  </a:moveTo>
                  <a:cubicBezTo>
                    <a:pt x="1" y="2"/>
                    <a:pt x="2" y="3"/>
                    <a:pt x="2" y="3"/>
                  </a:cubicBezTo>
                  <a:cubicBezTo>
                    <a:pt x="2" y="3"/>
                    <a:pt x="3" y="3"/>
                    <a:pt x="3" y="3"/>
                  </a:cubicBezTo>
                  <a:cubicBezTo>
                    <a:pt x="2" y="2"/>
                    <a:pt x="2" y="1"/>
                    <a:pt x="2" y="0"/>
                  </a:cubicBezTo>
                  <a:cubicBezTo>
                    <a:pt x="1" y="1"/>
                    <a:pt x="1" y="1"/>
                    <a:pt x="0" y="2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19" name="Freeform 7982"/>
            <p:cNvSpPr>
              <a:spLocks/>
            </p:cNvSpPr>
            <p:nvPr/>
          </p:nvSpPr>
          <p:spPr bwMode="auto">
            <a:xfrm>
              <a:off x="5103" y="2845"/>
              <a:ext cx="6" cy="7"/>
            </a:xfrm>
            <a:custGeom>
              <a:avLst/>
              <a:gdLst>
                <a:gd name="T0" fmla="*/ 1 w 5"/>
                <a:gd name="T1" fmla="*/ 2 h 6"/>
                <a:gd name="T2" fmla="*/ 0 w 5"/>
                <a:gd name="T3" fmla="*/ 6 h 6"/>
                <a:gd name="T4" fmla="*/ 4 w 5"/>
                <a:gd name="T5" fmla="*/ 2 h 6"/>
                <a:gd name="T6" fmla="*/ 5 w 5"/>
                <a:gd name="T7" fmla="*/ 0 h 6"/>
                <a:gd name="T8" fmla="*/ 1 w 5"/>
                <a:gd name="T9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6">
                  <a:moveTo>
                    <a:pt x="1" y="2"/>
                  </a:moveTo>
                  <a:cubicBezTo>
                    <a:pt x="0" y="4"/>
                    <a:pt x="0" y="5"/>
                    <a:pt x="0" y="6"/>
                  </a:cubicBezTo>
                  <a:cubicBezTo>
                    <a:pt x="1" y="4"/>
                    <a:pt x="3" y="3"/>
                    <a:pt x="4" y="2"/>
                  </a:cubicBezTo>
                  <a:cubicBezTo>
                    <a:pt x="5" y="1"/>
                    <a:pt x="5" y="0"/>
                    <a:pt x="5" y="0"/>
                  </a:cubicBezTo>
                  <a:cubicBezTo>
                    <a:pt x="3" y="0"/>
                    <a:pt x="2" y="1"/>
                    <a:pt x="1" y="2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20" name="Freeform 7983"/>
            <p:cNvSpPr>
              <a:spLocks/>
            </p:cNvSpPr>
            <p:nvPr/>
          </p:nvSpPr>
          <p:spPr bwMode="auto">
            <a:xfrm>
              <a:off x="5098" y="2856"/>
              <a:ext cx="1" cy="1"/>
            </a:xfrm>
            <a:custGeom>
              <a:avLst/>
              <a:gdLst>
                <a:gd name="T0" fmla="*/ 0 w 1"/>
                <a:gd name="T1" fmla="*/ 1 h 1"/>
                <a:gd name="T2" fmla="*/ 1 w 1"/>
                <a:gd name="T3" fmla="*/ 1 h 1"/>
                <a:gd name="T4" fmla="*/ 0 w 1"/>
                <a:gd name="T5" fmla="*/ 0 h 1"/>
                <a:gd name="T6" fmla="*/ 0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21" name="Freeform 7984"/>
            <p:cNvSpPr>
              <a:spLocks/>
            </p:cNvSpPr>
            <p:nvPr/>
          </p:nvSpPr>
          <p:spPr bwMode="auto">
            <a:xfrm>
              <a:off x="5098" y="2856"/>
              <a:ext cx="1" cy="1"/>
            </a:xfrm>
            <a:custGeom>
              <a:avLst/>
              <a:gdLst>
                <a:gd name="T0" fmla="*/ 1 w 1"/>
                <a:gd name="T1" fmla="*/ 0 h 1"/>
                <a:gd name="T2" fmla="*/ 1 w 1"/>
                <a:gd name="T3" fmla="*/ 1 h 1"/>
                <a:gd name="T4" fmla="*/ 0 w 1"/>
                <a:gd name="T5" fmla="*/ 0 h 1"/>
                <a:gd name="T6" fmla="*/ 0 w 1"/>
                <a:gd name="T7" fmla="*/ 0 h 1"/>
                <a:gd name="T8" fmla="*/ 1 w 1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22" name="Freeform 7985"/>
            <p:cNvSpPr>
              <a:spLocks/>
            </p:cNvSpPr>
            <p:nvPr/>
          </p:nvSpPr>
          <p:spPr bwMode="auto">
            <a:xfrm>
              <a:off x="5098" y="2851"/>
              <a:ext cx="4" cy="5"/>
            </a:xfrm>
            <a:custGeom>
              <a:avLst/>
              <a:gdLst>
                <a:gd name="T0" fmla="*/ 3 w 3"/>
                <a:gd name="T1" fmla="*/ 1 h 4"/>
                <a:gd name="T2" fmla="*/ 2 w 3"/>
                <a:gd name="T3" fmla="*/ 4 h 4"/>
                <a:gd name="T4" fmla="*/ 0 w 3"/>
                <a:gd name="T5" fmla="*/ 3 h 4"/>
                <a:gd name="T6" fmla="*/ 0 w 3"/>
                <a:gd name="T7" fmla="*/ 1 h 4"/>
                <a:gd name="T8" fmla="*/ 1 w 3"/>
                <a:gd name="T9" fmla="*/ 0 h 4"/>
                <a:gd name="T10" fmla="*/ 3 w 3"/>
                <a:gd name="T11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4">
                  <a:moveTo>
                    <a:pt x="3" y="1"/>
                  </a:moveTo>
                  <a:cubicBezTo>
                    <a:pt x="3" y="2"/>
                    <a:pt x="2" y="3"/>
                    <a:pt x="2" y="4"/>
                  </a:cubicBezTo>
                  <a:cubicBezTo>
                    <a:pt x="1" y="3"/>
                    <a:pt x="1" y="3"/>
                    <a:pt x="0" y="3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2" y="0"/>
                    <a:pt x="3" y="1"/>
                    <a:pt x="3" y="1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23" name="Freeform 7986"/>
            <p:cNvSpPr>
              <a:spLocks/>
            </p:cNvSpPr>
            <p:nvPr/>
          </p:nvSpPr>
          <p:spPr bwMode="auto">
            <a:xfrm>
              <a:off x="5093" y="2852"/>
              <a:ext cx="3" cy="2"/>
            </a:xfrm>
            <a:custGeom>
              <a:avLst/>
              <a:gdLst>
                <a:gd name="T0" fmla="*/ 2 w 2"/>
                <a:gd name="T1" fmla="*/ 1 h 1"/>
                <a:gd name="T2" fmla="*/ 0 w 2"/>
                <a:gd name="T3" fmla="*/ 1 h 1"/>
                <a:gd name="T4" fmla="*/ 0 w 2"/>
                <a:gd name="T5" fmla="*/ 0 h 1"/>
                <a:gd name="T6" fmla="*/ 2 w 2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2" y="1"/>
                  </a:moveTo>
                  <a:cubicBezTo>
                    <a:pt x="2" y="1"/>
                    <a:pt x="1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2" y="1"/>
                    <a:pt x="2" y="1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24" name="Freeform 7987"/>
            <p:cNvSpPr>
              <a:spLocks/>
            </p:cNvSpPr>
            <p:nvPr/>
          </p:nvSpPr>
          <p:spPr bwMode="auto">
            <a:xfrm>
              <a:off x="5087" y="2855"/>
              <a:ext cx="10" cy="19"/>
            </a:xfrm>
            <a:custGeom>
              <a:avLst/>
              <a:gdLst>
                <a:gd name="T0" fmla="*/ 8 w 8"/>
                <a:gd name="T1" fmla="*/ 6 h 16"/>
                <a:gd name="T2" fmla="*/ 4 w 8"/>
                <a:gd name="T3" fmla="*/ 16 h 16"/>
                <a:gd name="T4" fmla="*/ 0 w 8"/>
                <a:gd name="T5" fmla="*/ 16 h 16"/>
                <a:gd name="T6" fmla="*/ 0 w 8"/>
                <a:gd name="T7" fmla="*/ 5 h 16"/>
                <a:gd name="T8" fmla="*/ 1 w 8"/>
                <a:gd name="T9" fmla="*/ 1 h 16"/>
                <a:gd name="T10" fmla="*/ 1 w 8"/>
                <a:gd name="T11" fmla="*/ 1 h 16"/>
                <a:gd name="T12" fmla="*/ 4 w 8"/>
                <a:gd name="T13" fmla="*/ 9 h 16"/>
                <a:gd name="T14" fmla="*/ 5 w 8"/>
                <a:gd name="T15" fmla="*/ 0 h 16"/>
                <a:gd name="T16" fmla="*/ 5 w 8"/>
                <a:gd name="T17" fmla="*/ 0 h 16"/>
                <a:gd name="T18" fmla="*/ 8 w 8"/>
                <a:gd name="T19" fmla="*/ 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" h="16">
                  <a:moveTo>
                    <a:pt x="8" y="6"/>
                  </a:moveTo>
                  <a:cubicBezTo>
                    <a:pt x="5" y="11"/>
                    <a:pt x="4" y="16"/>
                    <a:pt x="4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1" y="12"/>
                    <a:pt x="1" y="8"/>
                    <a:pt x="0" y="5"/>
                  </a:cubicBezTo>
                  <a:cubicBezTo>
                    <a:pt x="0" y="4"/>
                    <a:pt x="0" y="3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3" y="5"/>
                    <a:pt x="4" y="9"/>
                    <a:pt x="4" y="9"/>
                  </a:cubicBezTo>
                  <a:cubicBezTo>
                    <a:pt x="5" y="6"/>
                    <a:pt x="5" y="3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6" y="2"/>
                    <a:pt x="7" y="4"/>
                    <a:pt x="8" y="6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25" name="Freeform 7988"/>
            <p:cNvSpPr>
              <a:spLocks/>
            </p:cNvSpPr>
            <p:nvPr/>
          </p:nvSpPr>
          <p:spPr bwMode="auto">
            <a:xfrm>
              <a:off x="5094" y="2856"/>
              <a:ext cx="4" cy="5"/>
            </a:xfrm>
            <a:custGeom>
              <a:avLst/>
              <a:gdLst>
                <a:gd name="T0" fmla="*/ 3 w 3"/>
                <a:gd name="T1" fmla="*/ 2 h 4"/>
                <a:gd name="T2" fmla="*/ 2 w 3"/>
                <a:gd name="T3" fmla="*/ 4 h 4"/>
                <a:gd name="T4" fmla="*/ 0 w 3"/>
                <a:gd name="T5" fmla="*/ 0 h 4"/>
                <a:gd name="T6" fmla="*/ 3 w 3"/>
                <a:gd name="T7" fmla="*/ 0 h 4"/>
                <a:gd name="T8" fmla="*/ 3 w 3"/>
                <a:gd name="T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3" y="2"/>
                  </a:moveTo>
                  <a:cubicBezTo>
                    <a:pt x="3" y="3"/>
                    <a:pt x="2" y="4"/>
                    <a:pt x="2" y="4"/>
                  </a:cubicBezTo>
                  <a:cubicBezTo>
                    <a:pt x="1" y="3"/>
                    <a:pt x="1" y="1"/>
                    <a:pt x="0" y="0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3" y="1"/>
                    <a:pt x="3" y="1"/>
                    <a:pt x="3" y="2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26" name="Freeform 7989"/>
            <p:cNvSpPr>
              <a:spLocks/>
            </p:cNvSpPr>
            <p:nvPr/>
          </p:nvSpPr>
          <p:spPr bwMode="auto">
            <a:xfrm>
              <a:off x="5092" y="2839"/>
              <a:ext cx="6" cy="11"/>
            </a:xfrm>
            <a:custGeom>
              <a:avLst/>
              <a:gdLst>
                <a:gd name="T0" fmla="*/ 2 w 5"/>
                <a:gd name="T1" fmla="*/ 9 h 9"/>
                <a:gd name="T2" fmla="*/ 5 w 5"/>
                <a:gd name="T3" fmla="*/ 9 h 9"/>
                <a:gd name="T4" fmla="*/ 0 w 5"/>
                <a:gd name="T5" fmla="*/ 0 h 9"/>
                <a:gd name="T6" fmla="*/ 2 w 5"/>
                <a:gd name="T7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9">
                  <a:moveTo>
                    <a:pt x="2" y="9"/>
                  </a:moveTo>
                  <a:cubicBezTo>
                    <a:pt x="3" y="9"/>
                    <a:pt x="4" y="9"/>
                    <a:pt x="5" y="9"/>
                  </a:cubicBezTo>
                  <a:cubicBezTo>
                    <a:pt x="4" y="7"/>
                    <a:pt x="3" y="4"/>
                    <a:pt x="0" y="0"/>
                  </a:cubicBezTo>
                  <a:cubicBezTo>
                    <a:pt x="1" y="2"/>
                    <a:pt x="1" y="5"/>
                    <a:pt x="2" y="9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27" name="Freeform 7990"/>
            <p:cNvSpPr>
              <a:spLocks/>
            </p:cNvSpPr>
            <p:nvPr/>
          </p:nvSpPr>
          <p:spPr bwMode="auto">
            <a:xfrm>
              <a:off x="5093" y="2850"/>
              <a:ext cx="5" cy="5"/>
            </a:xfrm>
            <a:custGeom>
              <a:avLst/>
              <a:gdLst>
                <a:gd name="T0" fmla="*/ 4 w 4"/>
                <a:gd name="T1" fmla="*/ 4 h 4"/>
                <a:gd name="T2" fmla="*/ 2 w 4"/>
                <a:gd name="T3" fmla="*/ 3 h 4"/>
                <a:gd name="T4" fmla="*/ 0 w 4"/>
                <a:gd name="T5" fmla="*/ 2 h 4"/>
                <a:gd name="T6" fmla="*/ 1 w 4"/>
                <a:gd name="T7" fmla="*/ 0 h 4"/>
                <a:gd name="T8" fmla="*/ 4 w 4"/>
                <a:gd name="T9" fmla="*/ 0 h 4"/>
                <a:gd name="T10" fmla="*/ 4 w 4"/>
                <a:gd name="T11" fmla="*/ 2 h 4"/>
                <a:gd name="T12" fmla="*/ 4 w 4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4">
                  <a:moveTo>
                    <a:pt x="4" y="4"/>
                  </a:moveTo>
                  <a:cubicBezTo>
                    <a:pt x="4" y="4"/>
                    <a:pt x="3" y="3"/>
                    <a:pt x="2" y="3"/>
                  </a:cubicBezTo>
                  <a:cubicBezTo>
                    <a:pt x="2" y="3"/>
                    <a:pt x="1" y="2"/>
                    <a:pt x="0" y="2"/>
                  </a:cubicBezTo>
                  <a:cubicBezTo>
                    <a:pt x="1" y="1"/>
                    <a:pt x="1" y="0"/>
                    <a:pt x="1" y="0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4" y="1"/>
                    <a:pt x="4" y="1"/>
                    <a:pt x="4" y="2"/>
                  </a:cubicBezTo>
                  <a:cubicBezTo>
                    <a:pt x="4" y="2"/>
                    <a:pt x="4" y="3"/>
                    <a:pt x="4" y="4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28" name="Freeform 7991"/>
            <p:cNvSpPr>
              <a:spLocks/>
            </p:cNvSpPr>
            <p:nvPr/>
          </p:nvSpPr>
          <p:spPr bwMode="auto">
            <a:xfrm>
              <a:off x="5069" y="2817"/>
              <a:ext cx="5" cy="6"/>
            </a:xfrm>
            <a:custGeom>
              <a:avLst/>
              <a:gdLst>
                <a:gd name="T0" fmla="*/ 4 w 4"/>
                <a:gd name="T1" fmla="*/ 2 h 5"/>
                <a:gd name="T2" fmla="*/ 0 w 4"/>
                <a:gd name="T3" fmla="*/ 5 h 5"/>
                <a:gd name="T4" fmla="*/ 0 w 4"/>
                <a:gd name="T5" fmla="*/ 2 h 5"/>
                <a:gd name="T6" fmla="*/ 3 w 4"/>
                <a:gd name="T7" fmla="*/ 0 h 5"/>
                <a:gd name="T8" fmla="*/ 4 w 4"/>
                <a:gd name="T9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5">
                  <a:moveTo>
                    <a:pt x="4" y="2"/>
                  </a:moveTo>
                  <a:cubicBezTo>
                    <a:pt x="3" y="2"/>
                    <a:pt x="1" y="3"/>
                    <a:pt x="0" y="5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2"/>
                    <a:pt x="2" y="1"/>
                    <a:pt x="3" y="0"/>
                  </a:cubicBezTo>
                  <a:cubicBezTo>
                    <a:pt x="4" y="1"/>
                    <a:pt x="4" y="1"/>
                    <a:pt x="4" y="2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29" name="Freeform 7992"/>
            <p:cNvSpPr>
              <a:spLocks/>
            </p:cNvSpPr>
            <p:nvPr/>
          </p:nvSpPr>
          <p:spPr bwMode="auto">
            <a:xfrm>
              <a:off x="5085" y="2815"/>
              <a:ext cx="9" cy="4"/>
            </a:xfrm>
            <a:custGeom>
              <a:avLst/>
              <a:gdLst>
                <a:gd name="T0" fmla="*/ 8 w 8"/>
                <a:gd name="T1" fmla="*/ 4 h 4"/>
                <a:gd name="T2" fmla="*/ 8 w 8"/>
                <a:gd name="T3" fmla="*/ 4 h 4"/>
                <a:gd name="T4" fmla="*/ 0 w 8"/>
                <a:gd name="T5" fmla="*/ 1 h 4"/>
                <a:gd name="T6" fmla="*/ 0 w 8"/>
                <a:gd name="T7" fmla="*/ 0 h 4"/>
                <a:gd name="T8" fmla="*/ 8 w 8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8" y="4"/>
                  </a:moveTo>
                  <a:cubicBezTo>
                    <a:pt x="8" y="4"/>
                    <a:pt x="8" y="4"/>
                    <a:pt x="8" y="4"/>
                  </a:cubicBezTo>
                  <a:cubicBezTo>
                    <a:pt x="5" y="2"/>
                    <a:pt x="2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3" y="1"/>
                    <a:pt x="6" y="2"/>
                    <a:pt x="8" y="4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30" name="Freeform 7993"/>
            <p:cNvSpPr>
              <a:spLocks/>
            </p:cNvSpPr>
            <p:nvPr/>
          </p:nvSpPr>
          <p:spPr bwMode="auto">
            <a:xfrm>
              <a:off x="5077" y="2815"/>
              <a:ext cx="6" cy="2"/>
            </a:xfrm>
            <a:custGeom>
              <a:avLst/>
              <a:gdLst>
                <a:gd name="T0" fmla="*/ 5 w 5"/>
                <a:gd name="T1" fmla="*/ 1 h 2"/>
                <a:gd name="T2" fmla="*/ 0 w 5"/>
                <a:gd name="T3" fmla="*/ 2 h 2"/>
                <a:gd name="T4" fmla="*/ 0 w 5"/>
                <a:gd name="T5" fmla="*/ 1 h 2"/>
                <a:gd name="T6" fmla="*/ 4 w 5"/>
                <a:gd name="T7" fmla="*/ 0 h 2"/>
                <a:gd name="T8" fmla="*/ 5 w 5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2">
                  <a:moveTo>
                    <a:pt x="5" y="1"/>
                  </a:moveTo>
                  <a:cubicBezTo>
                    <a:pt x="3" y="1"/>
                    <a:pt x="2" y="1"/>
                    <a:pt x="0" y="2"/>
                  </a:cubicBezTo>
                  <a:cubicBezTo>
                    <a:pt x="0" y="2"/>
                    <a:pt x="0" y="1"/>
                    <a:pt x="0" y="1"/>
                  </a:cubicBezTo>
                  <a:cubicBezTo>
                    <a:pt x="1" y="1"/>
                    <a:pt x="3" y="0"/>
                    <a:pt x="4" y="0"/>
                  </a:cubicBezTo>
                  <a:cubicBezTo>
                    <a:pt x="4" y="0"/>
                    <a:pt x="5" y="1"/>
                    <a:pt x="5" y="1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31" name="Freeform 7994"/>
            <p:cNvSpPr>
              <a:spLocks/>
            </p:cNvSpPr>
            <p:nvPr/>
          </p:nvSpPr>
          <p:spPr bwMode="auto">
            <a:xfrm>
              <a:off x="5082" y="2815"/>
              <a:ext cx="3" cy="1"/>
            </a:xfrm>
            <a:custGeom>
              <a:avLst/>
              <a:gdLst>
                <a:gd name="T0" fmla="*/ 2 w 2"/>
                <a:gd name="T1" fmla="*/ 1 h 1"/>
                <a:gd name="T2" fmla="*/ 2 w 2"/>
                <a:gd name="T3" fmla="*/ 0 h 1"/>
                <a:gd name="T4" fmla="*/ 0 w 2"/>
                <a:gd name="T5" fmla="*/ 0 h 1"/>
                <a:gd name="T6" fmla="*/ 1 w 2"/>
                <a:gd name="T7" fmla="*/ 1 h 1"/>
                <a:gd name="T8" fmla="*/ 2 w 2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1">
                  <a:moveTo>
                    <a:pt x="2" y="1"/>
                  </a:moveTo>
                  <a:cubicBezTo>
                    <a:pt x="2" y="1"/>
                    <a:pt x="2" y="0"/>
                    <a:pt x="2" y="0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0" y="0"/>
                    <a:pt x="1" y="1"/>
                    <a:pt x="1" y="1"/>
                  </a:cubicBezTo>
                  <a:cubicBezTo>
                    <a:pt x="1" y="1"/>
                    <a:pt x="1" y="1"/>
                    <a:pt x="2" y="1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32" name="Freeform 7995"/>
            <p:cNvSpPr>
              <a:spLocks/>
            </p:cNvSpPr>
            <p:nvPr/>
          </p:nvSpPr>
          <p:spPr bwMode="auto">
            <a:xfrm>
              <a:off x="5104" y="2787"/>
              <a:ext cx="23" cy="17"/>
            </a:xfrm>
            <a:custGeom>
              <a:avLst/>
              <a:gdLst>
                <a:gd name="T0" fmla="*/ 19 w 19"/>
                <a:gd name="T1" fmla="*/ 3 h 14"/>
                <a:gd name="T2" fmla="*/ 0 w 19"/>
                <a:gd name="T3" fmla="*/ 13 h 14"/>
                <a:gd name="T4" fmla="*/ 2 w 19"/>
                <a:gd name="T5" fmla="*/ 14 h 14"/>
                <a:gd name="T6" fmla="*/ 19 w 19"/>
                <a:gd name="T7" fmla="*/ 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14">
                  <a:moveTo>
                    <a:pt x="19" y="3"/>
                  </a:moveTo>
                  <a:cubicBezTo>
                    <a:pt x="19" y="3"/>
                    <a:pt x="10" y="0"/>
                    <a:pt x="0" y="13"/>
                  </a:cubicBezTo>
                  <a:cubicBezTo>
                    <a:pt x="0" y="14"/>
                    <a:pt x="1" y="14"/>
                    <a:pt x="2" y="14"/>
                  </a:cubicBezTo>
                  <a:cubicBezTo>
                    <a:pt x="6" y="7"/>
                    <a:pt x="12" y="2"/>
                    <a:pt x="19" y="3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33" name="Freeform 7996"/>
            <p:cNvSpPr>
              <a:spLocks noEditPoints="1"/>
            </p:cNvSpPr>
            <p:nvPr/>
          </p:nvSpPr>
          <p:spPr bwMode="auto">
            <a:xfrm>
              <a:off x="5069" y="2795"/>
              <a:ext cx="36" cy="51"/>
            </a:xfrm>
            <a:custGeom>
              <a:avLst/>
              <a:gdLst>
                <a:gd name="T0" fmla="*/ 28 w 30"/>
                <a:gd name="T1" fmla="*/ 7 h 42"/>
                <a:gd name="T2" fmla="*/ 21 w 30"/>
                <a:gd name="T3" fmla="*/ 20 h 42"/>
                <a:gd name="T4" fmla="*/ 21 w 30"/>
                <a:gd name="T5" fmla="*/ 20 h 42"/>
                <a:gd name="T6" fmla="*/ 19 w 30"/>
                <a:gd name="T7" fmla="*/ 25 h 42"/>
                <a:gd name="T8" fmla="*/ 18 w 30"/>
                <a:gd name="T9" fmla="*/ 27 h 42"/>
                <a:gd name="T10" fmla="*/ 18 w 30"/>
                <a:gd name="T11" fmla="*/ 27 h 42"/>
                <a:gd name="T12" fmla="*/ 17 w 30"/>
                <a:gd name="T13" fmla="*/ 29 h 42"/>
                <a:gd name="T14" fmla="*/ 17 w 30"/>
                <a:gd name="T15" fmla="*/ 29 h 42"/>
                <a:gd name="T16" fmla="*/ 17 w 30"/>
                <a:gd name="T17" fmla="*/ 29 h 42"/>
                <a:gd name="T18" fmla="*/ 17 w 30"/>
                <a:gd name="T19" fmla="*/ 31 h 42"/>
                <a:gd name="T20" fmla="*/ 16 w 30"/>
                <a:gd name="T21" fmla="*/ 34 h 42"/>
                <a:gd name="T22" fmla="*/ 16 w 30"/>
                <a:gd name="T23" fmla="*/ 35 h 42"/>
                <a:gd name="T24" fmla="*/ 15 w 30"/>
                <a:gd name="T25" fmla="*/ 35 h 42"/>
                <a:gd name="T26" fmla="*/ 14 w 30"/>
                <a:gd name="T27" fmla="*/ 38 h 42"/>
                <a:gd name="T28" fmla="*/ 12 w 30"/>
                <a:gd name="T29" fmla="*/ 31 h 42"/>
                <a:gd name="T30" fmla="*/ 11 w 30"/>
                <a:gd name="T31" fmla="*/ 30 h 42"/>
                <a:gd name="T32" fmla="*/ 11 w 30"/>
                <a:gd name="T33" fmla="*/ 29 h 42"/>
                <a:gd name="T34" fmla="*/ 10 w 30"/>
                <a:gd name="T35" fmla="*/ 27 h 42"/>
                <a:gd name="T36" fmla="*/ 10 w 30"/>
                <a:gd name="T37" fmla="*/ 25 h 42"/>
                <a:gd name="T38" fmla="*/ 7 w 30"/>
                <a:gd name="T39" fmla="*/ 18 h 42"/>
                <a:gd name="T40" fmla="*/ 7 w 30"/>
                <a:gd name="T41" fmla="*/ 17 h 42"/>
                <a:gd name="T42" fmla="*/ 0 w 30"/>
                <a:gd name="T43" fmla="*/ 0 h 42"/>
                <a:gd name="T44" fmla="*/ 0 w 30"/>
                <a:gd name="T45" fmla="*/ 8 h 42"/>
                <a:gd name="T46" fmla="*/ 3 w 30"/>
                <a:gd name="T47" fmla="*/ 18 h 42"/>
                <a:gd name="T48" fmla="*/ 4 w 30"/>
                <a:gd name="T49" fmla="*/ 20 h 42"/>
                <a:gd name="T50" fmla="*/ 5 w 30"/>
                <a:gd name="T51" fmla="*/ 22 h 42"/>
                <a:gd name="T52" fmla="*/ 5 w 30"/>
                <a:gd name="T53" fmla="*/ 23 h 42"/>
                <a:gd name="T54" fmla="*/ 7 w 30"/>
                <a:gd name="T55" fmla="*/ 30 h 42"/>
                <a:gd name="T56" fmla="*/ 7 w 30"/>
                <a:gd name="T57" fmla="*/ 31 h 42"/>
                <a:gd name="T58" fmla="*/ 7 w 30"/>
                <a:gd name="T59" fmla="*/ 31 h 42"/>
                <a:gd name="T60" fmla="*/ 7 w 30"/>
                <a:gd name="T61" fmla="*/ 31 h 42"/>
                <a:gd name="T62" fmla="*/ 7 w 30"/>
                <a:gd name="T63" fmla="*/ 32 h 42"/>
                <a:gd name="T64" fmla="*/ 8 w 30"/>
                <a:gd name="T65" fmla="*/ 39 h 42"/>
                <a:gd name="T66" fmla="*/ 11 w 30"/>
                <a:gd name="T67" fmla="*/ 38 h 42"/>
                <a:gd name="T68" fmla="*/ 15 w 30"/>
                <a:gd name="T69" fmla="*/ 40 h 42"/>
                <a:gd name="T70" fmla="*/ 16 w 30"/>
                <a:gd name="T71" fmla="*/ 41 h 42"/>
                <a:gd name="T72" fmla="*/ 17 w 30"/>
                <a:gd name="T73" fmla="*/ 42 h 42"/>
                <a:gd name="T74" fmla="*/ 19 w 30"/>
                <a:gd name="T75" fmla="*/ 35 h 42"/>
                <a:gd name="T76" fmla="*/ 19 w 30"/>
                <a:gd name="T77" fmla="*/ 35 h 42"/>
                <a:gd name="T78" fmla="*/ 20 w 30"/>
                <a:gd name="T79" fmla="*/ 31 h 42"/>
                <a:gd name="T80" fmla="*/ 21 w 30"/>
                <a:gd name="T81" fmla="*/ 31 h 42"/>
                <a:gd name="T82" fmla="*/ 21 w 30"/>
                <a:gd name="T83" fmla="*/ 30 h 42"/>
                <a:gd name="T84" fmla="*/ 21 w 30"/>
                <a:gd name="T85" fmla="*/ 29 h 42"/>
                <a:gd name="T86" fmla="*/ 22 w 30"/>
                <a:gd name="T87" fmla="*/ 28 h 42"/>
                <a:gd name="T88" fmla="*/ 24 w 30"/>
                <a:gd name="T89" fmla="*/ 21 h 42"/>
                <a:gd name="T90" fmla="*/ 24 w 30"/>
                <a:gd name="T91" fmla="*/ 21 h 42"/>
                <a:gd name="T92" fmla="*/ 30 w 30"/>
                <a:gd name="T93" fmla="*/ 8 h 42"/>
                <a:gd name="T94" fmla="*/ 28 w 30"/>
                <a:gd name="T95" fmla="*/ 7 h 42"/>
                <a:gd name="T96" fmla="*/ 23 w 30"/>
                <a:gd name="T97" fmla="*/ 21 h 42"/>
                <a:gd name="T98" fmla="*/ 23 w 30"/>
                <a:gd name="T99" fmla="*/ 21 h 42"/>
                <a:gd name="T100" fmla="*/ 23 w 30"/>
                <a:gd name="T101" fmla="*/ 21 h 42"/>
                <a:gd name="T102" fmla="*/ 23 w 30"/>
                <a:gd name="T103" fmla="*/ 2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0" h="42">
                  <a:moveTo>
                    <a:pt x="28" y="7"/>
                  </a:moveTo>
                  <a:cubicBezTo>
                    <a:pt x="26" y="10"/>
                    <a:pt x="23" y="14"/>
                    <a:pt x="21" y="20"/>
                  </a:cubicBezTo>
                  <a:cubicBezTo>
                    <a:pt x="21" y="20"/>
                    <a:pt x="21" y="20"/>
                    <a:pt x="21" y="20"/>
                  </a:cubicBezTo>
                  <a:cubicBezTo>
                    <a:pt x="20" y="22"/>
                    <a:pt x="19" y="23"/>
                    <a:pt x="19" y="25"/>
                  </a:cubicBezTo>
                  <a:cubicBezTo>
                    <a:pt x="19" y="26"/>
                    <a:pt x="18" y="26"/>
                    <a:pt x="18" y="27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18" y="28"/>
                    <a:pt x="18" y="28"/>
                    <a:pt x="17" y="29"/>
                  </a:cubicBezTo>
                  <a:cubicBezTo>
                    <a:pt x="17" y="29"/>
                    <a:pt x="17" y="29"/>
                    <a:pt x="17" y="29"/>
                  </a:cubicBezTo>
                  <a:cubicBezTo>
                    <a:pt x="17" y="29"/>
                    <a:pt x="17" y="29"/>
                    <a:pt x="17" y="29"/>
                  </a:cubicBezTo>
                  <a:cubicBezTo>
                    <a:pt x="17" y="30"/>
                    <a:pt x="17" y="31"/>
                    <a:pt x="17" y="31"/>
                  </a:cubicBezTo>
                  <a:cubicBezTo>
                    <a:pt x="16" y="32"/>
                    <a:pt x="16" y="33"/>
                    <a:pt x="16" y="34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5" y="36"/>
                    <a:pt x="15" y="37"/>
                    <a:pt x="14" y="38"/>
                  </a:cubicBezTo>
                  <a:cubicBezTo>
                    <a:pt x="14" y="38"/>
                    <a:pt x="13" y="35"/>
                    <a:pt x="12" y="31"/>
                  </a:cubicBezTo>
                  <a:cubicBezTo>
                    <a:pt x="12" y="31"/>
                    <a:pt x="12" y="30"/>
                    <a:pt x="11" y="30"/>
                  </a:cubicBezTo>
                  <a:cubicBezTo>
                    <a:pt x="11" y="30"/>
                    <a:pt x="11" y="30"/>
                    <a:pt x="11" y="29"/>
                  </a:cubicBezTo>
                  <a:cubicBezTo>
                    <a:pt x="11" y="29"/>
                    <a:pt x="11" y="28"/>
                    <a:pt x="10" y="27"/>
                  </a:cubicBezTo>
                  <a:cubicBezTo>
                    <a:pt x="10" y="26"/>
                    <a:pt x="10" y="25"/>
                    <a:pt x="10" y="25"/>
                  </a:cubicBezTo>
                  <a:cubicBezTo>
                    <a:pt x="9" y="23"/>
                    <a:pt x="8" y="20"/>
                    <a:pt x="7" y="18"/>
                  </a:cubicBezTo>
                  <a:cubicBezTo>
                    <a:pt x="7" y="18"/>
                    <a:pt x="7" y="17"/>
                    <a:pt x="7" y="17"/>
                  </a:cubicBezTo>
                  <a:cubicBezTo>
                    <a:pt x="5" y="12"/>
                    <a:pt x="2" y="6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1" y="11"/>
                    <a:pt x="2" y="15"/>
                    <a:pt x="3" y="18"/>
                  </a:cubicBezTo>
                  <a:cubicBezTo>
                    <a:pt x="4" y="19"/>
                    <a:pt x="4" y="19"/>
                    <a:pt x="4" y="20"/>
                  </a:cubicBezTo>
                  <a:cubicBezTo>
                    <a:pt x="4" y="21"/>
                    <a:pt x="4" y="22"/>
                    <a:pt x="5" y="22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5" y="25"/>
                    <a:pt x="6" y="28"/>
                    <a:pt x="7" y="30"/>
                  </a:cubicBezTo>
                  <a:cubicBezTo>
                    <a:pt x="7" y="30"/>
                    <a:pt x="7" y="31"/>
                    <a:pt x="7" y="31"/>
                  </a:cubicBezTo>
                  <a:cubicBezTo>
                    <a:pt x="7" y="31"/>
                    <a:pt x="7" y="31"/>
                    <a:pt x="7" y="31"/>
                  </a:cubicBezTo>
                  <a:cubicBezTo>
                    <a:pt x="7" y="31"/>
                    <a:pt x="7" y="31"/>
                    <a:pt x="7" y="31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7" y="34"/>
                    <a:pt x="8" y="37"/>
                    <a:pt x="8" y="39"/>
                  </a:cubicBezTo>
                  <a:cubicBezTo>
                    <a:pt x="9" y="38"/>
                    <a:pt x="10" y="38"/>
                    <a:pt x="11" y="38"/>
                  </a:cubicBezTo>
                  <a:cubicBezTo>
                    <a:pt x="13" y="38"/>
                    <a:pt x="14" y="39"/>
                    <a:pt x="15" y="40"/>
                  </a:cubicBezTo>
                  <a:cubicBezTo>
                    <a:pt x="15" y="40"/>
                    <a:pt x="16" y="40"/>
                    <a:pt x="16" y="41"/>
                  </a:cubicBezTo>
                  <a:cubicBezTo>
                    <a:pt x="16" y="41"/>
                    <a:pt x="17" y="42"/>
                    <a:pt x="17" y="42"/>
                  </a:cubicBezTo>
                  <a:cubicBezTo>
                    <a:pt x="18" y="40"/>
                    <a:pt x="19" y="38"/>
                    <a:pt x="19" y="35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20" y="34"/>
                    <a:pt x="20" y="33"/>
                    <a:pt x="20" y="31"/>
                  </a:cubicBezTo>
                  <a:cubicBezTo>
                    <a:pt x="21" y="31"/>
                    <a:pt x="21" y="31"/>
                    <a:pt x="21" y="31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1" y="30"/>
                    <a:pt x="21" y="29"/>
                    <a:pt x="21" y="29"/>
                  </a:cubicBezTo>
                  <a:cubicBezTo>
                    <a:pt x="21" y="29"/>
                    <a:pt x="21" y="28"/>
                    <a:pt x="22" y="28"/>
                  </a:cubicBezTo>
                  <a:cubicBezTo>
                    <a:pt x="22" y="26"/>
                    <a:pt x="23" y="24"/>
                    <a:pt x="24" y="21"/>
                  </a:cubicBezTo>
                  <a:cubicBezTo>
                    <a:pt x="24" y="21"/>
                    <a:pt x="24" y="21"/>
                    <a:pt x="24" y="21"/>
                  </a:cubicBezTo>
                  <a:cubicBezTo>
                    <a:pt x="26" y="16"/>
                    <a:pt x="28" y="11"/>
                    <a:pt x="30" y="8"/>
                  </a:cubicBezTo>
                  <a:cubicBezTo>
                    <a:pt x="30" y="7"/>
                    <a:pt x="29" y="7"/>
                    <a:pt x="28" y="7"/>
                  </a:cubicBezTo>
                  <a:close/>
                  <a:moveTo>
                    <a:pt x="23" y="21"/>
                  </a:move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34" name="Freeform 7997"/>
            <p:cNvSpPr>
              <a:spLocks/>
            </p:cNvSpPr>
            <p:nvPr/>
          </p:nvSpPr>
          <p:spPr bwMode="auto">
            <a:xfrm>
              <a:off x="5103" y="2802"/>
              <a:ext cx="4" cy="3"/>
            </a:xfrm>
            <a:custGeom>
              <a:avLst/>
              <a:gdLst>
                <a:gd name="T0" fmla="*/ 3 w 3"/>
                <a:gd name="T1" fmla="*/ 1 h 2"/>
                <a:gd name="T2" fmla="*/ 2 w 3"/>
                <a:gd name="T3" fmla="*/ 2 h 2"/>
                <a:gd name="T4" fmla="*/ 0 w 3"/>
                <a:gd name="T5" fmla="*/ 1 h 2"/>
                <a:gd name="T6" fmla="*/ 1 w 3"/>
                <a:gd name="T7" fmla="*/ 0 h 2"/>
                <a:gd name="T8" fmla="*/ 3 w 3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2">
                  <a:moveTo>
                    <a:pt x="3" y="1"/>
                  </a:moveTo>
                  <a:cubicBezTo>
                    <a:pt x="3" y="1"/>
                    <a:pt x="3" y="1"/>
                    <a:pt x="2" y="2"/>
                  </a:cubicBezTo>
                  <a:cubicBezTo>
                    <a:pt x="2" y="1"/>
                    <a:pt x="1" y="1"/>
                    <a:pt x="0" y="1"/>
                  </a:cubicBezTo>
                  <a:cubicBezTo>
                    <a:pt x="0" y="1"/>
                    <a:pt x="0" y="1"/>
                    <a:pt x="1" y="0"/>
                  </a:cubicBezTo>
                  <a:cubicBezTo>
                    <a:pt x="1" y="1"/>
                    <a:pt x="2" y="1"/>
                    <a:pt x="3" y="1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35" name="Freeform 7998"/>
            <p:cNvSpPr>
              <a:spLocks/>
            </p:cNvSpPr>
            <p:nvPr/>
          </p:nvSpPr>
          <p:spPr bwMode="auto">
            <a:xfrm>
              <a:off x="5077" y="2856"/>
              <a:ext cx="11" cy="18"/>
            </a:xfrm>
            <a:custGeom>
              <a:avLst/>
              <a:gdLst>
                <a:gd name="T0" fmla="*/ 9 w 9"/>
                <a:gd name="T1" fmla="*/ 0 h 15"/>
                <a:gd name="T2" fmla="*/ 8 w 9"/>
                <a:gd name="T3" fmla="*/ 4 h 15"/>
                <a:gd name="T4" fmla="*/ 6 w 9"/>
                <a:gd name="T5" fmla="*/ 15 h 15"/>
                <a:gd name="T6" fmla="*/ 6 w 9"/>
                <a:gd name="T7" fmla="*/ 15 h 15"/>
                <a:gd name="T8" fmla="*/ 0 w 9"/>
                <a:gd name="T9" fmla="*/ 15 h 15"/>
                <a:gd name="T10" fmla="*/ 2 w 9"/>
                <a:gd name="T11" fmla="*/ 6 h 15"/>
                <a:gd name="T12" fmla="*/ 4 w 9"/>
                <a:gd name="T13" fmla="*/ 4 h 15"/>
                <a:gd name="T14" fmla="*/ 4 w 9"/>
                <a:gd name="T15" fmla="*/ 3 h 15"/>
                <a:gd name="T16" fmla="*/ 5 w 9"/>
                <a:gd name="T17" fmla="*/ 3 h 15"/>
                <a:gd name="T18" fmla="*/ 7 w 9"/>
                <a:gd name="T19" fmla="*/ 1 h 15"/>
                <a:gd name="T20" fmla="*/ 7 w 9"/>
                <a:gd name="T21" fmla="*/ 1 h 15"/>
                <a:gd name="T22" fmla="*/ 9 w 9"/>
                <a:gd name="T23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" h="15">
                  <a:moveTo>
                    <a:pt x="9" y="0"/>
                  </a:moveTo>
                  <a:cubicBezTo>
                    <a:pt x="8" y="2"/>
                    <a:pt x="8" y="3"/>
                    <a:pt x="8" y="4"/>
                  </a:cubicBezTo>
                  <a:cubicBezTo>
                    <a:pt x="7" y="10"/>
                    <a:pt x="6" y="14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" y="12"/>
                    <a:pt x="2" y="9"/>
                    <a:pt x="2" y="6"/>
                  </a:cubicBezTo>
                  <a:cubicBezTo>
                    <a:pt x="3" y="5"/>
                    <a:pt x="3" y="4"/>
                    <a:pt x="4" y="4"/>
                  </a:cubicBezTo>
                  <a:cubicBezTo>
                    <a:pt x="4" y="4"/>
                    <a:pt x="4" y="3"/>
                    <a:pt x="4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2"/>
                    <a:pt x="6" y="2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8" y="1"/>
                    <a:pt x="8" y="1"/>
                    <a:pt x="9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36" name="Freeform 7999"/>
            <p:cNvSpPr>
              <a:spLocks/>
            </p:cNvSpPr>
            <p:nvPr/>
          </p:nvSpPr>
          <p:spPr bwMode="auto">
            <a:xfrm>
              <a:off x="5077" y="2832"/>
              <a:ext cx="0" cy="1"/>
            </a:xfrm>
            <a:custGeom>
              <a:avLst/>
              <a:gdLst>
                <a:gd name="T0" fmla="*/ 1 h 1"/>
                <a:gd name="T1" fmla="*/ 1 h 1"/>
                <a:gd name="T2" fmla="*/ 0 h 1"/>
                <a:gd name="T3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37" name="Freeform 8000"/>
            <p:cNvSpPr>
              <a:spLocks/>
            </p:cNvSpPr>
            <p:nvPr/>
          </p:nvSpPr>
          <p:spPr bwMode="auto">
            <a:xfrm>
              <a:off x="5087" y="2836"/>
              <a:ext cx="1" cy="2"/>
            </a:xfrm>
            <a:custGeom>
              <a:avLst/>
              <a:gdLst>
                <a:gd name="T0" fmla="*/ 1 w 1"/>
                <a:gd name="T1" fmla="*/ 0 h 1"/>
                <a:gd name="T2" fmla="*/ 1 w 1"/>
                <a:gd name="T3" fmla="*/ 1 h 1"/>
                <a:gd name="T4" fmla="*/ 0 w 1"/>
                <a:gd name="T5" fmla="*/ 1 h 1"/>
                <a:gd name="T6" fmla="*/ 1 w 1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38" name="Freeform 8001"/>
            <p:cNvSpPr>
              <a:spLocks/>
            </p:cNvSpPr>
            <p:nvPr/>
          </p:nvSpPr>
          <p:spPr bwMode="auto">
            <a:xfrm>
              <a:off x="5097" y="2821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39" name="Freeform 8002"/>
            <p:cNvSpPr>
              <a:spLocks/>
            </p:cNvSpPr>
            <p:nvPr/>
          </p:nvSpPr>
          <p:spPr bwMode="auto">
            <a:xfrm>
              <a:off x="5069" y="2845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4DA0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40" name="Freeform 8003"/>
            <p:cNvSpPr>
              <a:spLocks noEditPoints="1"/>
            </p:cNvSpPr>
            <p:nvPr/>
          </p:nvSpPr>
          <p:spPr bwMode="auto">
            <a:xfrm>
              <a:off x="5069" y="2826"/>
              <a:ext cx="38" cy="48"/>
            </a:xfrm>
            <a:custGeom>
              <a:avLst/>
              <a:gdLst>
                <a:gd name="T0" fmla="*/ 26 w 31"/>
                <a:gd name="T1" fmla="*/ 25 h 40"/>
                <a:gd name="T2" fmla="*/ 24 w 31"/>
                <a:gd name="T3" fmla="*/ 24 h 40"/>
                <a:gd name="T4" fmla="*/ 20 w 31"/>
                <a:gd name="T5" fmla="*/ 23 h 40"/>
                <a:gd name="T6" fmla="*/ 20 w 31"/>
                <a:gd name="T7" fmla="*/ 23 h 40"/>
                <a:gd name="T8" fmla="*/ 19 w 31"/>
                <a:gd name="T9" fmla="*/ 19 h 40"/>
                <a:gd name="T10" fmla="*/ 16 w 31"/>
                <a:gd name="T11" fmla="*/ 16 h 40"/>
                <a:gd name="T12" fmla="*/ 11 w 31"/>
                <a:gd name="T13" fmla="*/ 13 h 40"/>
                <a:gd name="T14" fmla="*/ 5 w 31"/>
                <a:gd name="T15" fmla="*/ 16 h 40"/>
                <a:gd name="T16" fmla="*/ 5 w 31"/>
                <a:gd name="T17" fmla="*/ 16 h 40"/>
                <a:gd name="T18" fmla="*/ 4 w 31"/>
                <a:gd name="T19" fmla="*/ 6 h 40"/>
                <a:gd name="T20" fmla="*/ 0 w 31"/>
                <a:gd name="T21" fmla="*/ 16 h 40"/>
                <a:gd name="T22" fmla="*/ 0 w 31"/>
                <a:gd name="T23" fmla="*/ 16 h 40"/>
                <a:gd name="T24" fmla="*/ 0 w 31"/>
                <a:gd name="T25" fmla="*/ 20 h 40"/>
                <a:gd name="T26" fmla="*/ 0 w 31"/>
                <a:gd name="T27" fmla="*/ 20 h 40"/>
                <a:gd name="T28" fmla="*/ 0 w 31"/>
                <a:gd name="T29" fmla="*/ 20 h 40"/>
                <a:gd name="T30" fmla="*/ 4 w 31"/>
                <a:gd name="T31" fmla="*/ 40 h 40"/>
                <a:gd name="T32" fmla="*/ 11 w 31"/>
                <a:gd name="T33" fmla="*/ 29 h 40"/>
                <a:gd name="T34" fmla="*/ 12 w 31"/>
                <a:gd name="T35" fmla="*/ 28 h 40"/>
                <a:gd name="T36" fmla="*/ 14 w 31"/>
                <a:gd name="T37" fmla="*/ 26 h 40"/>
                <a:gd name="T38" fmla="*/ 16 w 31"/>
                <a:gd name="T39" fmla="*/ 25 h 40"/>
                <a:gd name="T40" fmla="*/ 20 w 31"/>
                <a:gd name="T41" fmla="*/ 24 h 40"/>
                <a:gd name="T42" fmla="*/ 21 w 31"/>
                <a:gd name="T43" fmla="*/ 25 h 40"/>
                <a:gd name="T44" fmla="*/ 24 w 31"/>
                <a:gd name="T45" fmla="*/ 25 h 40"/>
                <a:gd name="T46" fmla="*/ 24 w 31"/>
                <a:gd name="T47" fmla="*/ 25 h 40"/>
                <a:gd name="T48" fmla="*/ 27 w 31"/>
                <a:gd name="T49" fmla="*/ 26 h 40"/>
                <a:gd name="T50" fmla="*/ 28 w 31"/>
                <a:gd name="T51" fmla="*/ 26 h 40"/>
                <a:gd name="T52" fmla="*/ 1 w 31"/>
                <a:gd name="T53" fmla="*/ 16 h 40"/>
                <a:gd name="T54" fmla="*/ 1 w 31"/>
                <a:gd name="T55" fmla="*/ 16 h 40"/>
                <a:gd name="T56" fmla="*/ 15 w 31"/>
                <a:gd name="T57" fmla="*/ 23 h 40"/>
                <a:gd name="T58" fmla="*/ 14 w 31"/>
                <a:gd name="T59" fmla="*/ 23 h 40"/>
                <a:gd name="T60" fmla="*/ 14 w 31"/>
                <a:gd name="T61" fmla="*/ 23 h 40"/>
                <a:gd name="T62" fmla="*/ 13 w 31"/>
                <a:gd name="T63" fmla="*/ 24 h 40"/>
                <a:gd name="T64" fmla="*/ 10 w 31"/>
                <a:gd name="T65" fmla="*/ 25 h 40"/>
                <a:gd name="T66" fmla="*/ 9 w 31"/>
                <a:gd name="T67" fmla="*/ 25 h 40"/>
                <a:gd name="T68" fmla="*/ 8 w 31"/>
                <a:gd name="T69" fmla="*/ 27 h 40"/>
                <a:gd name="T70" fmla="*/ 5 w 31"/>
                <a:gd name="T71" fmla="*/ 29 h 40"/>
                <a:gd name="T72" fmla="*/ 7 w 31"/>
                <a:gd name="T73" fmla="*/ 24 h 40"/>
                <a:gd name="T74" fmla="*/ 7 w 31"/>
                <a:gd name="T75" fmla="*/ 23 h 40"/>
                <a:gd name="T76" fmla="*/ 8 w 31"/>
                <a:gd name="T77" fmla="*/ 20 h 40"/>
                <a:gd name="T78" fmla="*/ 9 w 31"/>
                <a:gd name="T79" fmla="*/ 19 h 40"/>
                <a:gd name="T80" fmla="*/ 10 w 31"/>
                <a:gd name="T81" fmla="*/ 18 h 40"/>
                <a:gd name="T82" fmla="*/ 15 w 31"/>
                <a:gd name="T83" fmla="*/ 17 h 40"/>
                <a:gd name="T84" fmla="*/ 17 w 31"/>
                <a:gd name="T85" fmla="*/ 19 h 40"/>
                <a:gd name="T86" fmla="*/ 19 w 31"/>
                <a:gd name="T87" fmla="*/ 21 h 40"/>
                <a:gd name="T88" fmla="*/ 16 w 31"/>
                <a:gd name="T89" fmla="*/ 23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1" h="40">
                  <a:moveTo>
                    <a:pt x="28" y="26"/>
                  </a:moveTo>
                  <a:cubicBezTo>
                    <a:pt x="27" y="26"/>
                    <a:pt x="26" y="25"/>
                    <a:pt x="26" y="25"/>
                  </a:cubicBezTo>
                  <a:cubicBezTo>
                    <a:pt x="25" y="24"/>
                    <a:pt x="25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3" y="23"/>
                    <a:pt x="22" y="23"/>
                  </a:cubicBezTo>
                  <a:cubicBezTo>
                    <a:pt x="22" y="23"/>
                    <a:pt x="21" y="23"/>
                    <a:pt x="20" y="23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1"/>
                    <a:pt x="19" y="20"/>
                    <a:pt x="19" y="19"/>
                  </a:cubicBezTo>
                  <a:cubicBezTo>
                    <a:pt x="18" y="19"/>
                    <a:pt x="18" y="18"/>
                    <a:pt x="17" y="17"/>
                  </a:cubicBezTo>
                  <a:cubicBezTo>
                    <a:pt x="17" y="17"/>
                    <a:pt x="16" y="16"/>
                    <a:pt x="16" y="16"/>
                  </a:cubicBezTo>
                  <a:cubicBezTo>
                    <a:pt x="16" y="15"/>
                    <a:pt x="15" y="15"/>
                    <a:pt x="15" y="15"/>
                  </a:cubicBezTo>
                  <a:cubicBezTo>
                    <a:pt x="14" y="14"/>
                    <a:pt x="13" y="13"/>
                    <a:pt x="11" y="13"/>
                  </a:cubicBezTo>
                  <a:cubicBezTo>
                    <a:pt x="10" y="13"/>
                    <a:pt x="9" y="13"/>
                    <a:pt x="8" y="14"/>
                  </a:cubicBezTo>
                  <a:cubicBezTo>
                    <a:pt x="7" y="14"/>
                    <a:pt x="6" y="15"/>
                    <a:pt x="5" y="16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5" y="14"/>
                    <a:pt x="5" y="10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3" y="4"/>
                    <a:pt x="2" y="2"/>
                    <a:pt x="0" y="0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4" y="40"/>
                    <a:pt x="4" y="40"/>
                    <a:pt x="4" y="40"/>
                  </a:cubicBezTo>
                  <a:cubicBezTo>
                    <a:pt x="4" y="40"/>
                    <a:pt x="6" y="35"/>
                    <a:pt x="9" y="31"/>
                  </a:cubicBezTo>
                  <a:cubicBezTo>
                    <a:pt x="10" y="30"/>
                    <a:pt x="10" y="29"/>
                    <a:pt x="11" y="29"/>
                  </a:cubicBezTo>
                  <a:cubicBezTo>
                    <a:pt x="11" y="29"/>
                    <a:pt x="11" y="28"/>
                    <a:pt x="11" y="28"/>
                  </a:cubicBezTo>
                  <a:cubicBezTo>
                    <a:pt x="12" y="28"/>
                    <a:pt x="12" y="28"/>
                    <a:pt x="12" y="28"/>
                  </a:cubicBezTo>
                  <a:cubicBezTo>
                    <a:pt x="12" y="27"/>
                    <a:pt x="13" y="27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5" y="26"/>
                    <a:pt x="15" y="26"/>
                    <a:pt x="16" y="25"/>
                  </a:cubicBezTo>
                  <a:cubicBezTo>
                    <a:pt x="16" y="25"/>
                    <a:pt x="16" y="25"/>
                    <a:pt x="16" y="25"/>
                  </a:cubicBezTo>
                  <a:cubicBezTo>
                    <a:pt x="17" y="25"/>
                    <a:pt x="19" y="24"/>
                    <a:pt x="20" y="24"/>
                  </a:cubicBezTo>
                  <a:cubicBezTo>
                    <a:pt x="20" y="24"/>
                    <a:pt x="20" y="24"/>
                    <a:pt x="20" y="24"/>
                  </a:cubicBezTo>
                  <a:cubicBezTo>
                    <a:pt x="20" y="24"/>
                    <a:pt x="20" y="24"/>
                    <a:pt x="20" y="24"/>
                  </a:cubicBezTo>
                  <a:cubicBezTo>
                    <a:pt x="21" y="24"/>
                    <a:pt x="21" y="24"/>
                    <a:pt x="21" y="25"/>
                  </a:cubicBezTo>
                  <a:cubicBezTo>
                    <a:pt x="22" y="25"/>
                    <a:pt x="23" y="25"/>
                    <a:pt x="24" y="25"/>
                  </a:cubicBezTo>
                  <a:cubicBezTo>
                    <a:pt x="24" y="25"/>
                    <a:pt x="24" y="25"/>
                    <a:pt x="24" y="25"/>
                  </a:cubicBezTo>
                  <a:cubicBezTo>
                    <a:pt x="24" y="25"/>
                    <a:pt x="24" y="25"/>
                    <a:pt x="24" y="25"/>
                  </a:cubicBezTo>
                  <a:cubicBezTo>
                    <a:pt x="24" y="25"/>
                    <a:pt x="24" y="25"/>
                    <a:pt x="24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6" y="26"/>
                    <a:pt x="27" y="26"/>
                    <a:pt x="27" y="26"/>
                  </a:cubicBezTo>
                  <a:cubicBezTo>
                    <a:pt x="28" y="27"/>
                    <a:pt x="30" y="28"/>
                    <a:pt x="31" y="29"/>
                  </a:cubicBezTo>
                  <a:cubicBezTo>
                    <a:pt x="31" y="29"/>
                    <a:pt x="30" y="27"/>
                    <a:pt x="28" y="26"/>
                  </a:cubicBezTo>
                  <a:close/>
                  <a:moveTo>
                    <a:pt x="1" y="16"/>
                  </a:moveTo>
                  <a:cubicBezTo>
                    <a:pt x="1" y="16"/>
                    <a:pt x="1" y="16"/>
                    <a:pt x="1" y="16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1" y="16"/>
                    <a:pt x="1" y="16"/>
                    <a:pt x="1" y="16"/>
                  </a:cubicBezTo>
                  <a:close/>
                  <a:moveTo>
                    <a:pt x="16" y="23"/>
                  </a:moveTo>
                  <a:cubicBezTo>
                    <a:pt x="16" y="23"/>
                    <a:pt x="15" y="23"/>
                    <a:pt x="15" y="23"/>
                  </a:cubicBezTo>
                  <a:cubicBezTo>
                    <a:pt x="15" y="23"/>
                    <a:pt x="14" y="23"/>
                    <a:pt x="14" y="23"/>
                  </a:cubicBezTo>
                  <a:cubicBezTo>
                    <a:pt x="14" y="23"/>
                    <a:pt x="14" y="23"/>
                    <a:pt x="14" y="23"/>
                  </a:cubicBezTo>
                  <a:cubicBezTo>
                    <a:pt x="14" y="23"/>
                    <a:pt x="14" y="23"/>
                    <a:pt x="14" y="23"/>
                  </a:cubicBezTo>
                  <a:cubicBezTo>
                    <a:pt x="14" y="23"/>
                    <a:pt x="14" y="23"/>
                    <a:pt x="14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23"/>
                    <a:pt x="13" y="24"/>
                    <a:pt x="13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1" y="24"/>
                    <a:pt x="11" y="24"/>
                    <a:pt x="10" y="25"/>
                  </a:cubicBezTo>
                  <a:cubicBezTo>
                    <a:pt x="10" y="25"/>
                    <a:pt x="10" y="25"/>
                    <a:pt x="9" y="25"/>
                  </a:cubicBezTo>
                  <a:cubicBezTo>
                    <a:pt x="9" y="25"/>
                    <a:pt x="9" y="25"/>
                    <a:pt x="9" y="25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8" y="26"/>
                    <a:pt x="8" y="27"/>
                  </a:cubicBezTo>
                  <a:cubicBezTo>
                    <a:pt x="8" y="27"/>
                    <a:pt x="8" y="27"/>
                    <a:pt x="8" y="27"/>
                  </a:cubicBezTo>
                  <a:cubicBezTo>
                    <a:pt x="7" y="27"/>
                    <a:pt x="6" y="28"/>
                    <a:pt x="5" y="29"/>
                  </a:cubicBezTo>
                  <a:cubicBezTo>
                    <a:pt x="5" y="29"/>
                    <a:pt x="5" y="28"/>
                    <a:pt x="6" y="26"/>
                  </a:cubicBezTo>
                  <a:cubicBezTo>
                    <a:pt x="6" y="26"/>
                    <a:pt x="6" y="25"/>
                    <a:pt x="7" y="24"/>
                  </a:cubicBezTo>
                  <a:cubicBezTo>
                    <a:pt x="7" y="24"/>
                    <a:pt x="7" y="24"/>
                    <a:pt x="7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3"/>
                    <a:pt x="7" y="22"/>
                    <a:pt x="7" y="22"/>
                  </a:cubicBezTo>
                  <a:cubicBezTo>
                    <a:pt x="8" y="22"/>
                    <a:pt x="8" y="21"/>
                    <a:pt x="8" y="20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9" y="20"/>
                    <a:pt x="9" y="20"/>
                    <a:pt x="9" y="19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9" y="19"/>
                    <a:pt x="10" y="19"/>
                    <a:pt x="10" y="18"/>
                  </a:cubicBezTo>
                  <a:cubicBezTo>
                    <a:pt x="10" y="18"/>
                    <a:pt x="10" y="18"/>
                    <a:pt x="11" y="18"/>
                  </a:cubicBezTo>
                  <a:cubicBezTo>
                    <a:pt x="12" y="17"/>
                    <a:pt x="13" y="16"/>
                    <a:pt x="15" y="17"/>
                  </a:cubicBezTo>
                  <a:cubicBezTo>
                    <a:pt x="15" y="17"/>
                    <a:pt x="15" y="18"/>
                    <a:pt x="16" y="18"/>
                  </a:cubicBezTo>
                  <a:cubicBezTo>
                    <a:pt x="16" y="18"/>
                    <a:pt x="17" y="19"/>
                    <a:pt x="17" y="19"/>
                  </a:cubicBezTo>
                  <a:cubicBezTo>
                    <a:pt x="17" y="19"/>
                    <a:pt x="17" y="19"/>
                    <a:pt x="17" y="19"/>
                  </a:cubicBezTo>
                  <a:cubicBezTo>
                    <a:pt x="18" y="20"/>
                    <a:pt x="18" y="21"/>
                    <a:pt x="19" y="21"/>
                  </a:cubicBezTo>
                  <a:cubicBezTo>
                    <a:pt x="19" y="22"/>
                    <a:pt x="19" y="22"/>
                    <a:pt x="19" y="22"/>
                  </a:cubicBezTo>
                  <a:cubicBezTo>
                    <a:pt x="18" y="22"/>
                    <a:pt x="17" y="22"/>
                    <a:pt x="16" y="23"/>
                  </a:cubicBezTo>
                  <a:close/>
                </a:path>
              </a:pathLst>
            </a:custGeom>
            <a:solidFill>
              <a:srgbClr val="4DA0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41" name="Freeform 8004"/>
            <p:cNvSpPr>
              <a:spLocks/>
            </p:cNvSpPr>
            <p:nvPr/>
          </p:nvSpPr>
          <p:spPr bwMode="auto">
            <a:xfrm>
              <a:off x="5079" y="2845"/>
              <a:ext cx="11" cy="11"/>
            </a:xfrm>
            <a:custGeom>
              <a:avLst/>
              <a:gdLst>
                <a:gd name="T0" fmla="*/ 9 w 9"/>
                <a:gd name="T1" fmla="*/ 3 h 9"/>
                <a:gd name="T2" fmla="*/ 9 w 9"/>
                <a:gd name="T3" fmla="*/ 3 h 9"/>
                <a:gd name="T4" fmla="*/ 9 w 9"/>
                <a:gd name="T5" fmla="*/ 5 h 9"/>
                <a:gd name="T6" fmla="*/ 8 w 9"/>
                <a:gd name="T7" fmla="*/ 7 h 9"/>
                <a:gd name="T8" fmla="*/ 7 w 9"/>
                <a:gd name="T9" fmla="*/ 7 h 9"/>
                <a:gd name="T10" fmla="*/ 6 w 9"/>
                <a:gd name="T11" fmla="*/ 7 h 9"/>
                <a:gd name="T12" fmla="*/ 6 w 9"/>
                <a:gd name="T13" fmla="*/ 7 h 9"/>
                <a:gd name="T14" fmla="*/ 6 w 9"/>
                <a:gd name="T15" fmla="*/ 7 h 9"/>
                <a:gd name="T16" fmla="*/ 5 w 9"/>
                <a:gd name="T17" fmla="*/ 7 h 9"/>
                <a:gd name="T18" fmla="*/ 5 w 9"/>
                <a:gd name="T19" fmla="*/ 8 h 9"/>
                <a:gd name="T20" fmla="*/ 4 w 9"/>
                <a:gd name="T21" fmla="*/ 8 h 9"/>
                <a:gd name="T22" fmla="*/ 2 w 9"/>
                <a:gd name="T23" fmla="*/ 9 h 9"/>
                <a:gd name="T24" fmla="*/ 1 w 9"/>
                <a:gd name="T25" fmla="*/ 9 h 9"/>
                <a:gd name="T26" fmla="*/ 1 w 9"/>
                <a:gd name="T27" fmla="*/ 9 h 9"/>
                <a:gd name="T28" fmla="*/ 1 w 9"/>
                <a:gd name="T29" fmla="*/ 6 h 9"/>
                <a:gd name="T30" fmla="*/ 0 w 9"/>
                <a:gd name="T31" fmla="*/ 4 h 9"/>
                <a:gd name="T32" fmla="*/ 1 w 9"/>
                <a:gd name="T33" fmla="*/ 4 h 9"/>
                <a:gd name="T34" fmla="*/ 1 w 9"/>
                <a:gd name="T35" fmla="*/ 3 h 9"/>
                <a:gd name="T36" fmla="*/ 1 w 9"/>
                <a:gd name="T37" fmla="*/ 3 h 9"/>
                <a:gd name="T38" fmla="*/ 2 w 9"/>
                <a:gd name="T39" fmla="*/ 2 h 9"/>
                <a:gd name="T40" fmla="*/ 3 w 9"/>
                <a:gd name="T41" fmla="*/ 2 h 9"/>
                <a:gd name="T42" fmla="*/ 7 w 9"/>
                <a:gd name="T43" fmla="*/ 1 h 9"/>
                <a:gd name="T44" fmla="*/ 8 w 9"/>
                <a:gd name="T45" fmla="*/ 2 h 9"/>
                <a:gd name="T46" fmla="*/ 9 w 9"/>
                <a:gd name="T47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" h="9">
                  <a:moveTo>
                    <a:pt x="9" y="3"/>
                  </a:moveTo>
                  <a:cubicBezTo>
                    <a:pt x="9" y="3"/>
                    <a:pt x="9" y="3"/>
                    <a:pt x="9" y="3"/>
                  </a:cubicBezTo>
                  <a:cubicBezTo>
                    <a:pt x="9" y="4"/>
                    <a:pt x="9" y="5"/>
                    <a:pt x="9" y="5"/>
                  </a:cubicBezTo>
                  <a:cubicBezTo>
                    <a:pt x="9" y="6"/>
                    <a:pt x="8" y="6"/>
                    <a:pt x="8" y="7"/>
                  </a:cubicBezTo>
                  <a:cubicBezTo>
                    <a:pt x="8" y="7"/>
                    <a:pt x="7" y="7"/>
                    <a:pt x="7" y="7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7"/>
                    <a:pt x="5" y="8"/>
                    <a:pt x="5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3" y="8"/>
                    <a:pt x="3" y="8"/>
                    <a:pt x="2" y="9"/>
                  </a:cubicBezTo>
                  <a:cubicBezTo>
                    <a:pt x="2" y="9"/>
                    <a:pt x="2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8"/>
                    <a:pt x="1" y="7"/>
                    <a:pt x="1" y="6"/>
                  </a:cubicBezTo>
                  <a:cubicBezTo>
                    <a:pt x="1" y="5"/>
                    <a:pt x="1" y="5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2" y="3"/>
                    <a:pt x="2" y="2"/>
                  </a:cubicBezTo>
                  <a:cubicBezTo>
                    <a:pt x="2" y="2"/>
                    <a:pt x="2" y="2"/>
                    <a:pt x="3" y="2"/>
                  </a:cubicBezTo>
                  <a:cubicBezTo>
                    <a:pt x="4" y="1"/>
                    <a:pt x="5" y="0"/>
                    <a:pt x="7" y="1"/>
                  </a:cubicBezTo>
                  <a:cubicBezTo>
                    <a:pt x="7" y="1"/>
                    <a:pt x="7" y="2"/>
                    <a:pt x="8" y="2"/>
                  </a:cubicBezTo>
                  <a:cubicBezTo>
                    <a:pt x="8" y="2"/>
                    <a:pt x="9" y="3"/>
                    <a:pt x="9" y="3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42" name="Freeform 8005"/>
            <p:cNvSpPr>
              <a:spLocks/>
            </p:cNvSpPr>
            <p:nvPr/>
          </p:nvSpPr>
          <p:spPr bwMode="auto">
            <a:xfrm>
              <a:off x="5069" y="2850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4DA0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43" name="Freeform 8006"/>
            <p:cNvSpPr>
              <a:spLocks/>
            </p:cNvSpPr>
            <p:nvPr/>
          </p:nvSpPr>
          <p:spPr bwMode="auto">
            <a:xfrm>
              <a:off x="5069" y="2850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4DA0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44" name="Freeform 8007"/>
            <p:cNvSpPr>
              <a:spLocks/>
            </p:cNvSpPr>
            <p:nvPr/>
          </p:nvSpPr>
          <p:spPr bwMode="auto">
            <a:xfrm>
              <a:off x="5097" y="2861"/>
              <a:ext cx="0" cy="3"/>
            </a:xfrm>
            <a:custGeom>
              <a:avLst/>
              <a:gdLst>
                <a:gd name="T0" fmla="*/ 3 h 3"/>
                <a:gd name="T1" fmla="*/ 0 h 3"/>
                <a:gd name="T2" fmla="*/ 1 h 3"/>
                <a:gd name="T3" fmla="*/ 3 h 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3">
                  <a:moveTo>
                    <a:pt x="0" y="3"/>
                  </a:moveTo>
                  <a:cubicBezTo>
                    <a:pt x="0" y="3"/>
                    <a:pt x="0" y="2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3"/>
                  </a:cubicBezTo>
                  <a:close/>
                </a:path>
              </a:pathLst>
            </a:custGeom>
            <a:solidFill>
              <a:srgbClr val="4DA0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45" name="Freeform 8008"/>
            <p:cNvSpPr>
              <a:spLocks/>
            </p:cNvSpPr>
            <p:nvPr/>
          </p:nvSpPr>
          <p:spPr bwMode="auto">
            <a:xfrm>
              <a:off x="5093" y="2854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4DA0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46" name="Freeform 8009"/>
            <p:cNvSpPr>
              <a:spLocks/>
            </p:cNvSpPr>
            <p:nvPr/>
          </p:nvSpPr>
          <p:spPr bwMode="auto">
            <a:xfrm>
              <a:off x="5098" y="2856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4DA0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47" name="Freeform 8010"/>
            <p:cNvSpPr>
              <a:spLocks/>
            </p:cNvSpPr>
            <p:nvPr/>
          </p:nvSpPr>
          <p:spPr bwMode="auto">
            <a:xfrm>
              <a:off x="5093" y="2855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4DA0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48" name="Freeform 8011"/>
            <p:cNvSpPr>
              <a:spLocks/>
            </p:cNvSpPr>
            <p:nvPr/>
          </p:nvSpPr>
          <p:spPr bwMode="auto">
            <a:xfrm>
              <a:off x="5093" y="2855"/>
              <a:ext cx="4" cy="7"/>
            </a:xfrm>
            <a:custGeom>
              <a:avLst/>
              <a:gdLst>
                <a:gd name="T0" fmla="*/ 3 w 3"/>
                <a:gd name="T1" fmla="*/ 5 h 6"/>
                <a:gd name="T2" fmla="*/ 3 w 3"/>
                <a:gd name="T3" fmla="*/ 6 h 6"/>
                <a:gd name="T4" fmla="*/ 0 w 3"/>
                <a:gd name="T5" fmla="*/ 0 h 6"/>
                <a:gd name="T6" fmla="*/ 1 w 3"/>
                <a:gd name="T7" fmla="*/ 1 h 6"/>
                <a:gd name="T8" fmla="*/ 3 w 3"/>
                <a:gd name="T9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6">
                  <a:moveTo>
                    <a:pt x="3" y="5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2" y="4"/>
                    <a:pt x="1" y="2"/>
                    <a:pt x="0" y="0"/>
                  </a:cubicBezTo>
                  <a:cubicBezTo>
                    <a:pt x="1" y="0"/>
                    <a:pt x="1" y="0"/>
                    <a:pt x="1" y="1"/>
                  </a:cubicBezTo>
                  <a:cubicBezTo>
                    <a:pt x="2" y="2"/>
                    <a:pt x="2" y="4"/>
                    <a:pt x="3" y="5"/>
                  </a:cubicBezTo>
                  <a:close/>
                </a:path>
              </a:pathLst>
            </a:custGeom>
            <a:solidFill>
              <a:srgbClr val="4DA0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49" name="Freeform 8012"/>
            <p:cNvSpPr>
              <a:spLocks/>
            </p:cNvSpPr>
            <p:nvPr/>
          </p:nvSpPr>
          <p:spPr bwMode="auto">
            <a:xfrm>
              <a:off x="5086" y="2854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4DA0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50" name="Freeform 8013"/>
            <p:cNvSpPr>
              <a:spLocks/>
            </p:cNvSpPr>
            <p:nvPr/>
          </p:nvSpPr>
          <p:spPr bwMode="auto">
            <a:xfrm>
              <a:off x="5129" y="2849"/>
              <a:ext cx="2" cy="3"/>
            </a:xfrm>
            <a:custGeom>
              <a:avLst/>
              <a:gdLst>
                <a:gd name="T0" fmla="*/ 0 w 2"/>
                <a:gd name="T1" fmla="*/ 1 h 3"/>
                <a:gd name="T2" fmla="*/ 1 w 2"/>
                <a:gd name="T3" fmla="*/ 3 h 3"/>
                <a:gd name="T4" fmla="*/ 2 w 2"/>
                <a:gd name="T5" fmla="*/ 0 h 3"/>
                <a:gd name="T6" fmla="*/ 0 w 2"/>
                <a:gd name="T7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">
                  <a:moveTo>
                    <a:pt x="0" y="1"/>
                  </a:moveTo>
                  <a:cubicBezTo>
                    <a:pt x="0" y="1"/>
                    <a:pt x="1" y="2"/>
                    <a:pt x="1" y="3"/>
                  </a:cubicBezTo>
                  <a:cubicBezTo>
                    <a:pt x="1" y="2"/>
                    <a:pt x="2" y="1"/>
                    <a:pt x="2" y="0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51" name="Freeform 8014"/>
            <p:cNvSpPr>
              <a:spLocks/>
            </p:cNvSpPr>
            <p:nvPr/>
          </p:nvSpPr>
          <p:spPr bwMode="auto">
            <a:xfrm>
              <a:off x="5132" y="2861"/>
              <a:ext cx="9" cy="13"/>
            </a:xfrm>
            <a:custGeom>
              <a:avLst/>
              <a:gdLst>
                <a:gd name="T0" fmla="*/ 1 w 7"/>
                <a:gd name="T1" fmla="*/ 0 h 11"/>
                <a:gd name="T2" fmla="*/ 0 w 7"/>
                <a:gd name="T3" fmla="*/ 1 h 11"/>
                <a:gd name="T4" fmla="*/ 0 w 7"/>
                <a:gd name="T5" fmla="*/ 11 h 11"/>
                <a:gd name="T6" fmla="*/ 7 w 7"/>
                <a:gd name="T7" fmla="*/ 11 h 11"/>
                <a:gd name="T8" fmla="*/ 6 w 7"/>
                <a:gd name="T9" fmla="*/ 5 h 11"/>
                <a:gd name="T10" fmla="*/ 1 w 7"/>
                <a:gd name="T11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11">
                  <a:moveTo>
                    <a:pt x="1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4"/>
                    <a:pt x="0" y="7"/>
                    <a:pt x="0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1"/>
                    <a:pt x="7" y="8"/>
                    <a:pt x="6" y="5"/>
                  </a:cubicBezTo>
                  <a:cubicBezTo>
                    <a:pt x="4" y="3"/>
                    <a:pt x="3" y="1"/>
                    <a:pt x="1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52" name="Freeform 8015"/>
            <p:cNvSpPr>
              <a:spLocks/>
            </p:cNvSpPr>
            <p:nvPr/>
          </p:nvSpPr>
          <p:spPr bwMode="auto">
            <a:xfrm>
              <a:off x="5139" y="2849"/>
              <a:ext cx="4" cy="7"/>
            </a:xfrm>
            <a:custGeom>
              <a:avLst/>
              <a:gdLst>
                <a:gd name="T0" fmla="*/ 0 w 3"/>
                <a:gd name="T1" fmla="*/ 0 h 6"/>
                <a:gd name="T2" fmla="*/ 0 w 3"/>
                <a:gd name="T3" fmla="*/ 0 h 6"/>
                <a:gd name="T4" fmla="*/ 0 w 3"/>
                <a:gd name="T5" fmla="*/ 0 h 6"/>
                <a:gd name="T6" fmla="*/ 2 w 3"/>
                <a:gd name="T7" fmla="*/ 5 h 6"/>
                <a:gd name="T8" fmla="*/ 3 w 3"/>
                <a:gd name="T9" fmla="*/ 6 h 6"/>
                <a:gd name="T10" fmla="*/ 0 w 3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6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2"/>
                    <a:pt x="2" y="3"/>
                    <a:pt x="2" y="5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2" y="3"/>
                    <a:pt x="0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53" name="Freeform 8016"/>
            <p:cNvSpPr>
              <a:spLocks/>
            </p:cNvSpPr>
            <p:nvPr/>
          </p:nvSpPr>
          <p:spPr bwMode="auto">
            <a:xfrm>
              <a:off x="5152" y="2843"/>
              <a:ext cx="1" cy="1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  <a:gd name="T4" fmla="*/ 1 w 1"/>
                <a:gd name="T5" fmla="*/ 1 h 1"/>
                <a:gd name="T6" fmla="*/ 0 w 1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1" y="1"/>
                  </a:cubicBezTo>
                  <a:cubicBezTo>
                    <a:pt x="1" y="1"/>
                    <a:pt x="0" y="1"/>
                    <a:pt x="0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54" name="Freeform 8017"/>
            <p:cNvSpPr>
              <a:spLocks/>
            </p:cNvSpPr>
            <p:nvPr/>
          </p:nvSpPr>
          <p:spPr bwMode="auto">
            <a:xfrm>
              <a:off x="5142" y="2844"/>
              <a:ext cx="2" cy="2"/>
            </a:xfrm>
            <a:custGeom>
              <a:avLst/>
              <a:gdLst>
                <a:gd name="T0" fmla="*/ 0 w 2"/>
                <a:gd name="T1" fmla="*/ 1 h 2"/>
                <a:gd name="T2" fmla="*/ 0 w 2"/>
                <a:gd name="T3" fmla="*/ 2 h 2"/>
                <a:gd name="T4" fmla="*/ 2 w 2"/>
                <a:gd name="T5" fmla="*/ 2 h 2"/>
                <a:gd name="T6" fmla="*/ 2 w 2"/>
                <a:gd name="T7" fmla="*/ 0 h 2"/>
                <a:gd name="T8" fmla="*/ 1 w 2"/>
                <a:gd name="T9" fmla="*/ 0 h 2"/>
                <a:gd name="T10" fmla="*/ 0 w 2"/>
                <a:gd name="T11" fmla="*/ 1 h 2"/>
                <a:gd name="T12" fmla="*/ 0 w 2"/>
                <a:gd name="T13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2">
                  <a:moveTo>
                    <a:pt x="0" y="1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1" y="2"/>
                    <a:pt x="1" y="2"/>
                    <a:pt x="2" y="2"/>
                  </a:cubicBezTo>
                  <a:cubicBezTo>
                    <a:pt x="2" y="2"/>
                    <a:pt x="2" y="1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55" name="Freeform 8018"/>
            <p:cNvSpPr>
              <a:spLocks/>
            </p:cNvSpPr>
            <p:nvPr/>
          </p:nvSpPr>
          <p:spPr bwMode="auto">
            <a:xfrm>
              <a:off x="5127" y="2823"/>
              <a:ext cx="15" cy="17"/>
            </a:xfrm>
            <a:custGeom>
              <a:avLst/>
              <a:gdLst>
                <a:gd name="T0" fmla="*/ 7 w 12"/>
                <a:gd name="T1" fmla="*/ 12 h 14"/>
                <a:gd name="T2" fmla="*/ 9 w 12"/>
                <a:gd name="T3" fmla="*/ 14 h 14"/>
                <a:gd name="T4" fmla="*/ 12 w 12"/>
                <a:gd name="T5" fmla="*/ 12 h 14"/>
                <a:gd name="T6" fmla="*/ 1 w 12"/>
                <a:gd name="T7" fmla="*/ 1 h 14"/>
                <a:gd name="T8" fmla="*/ 0 w 12"/>
                <a:gd name="T9" fmla="*/ 2 h 14"/>
                <a:gd name="T10" fmla="*/ 7 w 12"/>
                <a:gd name="T11" fmla="*/ 1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4">
                  <a:moveTo>
                    <a:pt x="7" y="12"/>
                  </a:moveTo>
                  <a:cubicBezTo>
                    <a:pt x="8" y="13"/>
                    <a:pt x="8" y="14"/>
                    <a:pt x="9" y="14"/>
                  </a:cubicBezTo>
                  <a:cubicBezTo>
                    <a:pt x="10" y="13"/>
                    <a:pt x="11" y="13"/>
                    <a:pt x="12" y="12"/>
                  </a:cubicBezTo>
                  <a:cubicBezTo>
                    <a:pt x="11" y="7"/>
                    <a:pt x="9" y="0"/>
                    <a:pt x="1" y="1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4" y="2"/>
                    <a:pt x="9" y="5"/>
                    <a:pt x="7" y="12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56" name="Freeform 8019"/>
            <p:cNvSpPr>
              <a:spLocks/>
            </p:cNvSpPr>
            <p:nvPr/>
          </p:nvSpPr>
          <p:spPr bwMode="auto">
            <a:xfrm>
              <a:off x="5119" y="2844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57" name="Freeform 8020"/>
            <p:cNvSpPr>
              <a:spLocks/>
            </p:cNvSpPr>
            <p:nvPr/>
          </p:nvSpPr>
          <p:spPr bwMode="auto">
            <a:xfrm>
              <a:off x="5135" y="2840"/>
              <a:ext cx="2" cy="3"/>
            </a:xfrm>
            <a:custGeom>
              <a:avLst/>
              <a:gdLst>
                <a:gd name="T0" fmla="*/ 2 w 2"/>
                <a:gd name="T1" fmla="*/ 2 h 2"/>
                <a:gd name="T2" fmla="*/ 1 w 2"/>
                <a:gd name="T3" fmla="*/ 0 h 2"/>
                <a:gd name="T4" fmla="*/ 0 w 2"/>
                <a:gd name="T5" fmla="*/ 1 h 2"/>
                <a:gd name="T6" fmla="*/ 1 w 2"/>
                <a:gd name="T7" fmla="*/ 2 h 2"/>
                <a:gd name="T8" fmla="*/ 2 w 2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cubicBezTo>
                    <a:pt x="1" y="1"/>
                    <a:pt x="1" y="1"/>
                    <a:pt x="1" y="0"/>
                  </a:cubicBezTo>
                  <a:cubicBezTo>
                    <a:pt x="1" y="1"/>
                    <a:pt x="1" y="1"/>
                    <a:pt x="0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2" y="2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58" name="Oval 8021"/>
            <p:cNvSpPr>
              <a:spLocks noChangeArrowheads="1"/>
            </p:cNvSpPr>
            <p:nvPr/>
          </p:nvSpPr>
          <p:spPr bwMode="auto">
            <a:xfrm>
              <a:off x="5167" y="2856"/>
              <a:ext cx="1" cy="1"/>
            </a:xfrm>
            <a:prstGeom prst="ellipse">
              <a:avLst/>
            </a:pr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59" name="Freeform 8022"/>
            <p:cNvSpPr>
              <a:spLocks/>
            </p:cNvSpPr>
            <p:nvPr/>
          </p:nvSpPr>
          <p:spPr bwMode="auto">
            <a:xfrm>
              <a:off x="5133" y="2855"/>
              <a:ext cx="5" cy="6"/>
            </a:xfrm>
            <a:custGeom>
              <a:avLst/>
              <a:gdLst>
                <a:gd name="T0" fmla="*/ 0 w 4"/>
                <a:gd name="T1" fmla="*/ 3 h 5"/>
                <a:gd name="T2" fmla="*/ 4 w 4"/>
                <a:gd name="T3" fmla="*/ 5 h 5"/>
                <a:gd name="T4" fmla="*/ 3 w 4"/>
                <a:gd name="T5" fmla="*/ 3 h 5"/>
                <a:gd name="T6" fmla="*/ 2 w 4"/>
                <a:gd name="T7" fmla="*/ 0 h 5"/>
                <a:gd name="T8" fmla="*/ 0 w 4"/>
                <a:gd name="T9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5">
                  <a:moveTo>
                    <a:pt x="0" y="3"/>
                  </a:moveTo>
                  <a:cubicBezTo>
                    <a:pt x="2" y="4"/>
                    <a:pt x="3" y="4"/>
                    <a:pt x="4" y="5"/>
                  </a:cubicBezTo>
                  <a:cubicBezTo>
                    <a:pt x="4" y="4"/>
                    <a:pt x="4" y="4"/>
                    <a:pt x="3" y="3"/>
                  </a:cubicBezTo>
                  <a:cubicBezTo>
                    <a:pt x="3" y="2"/>
                    <a:pt x="3" y="1"/>
                    <a:pt x="2" y="0"/>
                  </a:cubicBezTo>
                  <a:cubicBezTo>
                    <a:pt x="1" y="1"/>
                    <a:pt x="1" y="2"/>
                    <a:pt x="0" y="3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60" name="Freeform 8023"/>
            <p:cNvSpPr>
              <a:spLocks/>
            </p:cNvSpPr>
            <p:nvPr/>
          </p:nvSpPr>
          <p:spPr bwMode="auto">
            <a:xfrm>
              <a:off x="5122" y="2824"/>
              <a:ext cx="3" cy="2"/>
            </a:xfrm>
            <a:custGeom>
              <a:avLst/>
              <a:gdLst>
                <a:gd name="T0" fmla="*/ 1 w 2"/>
                <a:gd name="T1" fmla="*/ 0 h 1"/>
                <a:gd name="T2" fmla="*/ 0 w 2"/>
                <a:gd name="T3" fmla="*/ 1 h 1"/>
                <a:gd name="T4" fmla="*/ 1 w 2"/>
                <a:gd name="T5" fmla="*/ 1 h 1"/>
                <a:gd name="T6" fmla="*/ 2 w 2"/>
                <a:gd name="T7" fmla="*/ 1 h 1"/>
                <a:gd name="T8" fmla="*/ 2 w 2"/>
                <a:gd name="T9" fmla="*/ 0 h 1"/>
                <a:gd name="T10" fmla="*/ 1 w 2"/>
                <a:gd name="T11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1">
                  <a:moveTo>
                    <a:pt x="1" y="0"/>
                  </a:moveTo>
                  <a:cubicBezTo>
                    <a:pt x="0" y="0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1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61" name="Freeform 8024"/>
            <p:cNvSpPr>
              <a:spLocks/>
            </p:cNvSpPr>
            <p:nvPr/>
          </p:nvSpPr>
          <p:spPr bwMode="auto">
            <a:xfrm>
              <a:off x="5118" y="2844"/>
              <a:ext cx="1" cy="2"/>
            </a:xfrm>
            <a:custGeom>
              <a:avLst/>
              <a:gdLst>
                <a:gd name="T0" fmla="*/ 0 w 1"/>
                <a:gd name="T1" fmla="*/ 1 h 2"/>
                <a:gd name="T2" fmla="*/ 1 w 1"/>
                <a:gd name="T3" fmla="*/ 2 h 2"/>
                <a:gd name="T4" fmla="*/ 1 w 1"/>
                <a:gd name="T5" fmla="*/ 0 h 2"/>
                <a:gd name="T6" fmla="*/ 1 w 1"/>
                <a:gd name="T7" fmla="*/ 0 h 2"/>
                <a:gd name="T8" fmla="*/ 0 w 1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2">
                  <a:moveTo>
                    <a:pt x="0" y="1"/>
                  </a:moveTo>
                  <a:cubicBezTo>
                    <a:pt x="0" y="1"/>
                    <a:pt x="1" y="2"/>
                    <a:pt x="1" y="2"/>
                  </a:cubicBezTo>
                  <a:cubicBezTo>
                    <a:pt x="1" y="1"/>
                    <a:pt x="1" y="1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62" name="Freeform 8025"/>
            <p:cNvSpPr>
              <a:spLocks/>
            </p:cNvSpPr>
            <p:nvPr/>
          </p:nvSpPr>
          <p:spPr bwMode="auto">
            <a:xfrm>
              <a:off x="5143" y="2847"/>
              <a:ext cx="1" cy="2"/>
            </a:xfrm>
            <a:custGeom>
              <a:avLst/>
              <a:gdLst>
                <a:gd name="T0" fmla="*/ 0 w 1"/>
                <a:gd name="T1" fmla="*/ 0 h 1"/>
                <a:gd name="T2" fmla="*/ 1 w 1"/>
                <a:gd name="T3" fmla="*/ 1 h 1"/>
                <a:gd name="T4" fmla="*/ 1 w 1"/>
                <a:gd name="T5" fmla="*/ 0 h 1"/>
                <a:gd name="T6" fmla="*/ 0 w 1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1"/>
                    <a:pt x="0" y="1"/>
                    <a:pt x="1" y="1"/>
                  </a:cubicBezTo>
                  <a:cubicBezTo>
                    <a:pt x="1" y="1"/>
                    <a:pt x="1" y="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63" name="Freeform 8026"/>
            <p:cNvSpPr>
              <a:spLocks/>
            </p:cNvSpPr>
            <p:nvPr/>
          </p:nvSpPr>
          <p:spPr bwMode="auto">
            <a:xfrm>
              <a:off x="5127" y="2843"/>
              <a:ext cx="4" cy="2"/>
            </a:xfrm>
            <a:custGeom>
              <a:avLst/>
              <a:gdLst>
                <a:gd name="T0" fmla="*/ 3 w 3"/>
                <a:gd name="T1" fmla="*/ 2 h 2"/>
                <a:gd name="T2" fmla="*/ 0 w 3"/>
                <a:gd name="T3" fmla="*/ 0 h 2"/>
                <a:gd name="T4" fmla="*/ 0 w 3"/>
                <a:gd name="T5" fmla="*/ 2 h 2"/>
                <a:gd name="T6" fmla="*/ 3 w 3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2">
                  <a:moveTo>
                    <a:pt x="3" y="2"/>
                  </a:moveTo>
                  <a:cubicBezTo>
                    <a:pt x="2" y="1"/>
                    <a:pt x="1" y="0"/>
                    <a:pt x="0" y="0"/>
                  </a:cubicBezTo>
                  <a:cubicBezTo>
                    <a:pt x="0" y="0"/>
                    <a:pt x="0" y="1"/>
                    <a:pt x="0" y="2"/>
                  </a:cubicBezTo>
                  <a:cubicBezTo>
                    <a:pt x="1" y="1"/>
                    <a:pt x="2" y="1"/>
                    <a:pt x="3" y="2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64" name="Freeform 8027"/>
            <p:cNvSpPr>
              <a:spLocks/>
            </p:cNvSpPr>
            <p:nvPr/>
          </p:nvSpPr>
          <p:spPr bwMode="auto">
            <a:xfrm>
              <a:off x="5149" y="2841"/>
              <a:ext cx="5" cy="5"/>
            </a:xfrm>
            <a:custGeom>
              <a:avLst/>
              <a:gdLst>
                <a:gd name="T0" fmla="*/ 1 w 4"/>
                <a:gd name="T1" fmla="*/ 4 h 4"/>
                <a:gd name="T2" fmla="*/ 1 w 4"/>
                <a:gd name="T3" fmla="*/ 4 h 4"/>
                <a:gd name="T4" fmla="*/ 3 w 4"/>
                <a:gd name="T5" fmla="*/ 4 h 4"/>
                <a:gd name="T6" fmla="*/ 4 w 4"/>
                <a:gd name="T7" fmla="*/ 2 h 4"/>
                <a:gd name="T8" fmla="*/ 2 w 4"/>
                <a:gd name="T9" fmla="*/ 1 h 4"/>
                <a:gd name="T10" fmla="*/ 3 w 4"/>
                <a:gd name="T11" fmla="*/ 2 h 4"/>
                <a:gd name="T12" fmla="*/ 2 w 4"/>
                <a:gd name="T13" fmla="*/ 1 h 4"/>
                <a:gd name="T14" fmla="*/ 0 w 4"/>
                <a:gd name="T15" fmla="*/ 0 h 4"/>
                <a:gd name="T16" fmla="*/ 1 w 4"/>
                <a:gd name="T17" fmla="*/ 4 h 4"/>
                <a:gd name="T18" fmla="*/ 1 w 4"/>
                <a:gd name="T1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" h="4">
                  <a:moveTo>
                    <a:pt x="1" y="4"/>
                  </a:move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2" y="4"/>
                    <a:pt x="3" y="4"/>
                  </a:cubicBezTo>
                  <a:cubicBezTo>
                    <a:pt x="3" y="3"/>
                    <a:pt x="3" y="2"/>
                    <a:pt x="4" y="2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2"/>
                    <a:pt x="3" y="2"/>
                    <a:pt x="3" y="2"/>
                  </a:cubicBezTo>
                  <a:cubicBezTo>
                    <a:pt x="2" y="2"/>
                    <a:pt x="2" y="1"/>
                    <a:pt x="2" y="1"/>
                  </a:cubicBezTo>
                  <a:cubicBezTo>
                    <a:pt x="1" y="1"/>
                    <a:pt x="1" y="0"/>
                    <a:pt x="0" y="0"/>
                  </a:cubicBezTo>
                  <a:cubicBezTo>
                    <a:pt x="0" y="1"/>
                    <a:pt x="0" y="2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65" name="Freeform 8028"/>
            <p:cNvSpPr>
              <a:spLocks/>
            </p:cNvSpPr>
            <p:nvPr/>
          </p:nvSpPr>
          <p:spPr bwMode="auto">
            <a:xfrm>
              <a:off x="5153" y="2844"/>
              <a:ext cx="3" cy="3"/>
            </a:xfrm>
            <a:custGeom>
              <a:avLst/>
              <a:gdLst>
                <a:gd name="T0" fmla="*/ 3 w 3"/>
                <a:gd name="T1" fmla="*/ 3 h 3"/>
                <a:gd name="T2" fmla="*/ 3 w 3"/>
                <a:gd name="T3" fmla="*/ 2 h 3"/>
                <a:gd name="T4" fmla="*/ 1 w 3"/>
                <a:gd name="T5" fmla="*/ 0 h 3"/>
                <a:gd name="T6" fmla="*/ 0 w 3"/>
                <a:gd name="T7" fmla="*/ 2 h 3"/>
                <a:gd name="T8" fmla="*/ 0 w 3"/>
                <a:gd name="T9" fmla="*/ 2 h 3"/>
                <a:gd name="T10" fmla="*/ 3 w 3"/>
                <a:gd name="T11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3">
                  <a:moveTo>
                    <a:pt x="3" y="3"/>
                  </a:move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2" y="1"/>
                    <a:pt x="1" y="0"/>
                  </a:cubicBezTo>
                  <a:cubicBezTo>
                    <a:pt x="1" y="1"/>
                    <a:pt x="0" y="1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2"/>
                    <a:pt x="2" y="2"/>
                    <a:pt x="3" y="3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66" name="Freeform 8029"/>
            <p:cNvSpPr>
              <a:spLocks/>
            </p:cNvSpPr>
            <p:nvPr/>
          </p:nvSpPr>
          <p:spPr bwMode="auto">
            <a:xfrm>
              <a:off x="5161" y="2855"/>
              <a:ext cx="2" cy="1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1 h 1"/>
                <a:gd name="T4" fmla="*/ 1 w 1"/>
                <a:gd name="T5" fmla="*/ 1 h 1"/>
                <a:gd name="T6" fmla="*/ 1 w 1"/>
                <a:gd name="T7" fmla="*/ 0 h 1"/>
                <a:gd name="T8" fmla="*/ 0 w 1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0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67" name="Freeform 8030"/>
            <p:cNvSpPr>
              <a:spLocks/>
            </p:cNvSpPr>
            <p:nvPr/>
          </p:nvSpPr>
          <p:spPr bwMode="auto">
            <a:xfrm>
              <a:off x="5161" y="2855"/>
              <a:ext cx="0" cy="1"/>
            </a:xfrm>
            <a:custGeom>
              <a:avLst/>
              <a:gdLst>
                <a:gd name="T0" fmla="*/ 1 h 1"/>
                <a:gd name="T1" fmla="*/ 0 h 1"/>
                <a:gd name="T2" fmla="*/ 0 h 1"/>
                <a:gd name="T3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68" name="Freeform 8031"/>
            <p:cNvSpPr>
              <a:spLocks/>
            </p:cNvSpPr>
            <p:nvPr/>
          </p:nvSpPr>
          <p:spPr bwMode="auto">
            <a:xfrm>
              <a:off x="5156" y="2849"/>
              <a:ext cx="4" cy="3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0 h 3"/>
                <a:gd name="T4" fmla="*/ 2 w 3"/>
                <a:gd name="T5" fmla="*/ 3 h 3"/>
                <a:gd name="T6" fmla="*/ 3 w 3"/>
                <a:gd name="T7" fmla="*/ 3 h 3"/>
                <a:gd name="T8" fmla="*/ 2 w 3"/>
                <a:gd name="T9" fmla="*/ 1 h 3"/>
                <a:gd name="T10" fmla="*/ 0 w 3"/>
                <a:gd name="T11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1"/>
                    <a:pt x="1" y="2"/>
                    <a:pt x="2" y="3"/>
                  </a:cubicBezTo>
                  <a:cubicBezTo>
                    <a:pt x="2" y="3"/>
                    <a:pt x="3" y="3"/>
                    <a:pt x="3" y="3"/>
                  </a:cubicBezTo>
                  <a:cubicBezTo>
                    <a:pt x="3" y="2"/>
                    <a:pt x="2" y="2"/>
                    <a:pt x="2" y="1"/>
                  </a:cubicBezTo>
                  <a:cubicBezTo>
                    <a:pt x="1" y="1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69" name="Freeform 8032"/>
            <p:cNvSpPr>
              <a:spLocks/>
            </p:cNvSpPr>
            <p:nvPr/>
          </p:nvSpPr>
          <p:spPr bwMode="auto">
            <a:xfrm>
              <a:off x="5153" y="2852"/>
              <a:ext cx="6" cy="5"/>
            </a:xfrm>
            <a:custGeom>
              <a:avLst/>
              <a:gdLst>
                <a:gd name="T0" fmla="*/ 5 w 5"/>
                <a:gd name="T1" fmla="*/ 0 h 4"/>
                <a:gd name="T2" fmla="*/ 1 w 5"/>
                <a:gd name="T3" fmla="*/ 1 h 4"/>
                <a:gd name="T4" fmla="*/ 0 w 5"/>
                <a:gd name="T5" fmla="*/ 4 h 4"/>
                <a:gd name="T6" fmla="*/ 2 w 5"/>
                <a:gd name="T7" fmla="*/ 3 h 4"/>
                <a:gd name="T8" fmla="*/ 5 w 5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4">
                  <a:moveTo>
                    <a:pt x="5" y="0"/>
                  </a:moveTo>
                  <a:cubicBezTo>
                    <a:pt x="4" y="0"/>
                    <a:pt x="2" y="0"/>
                    <a:pt x="1" y="1"/>
                  </a:cubicBezTo>
                  <a:cubicBezTo>
                    <a:pt x="0" y="2"/>
                    <a:pt x="0" y="3"/>
                    <a:pt x="0" y="4"/>
                  </a:cubicBezTo>
                  <a:cubicBezTo>
                    <a:pt x="0" y="4"/>
                    <a:pt x="1" y="4"/>
                    <a:pt x="2" y="3"/>
                  </a:cubicBezTo>
                  <a:cubicBezTo>
                    <a:pt x="2" y="2"/>
                    <a:pt x="4" y="1"/>
                    <a:pt x="5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70" name="Freeform 8033"/>
            <p:cNvSpPr>
              <a:spLocks/>
            </p:cNvSpPr>
            <p:nvPr/>
          </p:nvSpPr>
          <p:spPr bwMode="auto">
            <a:xfrm>
              <a:off x="5160" y="2855"/>
              <a:ext cx="4" cy="7"/>
            </a:xfrm>
            <a:custGeom>
              <a:avLst/>
              <a:gdLst>
                <a:gd name="T0" fmla="*/ 1 w 3"/>
                <a:gd name="T1" fmla="*/ 0 h 6"/>
                <a:gd name="T2" fmla="*/ 0 w 3"/>
                <a:gd name="T3" fmla="*/ 1 h 6"/>
                <a:gd name="T4" fmla="*/ 3 w 3"/>
                <a:gd name="T5" fmla="*/ 6 h 6"/>
                <a:gd name="T6" fmla="*/ 3 w 3"/>
                <a:gd name="T7" fmla="*/ 5 h 6"/>
                <a:gd name="T8" fmla="*/ 1 w 3"/>
                <a:gd name="T9" fmla="*/ 1 h 6"/>
                <a:gd name="T10" fmla="*/ 1 w 3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6">
                  <a:moveTo>
                    <a:pt x="1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1" y="2"/>
                    <a:pt x="2" y="4"/>
                    <a:pt x="3" y="6"/>
                  </a:cubicBezTo>
                  <a:cubicBezTo>
                    <a:pt x="3" y="6"/>
                    <a:pt x="3" y="6"/>
                    <a:pt x="3" y="5"/>
                  </a:cubicBezTo>
                  <a:cubicBezTo>
                    <a:pt x="2" y="4"/>
                    <a:pt x="2" y="2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71" name="Freeform 8034"/>
            <p:cNvSpPr>
              <a:spLocks/>
            </p:cNvSpPr>
            <p:nvPr/>
          </p:nvSpPr>
          <p:spPr bwMode="auto">
            <a:xfrm>
              <a:off x="5119" y="2844"/>
              <a:ext cx="2" cy="2"/>
            </a:xfrm>
            <a:custGeom>
              <a:avLst/>
              <a:gdLst>
                <a:gd name="T0" fmla="*/ 0 w 2"/>
                <a:gd name="T1" fmla="*/ 0 h 2"/>
                <a:gd name="T2" fmla="*/ 0 w 2"/>
                <a:gd name="T3" fmla="*/ 2 h 2"/>
                <a:gd name="T4" fmla="*/ 0 w 2"/>
                <a:gd name="T5" fmla="*/ 2 h 2"/>
                <a:gd name="T6" fmla="*/ 2 w 2"/>
                <a:gd name="T7" fmla="*/ 1 h 2"/>
                <a:gd name="T8" fmla="*/ 0 w 2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cubicBezTo>
                    <a:pt x="0" y="1"/>
                    <a:pt x="0" y="1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1"/>
                    <a:pt x="2" y="1"/>
                    <a:pt x="2" y="1"/>
                  </a:cubicBezTo>
                  <a:cubicBezTo>
                    <a:pt x="2" y="0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72" name="Freeform 8035"/>
            <p:cNvSpPr>
              <a:spLocks/>
            </p:cNvSpPr>
            <p:nvPr/>
          </p:nvSpPr>
          <p:spPr bwMode="auto">
            <a:xfrm>
              <a:off x="5130" y="2849"/>
              <a:ext cx="3" cy="7"/>
            </a:xfrm>
            <a:custGeom>
              <a:avLst/>
              <a:gdLst>
                <a:gd name="T0" fmla="*/ 2 w 3"/>
                <a:gd name="T1" fmla="*/ 2 h 6"/>
                <a:gd name="T2" fmla="*/ 3 w 3"/>
                <a:gd name="T3" fmla="*/ 1 h 6"/>
                <a:gd name="T4" fmla="*/ 1 w 3"/>
                <a:gd name="T5" fmla="*/ 0 h 6"/>
                <a:gd name="T6" fmla="*/ 0 w 3"/>
                <a:gd name="T7" fmla="*/ 3 h 6"/>
                <a:gd name="T8" fmla="*/ 0 w 3"/>
                <a:gd name="T9" fmla="*/ 6 h 6"/>
                <a:gd name="T10" fmla="*/ 2 w 3"/>
                <a:gd name="T11" fmla="*/ 2 h 6"/>
                <a:gd name="T12" fmla="*/ 1 w 3"/>
                <a:gd name="T13" fmla="*/ 2 h 6"/>
                <a:gd name="T14" fmla="*/ 2 w 3"/>
                <a:gd name="T15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" h="6">
                  <a:moveTo>
                    <a:pt x="2" y="2"/>
                  </a:moveTo>
                  <a:cubicBezTo>
                    <a:pt x="2" y="1"/>
                    <a:pt x="2" y="1"/>
                    <a:pt x="3" y="1"/>
                  </a:cubicBezTo>
                  <a:cubicBezTo>
                    <a:pt x="2" y="1"/>
                    <a:pt x="2" y="0"/>
                    <a:pt x="1" y="0"/>
                  </a:cubicBezTo>
                  <a:cubicBezTo>
                    <a:pt x="1" y="1"/>
                    <a:pt x="0" y="2"/>
                    <a:pt x="0" y="3"/>
                  </a:cubicBezTo>
                  <a:cubicBezTo>
                    <a:pt x="0" y="4"/>
                    <a:pt x="0" y="5"/>
                    <a:pt x="0" y="6"/>
                  </a:cubicBezTo>
                  <a:cubicBezTo>
                    <a:pt x="1" y="5"/>
                    <a:pt x="1" y="3"/>
                    <a:pt x="2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2" y="2"/>
                    <a:pt x="2" y="2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73" name="Freeform 8036"/>
            <p:cNvSpPr>
              <a:spLocks/>
            </p:cNvSpPr>
            <p:nvPr/>
          </p:nvSpPr>
          <p:spPr bwMode="auto">
            <a:xfrm>
              <a:off x="5139" y="2849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9316" name="Group 8238"/>
          <p:cNvGrpSpPr>
            <a:grpSpLocks/>
          </p:cNvGrpSpPr>
          <p:nvPr/>
        </p:nvGrpSpPr>
        <p:grpSpPr bwMode="auto">
          <a:xfrm>
            <a:off x="8047038" y="4384675"/>
            <a:ext cx="892175" cy="177800"/>
            <a:chOff x="5069" y="2762"/>
            <a:chExt cx="562" cy="112"/>
          </a:xfrm>
        </p:grpSpPr>
        <p:sp>
          <p:nvSpPr>
            <p:cNvPr id="9674" name="Freeform 8038"/>
            <p:cNvSpPr>
              <a:spLocks/>
            </p:cNvSpPr>
            <p:nvPr/>
          </p:nvSpPr>
          <p:spPr bwMode="auto">
            <a:xfrm>
              <a:off x="5119" y="2841"/>
              <a:ext cx="3" cy="3"/>
            </a:xfrm>
            <a:custGeom>
              <a:avLst/>
              <a:gdLst>
                <a:gd name="T0" fmla="*/ 2 w 3"/>
                <a:gd name="T1" fmla="*/ 2 h 2"/>
                <a:gd name="T2" fmla="*/ 3 w 3"/>
                <a:gd name="T3" fmla="*/ 0 h 2"/>
                <a:gd name="T4" fmla="*/ 0 w 3"/>
                <a:gd name="T5" fmla="*/ 2 h 2"/>
                <a:gd name="T6" fmla="*/ 0 w 3"/>
                <a:gd name="T7" fmla="*/ 2 h 2"/>
                <a:gd name="T8" fmla="*/ 2 w 3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2">
                  <a:moveTo>
                    <a:pt x="2" y="2"/>
                  </a:moveTo>
                  <a:cubicBezTo>
                    <a:pt x="2" y="2"/>
                    <a:pt x="3" y="1"/>
                    <a:pt x="3" y="0"/>
                  </a:cubicBezTo>
                  <a:cubicBezTo>
                    <a:pt x="2" y="1"/>
                    <a:pt x="1" y="1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2"/>
                    <a:pt x="2" y="2"/>
                    <a:pt x="2" y="2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75" name="Freeform 8039"/>
            <p:cNvSpPr>
              <a:spLocks/>
            </p:cNvSpPr>
            <p:nvPr/>
          </p:nvSpPr>
          <p:spPr bwMode="auto">
            <a:xfrm>
              <a:off x="5132" y="2861"/>
              <a:ext cx="1" cy="1"/>
            </a:xfrm>
            <a:custGeom>
              <a:avLst/>
              <a:gdLst>
                <a:gd name="T0" fmla="*/ 0 w 1"/>
                <a:gd name="T1" fmla="*/ 1 h 1"/>
                <a:gd name="T2" fmla="*/ 1 w 1"/>
                <a:gd name="T3" fmla="*/ 0 h 1"/>
                <a:gd name="T4" fmla="*/ 0 w 1"/>
                <a:gd name="T5" fmla="*/ 0 h 1"/>
                <a:gd name="T6" fmla="*/ 0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1"/>
                    <a:pt x="0" y="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76" name="Freeform 8040"/>
            <p:cNvSpPr>
              <a:spLocks/>
            </p:cNvSpPr>
            <p:nvPr/>
          </p:nvSpPr>
          <p:spPr bwMode="auto">
            <a:xfrm>
              <a:off x="5132" y="2852"/>
              <a:ext cx="4" cy="6"/>
            </a:xfrm>
            <a:custGeom>
              <a:avLst/>
              <a:gdLst>
                <a:gd name="T0" fmla="*/ 2 w 3"/>
                <a:gd name="T1" fmla="*/ 0 h 5"/>
                <a:gd name="T2" fmla="*/ 0 w 3"/>
                <a:gd name="T3" fmla="*/ 5 h 5"/>
                <a:gd name="T4" fmla="*/ 1 w 3"/>
                <a:gd name="T5" fmla="*/ 5 h 5"/>
                <a:gd name="T6" fmla="*/ 3 w 3"/>
                <a:gd name="T7" fmla="*/ 2 h 5"/>
                <a:gd name="T8" fmla="*/ 2 w 3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5">
                  <a:moveTo>
                    <a:pt x="2" y="0"/>
                  </a:moveTo>
                  <a:cubicBezTo>
                    <a:pt x="1" y="1"/>
                    <a:pt x="1" y="3"/>
                    <a:pt x="0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2" y="4"/>
                    <a:pt x="2" y="3"/>
                    <a:pt x="3" y="2"/>
                  </a:cubicBezTo>
                  <a:cubicBezTo>
                    <a:pt x="3" y="1"/>
                    <a:pt x="2" y="0"/>
                    <a:pt x="2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77" name="Freeform 8041"/>
            <p:cNvSpPr>
              <a:spLocks/>
            </p:cNvSpPr>
            <p:nvPr/>
          </p:nvSpPr>
          <p:spPr bwMode="auto">
            <a:xfrm>
              <a:off x="5138" y="2838"/>
              <a:ext cx="4" cy="6"/>
            </a:xfrm>
            <a:custGeom>
              <a:avLst/>
              <a:gdLst>
                <a:gd name="T0" fmla="*/ 2 w 3"/>
                <a:gd name="T1" fmla="*/ 5 h 5"/>
                <a:gd name="T2" fmla="*/ 3 w 3"/>
                <a:gd name="T3" fmla="*/ 4 h 5"/>
                <a:gd name="T4" fmla="*/ 3 w 3"/>
                <a:gd name="T5" fmla="*/ 0 h 5"/>
                <a:gd name="T6" fmla="*/ 0 w 3"/>
                <a:gd name="T7" fmla="*/ 2 h 5"/>
                <a:gd name="T8" fmla="*/ 2 w 3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5">
                  <a:moveTo>
                    <a:pt x="2" y="5"/>
                  </a:moveTo>
                  <a:cubicBezTo>
                    <a:pt x="2" y="4"/>
                    <a:pt x="2" y="4"/>
                    <a:pt x="3" y="4"/>
                  </a:cubicBezTo>
                  <a:cubicBezTo>
                    <a:pt x="3" y="3"/>
                    <a:pt x="3" y="2"/>
                    <a:pt x="3" y="0"/>
                  </a:cubicBezTo>
                  <a:cubicBezTo>
                    <a:pt x="2" y="1"/>
                    <a:pt x="1" y="1"/>
                    <a:pt x="0" y="2"/>
                  </a:cubicBezTo>
                  <a:cubicBezTo>
                    <a:pt x="0" y="3"/>
                    <a:pt x="1" y="4"/>
                    <a:pt x="2" y="5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78" name="Freeform 8042"/>
            <p:cNvSpPr>
              <a:spLocks/>
            </p:cNvSpPr>
            <p:nvPr/>
          </p:nvSpPr>
          <p:spPr bwMode="auto">
            <a:xfrm>
              <a:off x="5138" y="2846"/>
              <a:ext cx="1" cy="1"/>
            </a:xfrm>
            <a:custGeom>
              <a:avLst/>
              <a:gdLst>
                <a:gd name="T0" fmla="*/ 0 w 1"/>
                <a:gd name="T1" fmla="*/ 1 h 1"/>
                <a:gd name="T2" fmla="*/ 1 w 1"/>
                <a:gd name="T3" fmla="*/ 1 h 1"/>
                <a:gd name="T4" fmla="*/ 0 w 1"/>
                <a:gd name="T5" fmla="*/ 0 h 1"/>
                <a:gd name="T6" fmla="*/ 0 w 1"/>
                <a:gd name="T7" fmla="*/ 0 h 1"/>
                <a:gd name="T8" fmla="*/ 0 w 1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79" name="Freeform 8043"/>
            <p:cNvSpPr>
              <a:spLocks/>
            </p:cNvSpPr>
            <p:nvPr/>
          </p:nvSpPr>
          <p:spPr bwMode="auto">
            <a:xfrm>
              <a:off x="5136" y="2843"/>
              <a:ext cx="2" cy="2"/>
            </a:xfrm>
            <a:custGeom>
              <a:avLst/>
              <a:gdLst>
                <a:gd name="T0" fmla="*/ 1 w 2"/>
                <a:gd name="T1" fmla="*/ 2 h 2"/>
                <a:gd name="T2" fmla="*/ 2 w 2"/>
                <a:gd name="T3" fmla="*/ 2 h 2"/>
                <a:gd name="T4" fmla="*/ 1 w 2"/>
                <a:gd name="T5" fmla="*/ 0 h 2"/>
                <a:gd name="T6" fmla="*/ 0 w 2"/>
                <a:gd name="T7" fmla="*/ 0 h 2"/>
                <a:gd name="T8" fmla="*/ 1 w 2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1" y="2"/>
                  </a:moveTo>
                  <a:cubicBezTo>
                    <a:pt x="1" y="2"/>
                    <a:pt x="1" y="2"/>
                    <a:pt x="2" y="2"/>
                  </a:cubicBezTo>
                  <a:cubicBezTo>
                    <a:pt x="1" y="1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1" y="1"/>
                    <a:pt x="1" y="2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80" name="Freeform 8044"/>
            <p:cNvSpPr>
              <a:spLocks/>
            </p:cNvSpPr>
            <p:nvPr/>
          </p:nvSpPr>
          <p:spPr bwMode="auto">
            <a:xfrm>
              <a:off x="5113" y="2849"/>
              <a:ext cx="3" cy="5"/>
            </a:xfrm>
            <a:custGeom>
              <a:avLst/>
              <a:gdLst>
                <a:gd name="T0" fmla="*/ 2 w 3"/>
                <a:gd name="T1" fmla="*/ 0 h 4"/>
                <a:gd name="T2" fmla="*/ 0 w 3"/>
                <a:gd name="T3" fmla="*/ 4 h 4"/>
                <a:gd name="T4" fmla="*/ 1 w 3"/>
                <a:gd name="T5" fmla="*/ 4 h 4"/>
                <a:gd name="T6" fmla="*/ 3 w 3"/>
                <a:gd name="T7" fmla="*/ 1 h 4"/>
                <a:gd name="T8" fmla="*/ 2 w 3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2" y="0"/>
                  </a:moveTo>
                  <a:cubicBezTo>
                    <a:pt x="1" y="1"/>
                    <a:pt x="1" y="2"/>
                    <a:pt x="0" y="4"/>
                  </a:cubicBezTo>
                  <a:cubicBezTo>
                    <a:pt x="0" y="4"/>
                    <a:pt x="1" y="4"/>
                    <a:pt x="1" y="4"/>
                  </a:cubicBezTo>
                  <a:cubicBezTo>
                    <a:pt x="1" y="3"/>
                    <a:pt x="2" y="2"/>
                    <a:pt x="3" y="1"/>
                  </a:cubicBezTo>
                  <a:cubicBezTo>
                    <a:pt x="3" y="0"/>
                    <a:pt x="2" y="0"/>
                    <a:pt x="2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81" name="Freeform 8045"/>
            <p:cNvSpPr>
              <a:spLocks/>
            </p:cNvSpPr>
            <p:nvPr/>
          </p:nvSpPr>
          <p:spPr bwMode="auto">
            <a:xfrm>
              <a:off x="5141" y="2844"/>
              <a:ext cx="1" cy="1"/>
            </a:xfrm>
            <a:custGeom>
              <a:avLst/>
              <a:gdLst>
                <a:gd name="T0" fmla="*/ 1 w 1"/>
                <a:gd name="T1" fmla="*/ 1 h 1"/>
                <a:gd name="T2" fmla="*/ 1 w 1"/>
                <a:gd name="T3" fmla="*/ 1 h 1"/>
                <a:gd name="T4" fmla="*/ 1 w 1"/>
                <a:gd name="T5" fmla="*/ 0 h 1"/>
                <a:gd name="T6" fmla="*/ 0 w 1"/>
                <a:gd name="T7" fmla="*/ 1 h 1"/>
                <a:gd name="T8" fmla="*/ 1 w 1"/>
                <a:gd name="T9" fmla="*/ 1 h 1"/>
                <a:gd name="T10" fmla="*/ 1 w 1"/>
                <a:gd name="T11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0"/>
                  </a:cubicBezTo>
                  <a:cubicBezTo>
                    <a:pt x="1" y="0"/>
                    <a:pt x="1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82" name="Freeform 8046"/>
            <p:cNvSpPr>
              <a:spLocks/>
            </p:cNvSpPr>
            <p:nvPr/>
          </p:nvSpPr>
          <p:spPr bwMode="auto">
            <a:xfrm>
              <a:off x="5143" y="2844"/>
              <a:ext cx="1" cy="0"/>
            </a:xfrm>
            <a:custGeom>
              <a:avLst/>
              <a:gdLst>
                <a:gd name="T0" fmla="*/ 0 w 1"/>
                <a:gd name="T1" fmla="*/ 0 w 1"/>
                <a:gd name="T2" fmla="*/ 1 w 1"/>
                <a:gd name="T3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83" name="Freeform 8047"/>
            <p:cNvSpPr>
              <a:spLocks/>
            </p:cNvSpPr>
            <p:nvPr/>
          </p:nvSpPr>
          <p:spPr bwMode="auto">
            <a:xfrm>
              <a:off x="5131" y="2862"/>
              <a:ext cx="1" cy="12"/>
            </a:xfrm>
            <a:custGeom>
              <a:avLst/>
              <a:gdLst>
                <a:gd name="T0" fmla="*/ 1 w 1"/>
                <a:gd name="T1" fmla="*/ 0 h 10"/>
                <a:gd name="T2" fmla="*/ 0 w 1"/>
                <a:gd name="T3" fmla="*/ 2 h 10"/>
                <a:gd name="T4" fmla="*/ 0 w 1"/>
                <a:gd name="T5" fmla="*/ 2 h 10"/>
                <a:gd name="T6" fmla="*/ 0 w 1"/>
                <a:gd name="T7" fmla="*/ 2 h 10"/>
                <a:gd name="T8" fmla="*/ 0 w 1"/>
                <a:gd name="T9" fmla="*/ 3 h 10"/>
                <a:gd name="T10" fmla="*/ 0 w 1"/>
                <a:gd name="T11" fmla="*/ 10 h 10"/>
                <a:gd name="T12" fmla="*/ 1 w 1"/>
                <a:gd name="T13" fmla="*/ 10 h 10"/>
                <a:gd name="T14" fmla="*/ 1 w 1"/>
                <a:gd name="T1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" h="10">
                  <a:moveTo>
                    <a:pt x="1" y="0"/>
                  </a:moveTo>
                  <a:cubicBezTo>
                    <a:pt x="1" y="1"/>
                    <a:pt x="1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5"/>
                    <a:pt x="0" y="7"/>
                    <a:pt x="0" y="10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6"/>
                    <a:pt x="1" y="3"/>
                    <a:pt x="1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84" name="Freeform 8048"/>
            <p:cNvSpPr>
              <a:spLocks/>
            </p:cNvSpPr>
            <p:nvPr/>
          </p:nvSpPr>
          <p:spPr bwMode="auto">
            <a:xfrm>
              <a:off x="5125" y="2841"/>
              <a:ext cx="2" cy="4"/>
            </a:xfrm>
            <a:custGeom>
              <a:avLst/>
              <a:gdLst>
                <a:gd name="T0" fmla="*/ 2 w 2"/>
                <a:gd name="T1" fmla="*/ 3 h 3"/>
                <a:gd name="T2" fmla="*/ 2 w 2"/>
                <a:gd name="T3" fmla="*/ 3 h 3"/>
                <a:gd name="T4" fmla="*/ 2 w 2"/>
                <a:gd name="T5" fmla="*/ 1 h 3"/>
                <a:gd name="T6" fmla="*/ 0 w 2"/>
                <a:gd name="T7" fmla="*/ 0 h 3"/>
                <a:gd name="T8" fmla="*/ 0 w 2"/>
                <a:gd name="T9" fmla="*/ 2 h 3"/>
                <a:gd name="T10" fmla="*/ 2 w 2"/>
                <a:gd name="T11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3">
                  <a:moveTo>
                    <a:pt x="2" y="3"/>
                  </a:moveTo>
                  <a:cubicBezTo>
                    <a:pt x="2" y="3"/>
                    <a:pt x="2" y="3"/>
                    <a:pt x="2" y="3"/>
                  </a:cubicBezTo>
                  <a:cubicBezTo>
                    <a:pt x="2" y="2"/>
                    <a:pt x="2" y="1"/>
                    <a:pt x="2" y="1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1" y="2"/>
                    <a:pt x="1" y="3"/>
                    <a:pt x="2" y="3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85" name="Freeform 8049"/>
            <p:cNvSpPr>
              <a:spLocks/>
            </p:cNvSpPr>
            <p:nvPr/>
          </p:nvSpPr>
          <p:spPr bwMode="auto">
            <a:xfrm>
              <a:off x="5125" y="2824"/>
              <a:ext cx="4" cy="2"/>
            </a:xfrm>
            <a:custGeom>
              <a:avLst/>
              <a:gdLst>
                <a:gd name="T0" fmla="*/ 3 w 3"/>
                <a:gd name="T1" fmla="*/ 0 h 1"/>
                <a:gd name="T2" fmla="*/ 0 w 3"/>
                <a:gd name="T3" fmla="*/ 0 h 1"/>
                <a:gd name="T4" fmla="*/ 0 w 3"/>
                <a:gd name="T5" fmla="*/ 1 h 1"/>
                <a:gd name="T6" fmla="*/ 2 w 3"/>
                <a:gd name="T7" fmla="*/ 1 h 1"/>
                <a:gd name="T8" fmla="*/ 3 w 3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1">
                  <a:moveTo>
                    <a:pt x="3" y="0"/>
                  </a:moveTo>
                  <a:cubicBezTo>
                    <a:pt x="2" y="0"/>
                    <a:pt x="1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1" y="1"/>
                    <a:pt x="2" y="1"/>
                    <a:pt x="2" y="1"/>
                  </a:cubicBezTo>
                  <a:cubicBezTo>
                    <a:pt x="2" y="0"/>
                    <a:pt x="2" y="0"/>
                    <a:pt x="3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86" name="Freeform 8050"/>
            <p:cNvSpPr>
              <a:spLocks/>
            </p:cNvSpPr>
            <p:nvPr/>
          </p:nvSpPr>
          <p:spPr bwMode="auto">
            <a:xfrm>
              <a:off x="5118" y="2845"/>
              <a:ext cx="1" cy="4"/>
            </a:xfrm>
            <a:custGeom>
              <a:avLst/>
              <a:gdLst>
                <a:gd name="T0" fmla="*/ 0 w 1"/>
                <a:gd name="T1" fmla="*/ 0 h 3"/>
                <a:gd name="T2" fmla="*/ 0 w 1"/>
                <a:gd name="T3" fmla="*/ 1 h 3"/>
                <a:gd name="T4" fmla="*/ 0 w 1"/>
                <a:gd name="T5" fmla="*/ 3 h 3"/>
                <a:gd name="T6" fmla="*/ 1 w 1"/>
                <a:gd name="T7" fmla="*/ 1 h 3"/>
                <a:gd name="T8" fmla="*/ 1 w 1"/>
                <a:gd name="T9" fmla="*/ 1 h 3"/>
                <a:gd name="T10" fmla="*/ 0 w 1"/>
                <a:gd name="T11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" h="3">
                  <a:moveTo>
                    <a:pt x="0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0" y="2"/>
                    <a:pt x="1" y="2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87" name="Freeform 8051"/>
            <p:cNvSpPr>
              <a:spLocks/>
            </p:cNvSpPr>
            <p:nvPr/>
          </p:nvSpPr>
          <p:spPr bwMode="auto">
            <a:xfrm>
              <a:off x="5150" y="2846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88" name="Freeform 8052"/>
            <p:cNvSpPr>
              <a:spLocks/>
            </p:cNvSpPr>
            <p:nvPr/>
          </p:nvSpPr>
          <p:spPr bwMode="auto">
            <a:xfrm>
              <a:off x="5141" y="2843"/>
              <a:ext cx="1" cy="2"/>
            </a:xfrm>
            <a:custGeom>
              <a:avLst/>
              <a:gdLst>
                <a:gd name="T0" fmla="*/ 1 w 1"/>
                <a:gd name="T1" fmla="*/ 1 h 2"/>
                <a:gd name="T2" fmla="*/ 1 w 1"/>
                <a:gd name="T3" fmla="*/ 0 h 2"/>
                <a:gd name="T4" fmla="*/ 0 w 1"/>
                <a:gd name="T5" fmla="*/ 1 h 2"/>
                <a:gd name="T6" fmla="*/ 0 w 1"/>
                <a:gd name="T7" fmla="*/ 2 h 2"/>
                <a:gd name="T8" fmla="*/ 1 w 1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2">
                  <a:moveTo>
                    <a:pt x="1" y="1"/>
                  </a:moveTo>
                  <a:cubicBezTo>
                    <a:pt x="1" y="1"/>
                    <a:pt x="1" y="1"/>
                    <a:pt x="1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1" y="2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89" name="Freeform 8053"/>
            <p:cNvSpPr>
              <a:spLocks/>
            </p:cNvSpPr>
            <p:nvPr/>
          </p:nvSpPr>
          <p:spPr bwMode="auto">
            <a:xfrm>
              <a:off x="5130" y="2851"/>
              <a:ext cx="5" cy="7"/>
            </a:xfrm>
            <a:custGeom>
              <a:avLst/>
              <a:gdLst>
                <a:gd name="T0" fmla="*/ 3 w 4"/>
                <a:gd name="T1" fmla="*/ 0 h 6"/>
                <a:gd name="T2" fmla="*/ 2 w 4"/>
                <a:gd name="T3" fmla="*/ 0 h 6"/>
                <a:gd name="T4" fmla="*/ 0 w 4"/>
                <a:gd name="T5" fmla="*/ 4 h 6"/>
                <a:gd name="T6" fmla="*/ 1 w 4"/>
                <a:gd name="T7" fmla="*/ 6 h 6"/>
                <a:gd name="T8" fmla="*/ 2 w 4"/>
                <a:gd name="T9" fmla="*/ 6 h 6"/>
                <a:gd name="T10" fmla="*/ 4 w 4"/>
                <a:gd name="T11" fmla="*/ 1 h 6"/>
                <a:gd name="T12" fmla="*/ 3 w 4"/>
                <a:gd name="T1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6">
                  <a:moveTo>
                    <a:pt x="3" y="0"/>
                  </a:moveTo>
                  <a:cubicBezTo>
                    <a:pt x="3" y="0"/>
                    <a:pt x="2" y="0"/>
                    <a:pt x="2" y="0"/>
                  </a:cubicBezTo>
                  <a:cubicBezTo>
                    <a:pt x="1" y="1"/>
                    <a:pt x="1" y="3"/>
                    <a:pt x="0" y="4"/>
                  </a:cubicBezTo>
                  <a:cubicBezTo>
                    <a:pt x="0" y="4"/>
                    <a:pt x="0" y="5"/>
                    <a:pt x="1" y="6"/>
                  </a:cubicBezTo>
                  <a:cubicBezTo>
                    <a:pt x="1" y="6"/>
                    <a:pt x="2" y="6"/>
                    <a:pt x="2" y="6"/>
                  </a:cubicBezTo>
                  <a:cubicBezTo>
                    <a:pt x="3" y="4"/>
                    <a:pt x="3" y="2"/>
                    <a:pt x="4" y="1"/>
                  </a:cubicBezTo>
                  <a:cubicBezTo>
                    <a:pt x="4" y="0"/>
                    <a:pt x="3" y="0"/>
                    <a:pt x="3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90" name="Freeform 8054"/>
            <p:cNvSpPr>
              <a:spLocks/>
            </p:cNvSpPr>
            <p:nvPr/>
          </p:nvSpPr>
          <p:spPr bwMode="auto">
            <a:xfrm>
              <a:off x="5132" y="2850"/>
              <a:ext cx="1" cy="1"/>
            </a:xfrm>
            <a:custGeom>
              <a:avLst/>
              <a:gdLst>
                <a:gd name="T0" fmla="*/ 0 w 1"/>
                <a:gd name="T1" fmla="*/ 1 h 1"/>
                <a:gd name="T2" fmla="*/ 1 w 1"/>
                <a:gd name="T3" fmla="*/ 0 h 1"/>
                <a:gd name="T4" fmla="*/ 1 w 1"/>
                <a:gd name="T5" fmla="*/ 0 h 1"/>
                <a:gd name="T6" fmla="*/ 0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1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91" name="Freeform 8055"/>
            <p:cNvSpPr>
              <a:spLocks/>
            </p:cNvSpPr>
            <p:nvPr/>
          </p:nvSpPr>
          <p:spPr bwMode="auto">
            <a:xfrm>
              <a:off x="5131" y="2864"/>
              <a:ext cx="0" cy="2"/>
            </a:xfrm>
            <a:custGeom>
              <a:avLst/>
              <a:gdLst>
                <a:gd name="T0" fmla="*/ 1 h 1"/>
                <a:gd name="T1" fmla="*/ 0 h 1"/>
                <a:gd name="T2" fmla="*/ 0 h 1"/>
                <a:gd name="T3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cubicBezTo>
                    <a:pt x="0" y="1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92" name="Freeform 8056"/>
            <p:cNvSpPr>
              <a:spLocks/>
            </p:cNvSpPr>
            <p:nvPr/>
          </p:nvSpPr>
          <p:spPr bwMode="auto">
            <a:xfrm>
              <a:off x="5121" y="2841"/>
              <a:ext cx="4" cy="3"/>
            </a:xfrm>
            <a:custGeom>
              <a:avLst/>
              <a:gdLst>
                <a:gd name="T0" fmla="*/ 1 w 3"/>
                <a:gd name="T1" fmla="*/ 0 h 2"/>
                <a:gd name="T2" fmla="*/ 0 w 3"/>
                <a:gd name="T3" fmla="*/ 2 h 2"/>
                <a:gd name="T4" fmla="*/ 1 w 3"/>
                <a:gd name="T5" fmla="*/ 2 h 2"/>
                <a:gd name="T6" fmla="*/ 3 w 3"/>
                <a:gd name="T7" fmla="*/ 2 h 2"/>
                <a:gd name="T8" fmla="*/ 3 w 3"/>
                <a:gd name="T9" fmla="*/ 0 h 2"/>
                <a:gd name="T10" fmla="*/ 1 w 3"/>
                <a:gd name="T11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2">
                  <a:moveTo>
                    <a:pt x="1" y="0"/>
                  </a:moveTo>
                  <a:cubicBezTo>
                    <a:pt x="1" y="1"/>
                    <a:pt x="0" y="2"/>
                    <a:pt x="0" y="2"/>
                  </a:cubicBezTo>
                  <a:cubicBezTo>
                    <a:pt x="0" y="2"/>
                    <a:pt x="1" y="2"/>
                    <a:pt x="1" y="2"/>
                  </a:cubicBezTo>
                  <a:cubicBezTo>
                    <a:pt x="1" y="2"/>
                    <a:pt x="2" y="2"/>
                    <a:pt x="3" y="2"/>
                  </a:cubicBezTo>
                  <a:cubicBezTo>
                    <a:pt x="3" y="2"/>
                    <a:pt x="3" y="1"/>
                    <a:pt x="3" y="0"/>
                  </a:cubicBezTo>
                  <a:cubicBezTo>
                    <a:pt x="2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93" name="Freeform 8057"/>
            <p:cNvSpPr>
              <a:spLocks/>
            </p:cNvSpPr>
            <p:nvPr/>
          </p:nvSpPr>
          <p:spPr bwMode="auto">
            <a:xfrm>
              <a:off x="5119" y="2846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94" name="Freeform 8058"/>
            <p:cNvSpPr>
              <a:spLocks/>
            </p:cNvSpPr>
            <p:nvPr/>
          </p:nvSpPr>
          <p:spPr bwMode="auto">
            <a:xfrm>
              <a:off x="5131" y="2860"/>
              <a:ext cx="1" cy="4"/>
            </a:xfrm>
            <a:custGeom>
              <a:avLst/>
              <a:gdLst>
                <a:gd name="T0" fmla="*/ 0 w 1"/>
                <a:gd name="T1" fmla="*/ 0 h 4"/>
                <a:gd name="T2" fmla="*/ 0 w 1"/>
                <a:gd name="T3" fmla="*/ 4 h 4"/>
                <a:gd name="T4" fmla="*/ 0 w 1"/>
                <a:gd name="T5" fmla="*/ 4 h 4"/>
                <a:gd name="T6" fmla="*/ 1 w 1"/>
                <a:gd name="T7" fmla="*/ 2 h 4"/>
                <a:gd name="T8" fmla="*/ 1 w 1"/>
                <a:gd name="T9" fmla="*/ 1 h 4"/>
                <a:gd name="T10" fmla="*/ 0 w 1"/>
                <a:gd name="T1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" h="4">
                  <a:moveTo>
                    <a:pt x="0" y="0"/>
                  </a:moveTo>
                  <a:cubicBezTo>
                    <a:pt x="0" y="1"/>
                    <a:pt x="0" y="2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3"/>
                    <a:pt x="1" y="2"/>
                  </a:cubicBezTo>
                  <a:cubicBezTo>
                    <a:pt x="1" y="2"/>
                    <a:pt x="1" y="1"/>
                    <a:pt x="1" y="1"/>
                  </a:cubicBezTo>
                  <a:cubicBezTo>
                    <a:pt x="1" y="1"/>
                    <a:pt x="0" y="1"/>
                    <a:pt x="0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95" name="Freeform 8059"/>
            <p:cNvSpPr>
              <a:spLocks/>
            </p:cNvSpPr>
            <p:nvPr/>
          </p:nvSpPr>
          <p:spPr bwMode="auto">
            <a:xfrm>
              <a:off x="5115" y="2846"/>
              <a:ext cx="3" cy="4"/>
            </a:xfrm>
            <a:custGeom>
              <a:avLst/>
              <a:gdLst>
                <a:gd name="T0" fmla="*/ 2 w 2"/>
                <a:gd name="T1" fmla="*/ 0 h 3"/>
                <a:gd name="T2" fmla="*/ 0 w 2"/>
                <a:gd name="T3" fmla="*/ 2 h 3"/>
                <a:gd name="T4" fmla="*/ 1 w 2"/>
                <a:gd name="T5" fmla="*/ 3 h 3"/>
                <a:gd name="T6" fmla="*/ 2 w 2"/>
                <a:gd name="T7" fmla="*/ 2 h 3"/>
                <a:gd name="T8" fmla="*/ 2 w 2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cubicBezTo>
                    <a:pt x="1" y="0"/>
                    <a:pt x="1" y="1"/>
                    <a:pt x="0" y="2"/>
                  </a:cubicBezTo>
                  <a:cubicBezTo>
                    <a:pt x="0" y="2"/>
                    <a:pt x="1" y="2"/>
                    <a:pt x="1" y="3"/>
                  </a:cubicBezTo>
                  <a:cubicBezTo>
                    <a:pt x="1" y="2"/>
                    <a:pt x="2" y="2"/>
                    <a:pt x="2" y="2"/>
                  </a:cubicBezTo>
                  <a:cubicBezTo>
                    <a:pt x="2" y="1"/>
                    <a:pt x="2" y="0"/>
                    <a:pt x="2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96" name="Freeform 8060"/>
            <p:cNvSpPr>
              <a:spLocks/>
            </p:cNvSpPr>
            <p:nvPr/>
          </p:nvSpPr>
          <p:spPr bwMode="auto">
            <a:xfrm>
              <a:off x="5137" y="2845"/>
              <a:ext cx="1" cy="1"/>
            </a:xfrm>
            <a:custGeom>
              <a:avLst/>
              <a:gdLst>
                <a:gd name="T0" fmla="*/ 1 w 1"/>
                <a:gd name="T1" fmla="*/ 1 h 1"/>
                <a:gd name="T2" fmla="*/ 1 w 1"/>
                <a:gd name="T3" fmla="*/ 1 h 1"/>
                <a:gd name="T4" fmla="*/ 1 w 1"/>
                <a:gd name="T5" fmla="*/ 0 h 1"/>
                <a:gd name="T6" fmla="*/ 0 w 1"/>
                <a:gd name="T7" fmla="*/ 0 h 1"/>
                <a:gd name="T8" fmla="*/ 1 w 1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97" name="Freeform 8061"/>
            <p:cNvSpPr>
              <a:spLocks/>
            </p:cNvSpPr>
            <p:nvPr/>
          </p:nvSpPr>
          <p:spPr bwMode="auto">
            <a:xfrm>
              <a:off x="5139" y="2849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98" name="Freeform 8062"/>
            <p:cNvSpPr>
              <a:spLocks/>
            </p:cNvSpPr>
            <p:nvPr/>
          </p:nvSpPr>
          <p:spPr bwMode="auto">
            <a:xfrm>
              <a:off x="5166" y="2856"/>
              <a:ext cx="1" cy="1"/>
            </a:xfrm>
            <a:custGeom>
              <a:avLst/>
              <a:gdLst>
                <a:gd name="T0" fmla="*/ 1 w 1"/>
                <a:gd name="T1" fmla="*/ 0 h 1"/>
                <a:gd name="T2" fmla="*/ 1 w 1"/>
                <a:gd name="T3" fmla="*/ 1 h 1"/>
                <a:gd name="T4" fmla="*/ 1 w 1"/>
                <a:gd name="T5" fmla="*/ 0 h 1"/>
                <a:gd name="T6" fmla="*/ 0 w 1"/>
                <a:gd name="T7" fmla="*/ 0 h 1"/>
                <a:gd name="T8" fmla="*/ 1 w 1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1" y="0"/>
                    <a:pt x="1" y="1"/>
                    <a:pt x="1" y="1"/>
                  </a:cubicBezTo>
                  <a:cubicBezTo>
                    <a:pt x="1" y="1"/>
                    <a:pt x="1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0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99" name="Freeform 8063"/>
            <p:cNvSpPr>
              <a:spLocks/>
            </p:cNvSpPr>
            <p:nvPr/>
          </p:nvSpPr>
          <p:spPr bwMode="auto">
            <a:xfrm>
              <a:off x="5142" y="2846"/>
              <a:ext cx="2" cy="1"/>
            </a:xfrm>
            <a:custGeom>
              <a:avLst/>
              <a:gdLst>
                <a:gd name="T0" fmla="*/ 2 w 2"/>
                <a:gd name="T1" fmla="*/ 0 h 1"/>
                <a:gd name="T2" fmla="*/ 0 w 2"/>
                <a:gd name="T3" fmla="*/ 0 h 1"/>
                <a:gd name="T4" fmla="*/ 1 w 2"/>
                <a:gd name="T5" fmla="*/ 1 h 1"/>
                <a:gd name="T6" fmla="*/ 2 w 2"/>
                <a:gd name="T7" fmla="*/ 1 h 1"/>
                <a:gd name="T8" fmla="*/ 2 w 2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1" y="0"/>
                    <a:pt x="1" y="0"/>
                    <a:pt x="0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2" y="1"/>
                  </a:cubicBezTo>
                  <a:cubicBezTo>
                    <a:pt x="2" y="1"/>
                    <a:pt x="2" y="1"/>
                    <a:pt x="2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00" name="Freeform 8064"/>
            <p:cNvSpPr>
              <a:spLocks/>
            </p:cNvSpPr>
            <p:nvPr/>
          </p:nvSpPr>
          <p:spPr bwMode="auto">
            <a:xfrm>
              <a:off x="5153" y="2846"/>
              <a:ext cx="3" cy="1"/>
            </a:xfrm>
            <a:custGeom>
              <a:avLst/>
              <a:gdLst>
                <a:gd name="T0" fmla="*/ 0 w 3"/>
                <a:gd name="T1" fmla="*/ 0 h 1"/>
                <a:gd name="T2" fmla="*/ 2 w 3"/>
                <a:gd name="T3" fmla="*/ 1 h 1"/>
                <a:gd name="T4" fmla="*/ 3 w 3"/>
                <a:gd name="T5" fmla="*/ 1 h 1"/>
                <a:gd name="T6" fmla="*/ 0 w 3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">
                  <a:moveTo>
                    <a:pt x="0" y="0"/>
                  </a:moveTo>
                  <a:cubicBezTo>
                    <a:pt x="1" y="0"/>
                    <a:pt x="1" y="1"/>
                    <a:pt x="2" y="1"/>
                  </a:cubicBezTo>
                  <a:cubicBezTo>
                    <a:pt x="2" y="1"/>
                    <a:pt x="3" y="1"/>
                    <a:pt x="3" y="1"/>
                  </a:cubicBezTo>
                  <a:cubicBezTo>
                    <a:pt x="2" y="0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01" name="Freeform 8065"/>
            <p:cNvSpPr>
              <a:spLocks/>
            </p:cNvSpPr>
            <p:nvPr/>
          </p:nvSpPr>
          <p:spPr bwMode="auto">
            <a:xfrm>
              <a:off x="5150" y="2846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02" name="Freeform 8066"/>
            <p:cNvSpPr>
              <a:spLocks/>
            </p:cNvSpPr>
            <p:nvPr/>
          </p:nvSpPr>
          <p:spPr bwMode="auto">
            <a:xfrm>
              <a:off x="5156" y="2847"/>
              <a:ext cx="3" cy="3"/>
            </a:xfrm>
            <a:custGeom>
              <a:avLst/>
              <a:gdLst>
                <a:gd name="T0" fmla="*/ 0 w 2"/>
                <a:gd name="T1" fmla="*/ 1 h 2"/>
                <a:gd name="T2" fmla="*/ 2 w 2"/>
                <a:gd name="T3" fmla="*/ 2 h 2"/>
                <a:gd name="T4" fmla="*/ 1 w 2"/>
                <a:gd name="T5" fmla="*/ 0 h 2"/>
                <a:gd name="T6" fmla="*/ 0 w 2"/>
                <a:gd name="T7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0" y="1"/>
                  </a:moveTo>
                  <a:cubicBezTo>
                    <a:pt x="1" y="1"/>
                    <a:pt x="1" y="2"/>
                    <a:pt x="2" y="2"/>
                  </a:cubicBezTo>
                  <a:cubicBezTo>
                    <a:pt x="2" y="2"/>
                    <a:pt x="1" y="1"/>
                    <a:pt x="1" y="0"/>
                  </a:cubicBezTo>
                  <a:cubicBezTo>
                    <a:pt x="1" y="1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03" name="Freeform 8067"/>
            <p:cNvSpPr>
              <a:spLocks/>
            </p:cNvSpPr>
            <p:nvPr/>
          </p:nvSpPr>
          <p:spPr bwMode="auto">
            <a:xfrm>
              <a:off x="5150" y="2846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04" name="Freeform 8068"/>
            <p:cNvSpPr>
              <a:spLocks/>
            </p:cNvSpPr>
            <p:nvPr/>
          </p:nvSpPr>
          <p:spPr bwMode="auto">
            <a:xfrm>
              <a:off x="5138" y="2847"/>
              <a:ext cx="1" cy="2"/>
            </a:xfrm>
            <a:custGeom>
              <a:avLst/>
              <a:gdLst>
                <a:gd name="T0" fmla="*/ 1 w 1"/>
                <a:gd name="T1" fmla="*/ 0 h 1"/>
                <a:gd name="T2" fmla="*/ 0 w 1"/>
                <a:gd name="T3" fmla="*/ 0 h 1"/>
                <a:gd name="T4" fmla="*/ 1 w 1"/>
                <a:gd name="T5" fmla="*/ 1 h 1"/>
                <a:gd name="T6" fmla="*/ 1 w 1"/>
                <a:gd name="T7" fmla="*/ 1 h 1"/>
                <a:gd name="T8" fmla="*/ 1 w 1"/>
                <a:gd name="T9" fmla="*/ 1 h 1"/>
                <a:gd name="T10" fmla="*/ 1 w 1"/>
                <a:gd name="T11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1" y="0"/>
                    <a:pt x="1" y="0"/>
                    <a:pt x="0" y="0"/>
                  </a:cubicBezTo>
                  <a:cubicBezTo>
                    <a:pt x="1" y="0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05" name="Freeform 8069"/>
            <p:cNvSpPr>
              <a:spLocks/>
            </p:cNvSpPr>
            <p:nvPr/>
          </p:nvSpPr>
          <p:spPr bwMode="auto">
            <a:xfrm>
              <a:off x="5131" y="2851"/>
              <a:ext cx="1" cy="0"/>
            </a:xfrm>
            <a:custGeom>
              <a:avLst/>
              <a:gdLst>
                <a:gd name="T0" fmla="*/ 0 w 1"/>
                <a:gd name="T1" fmla="*/ 1 w 1"/>
                <a:gd name="T2" fmla="*/ 1 w 1"/>
                <a:gd name="T3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06" name="Freeform 8070"/>
            <p:cNvSpPr>
              <a:spLocks/>
            </p:cNvSpPr>
            <p:nvPr/>
          </p:nvSpPr>
          <p:spPr bwMode="auto">
            <a:xfrm>
              <a:off x="5150" y="2846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07" name="Freeform 8071"/>
            <p:cNvSpPr>
              <a:spLocks/>
            </p:cNvSpPr>
            <p:nvPr/>
          </p:nvSpPr>
          <p:spPr bwMode="auto">
            <a:xfrm>
              <a:off x="5132" y="2850"/>
              <a:ext cx="1" cy="1"/>
            </a:xfrm>
            <a:custGeom>
              <a:avLst/>
              <a:gdLst>
                <a:gd name="T0" fmla="*/ 0 w 1"/>
                <a:gd name="T1" fmla="*/ 1 h 1"/>
                <a:gd name="T2" fmla="*/ 0 w 1"/>
                <a:gd name="T3" fmla="*/ 1 h 1"/>
                <a:gd name="T4" fmla="*/ 1 w 1"/>
                <a:gd name="T5" fmla="*/ 1 h 1"/>
                <a:gd name="T6" fmla="*/ 1 w 1"/>
                <a:gd name="T7" fmla="*/ 0 h 1"/>
                <a:gd name="T8" fmla="*/ 0 w 1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08" name="Freeform 8072"/>
            <p:cNvSpPr>
              <a:spLocks/>
            </p:cNvSpPr>
            <p:nvPr/>
          </p:nvSpPr>
          <p:spPr bwMode="auto">
            <a:xfrm>
              <a:off x="5165" y="2855"/>
              <a:ext cx="2" cy="2"/>
            </a:xfrm>
            <a:custGeom>
              <a:avLst/>
              <a:gdLst>
                <a:gd name="T0" fmla="*/ 1 w 2"/>
                <a:gd name="T1" fmla="*/ 0 h 2"/>
                <a:gd name="T2" fmla="*/ 0 w 2"/>
                <a:gd name="T3" fmla="*/ 0 h 2"/>
                <a:gd name="T4" fmla="*/ 0 w 2"/>
                <a:gd name="T5" fmla="*/ 1 h 2"/>
                <a:gd name="T6" fmla="*/ 2 w 2"/>
                <a:gd name="T7" fmla="*/ 2 h 2"/>
                <a:gd name="T8" fmla="*/ 2 w 2"/>
                <a:gd name="T9" fmla="*/ 1 h 2"/>
                <a:gd name="T10" fmla="*/ 1 w 2"/>
                <a:gd name="T11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2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1" y="1"/>
                    <a:pt x="1" y="1"/>
                    <a:pt x="2" y="2"/>
                  </a:cubicBezTo>
                  <a:cubicBezTo>
                    <a:pt x="2" y="2"/>
                    <a:pt x="2" y="1"/>
                    <a:pt x="2" y="1"/>
                  </a:cubicBezTo>
                  <a:cubicBezTo>
                    <a:pt x="1" y="1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09" name="Freeform 8073"/>
            <p:cNvSpPr>
              <a:spLocks/>
            </p:cNvSpPr>
            <p:nvPr/>
          </p:nvSpPr>
          <p:spPr bwMode="auto">
            <a:xfrm>
              <a:off x="5167" y="2857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10" name="Freeform 8074"/>
            <p:cNvSpPr>
              <a:spLocks/>
            </p:cNvSpPr>
            <p:nvPr/>
          </p:nvSpPr>
          <p:spPr bwMode="auto">
            <a:xfrm>
              <a:off x="5153" y="2844"/>
              <a:ext cx="1" cy="2"/>
            </a:xfrm>
            <a:custGeom>
              <a:avLst/>
              <a:gdLst>
                <a:gd name="T0" fmla="*/ 0 w 1"/>
                <a:gd name="T1" fmla="*/ 2 h 2"/>
                <a:gd name="T2" fmla="*/ 1 w 1"/>
                <a:gd name="T3" fmla="*/ 0 h 2"/>
                <a:gd name="T4" fmla="*/ 1 w 1"/>
                <a:gd name="T5" fmla="*/ 0 h 2"/>
                <a:gd name="T6" fmla="*/ 0 w 1"/>
                <a:gd name="T7" fmla="*/ 2 h 2"/>
                <a:gd name="T8" fmla="*/ 0 w 1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2">
                  <a:moveTo>
                    <a:pt x="0" y="2"/>
                  </a:moveTo>
                  <a:cubicBezTo>
                    <a:pt x="0" y="1"/>
                    <a:pt x="1" y="1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1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11" name="Freeform 8075"/>
            <p:cNvSpPr>
              <a:spLocks/>
            </p:cNvSpPr>
            <p:nvPr/>
          </p:nvSpPr>
          <p:spPr bwMode="auto">
            <a:xfrm>
              <a:off x="5163" y="2854"/>
              <a:ext cx="2" cy="2"/>
            </a:xfrm>
            <a:custGeom>
              <a:avLst/>
              <a:gdLst>
                <a:gd name="T0" fmla="*/ 0 w 2"/>
                <a:gd name="T1" fmla="*/ 0 h 2"/>
                <a:gd name="T2" fmla="*/ 0 w 2"/>
                <a:gd name="T3" fmla="*/ 1 h 2"/>
                <a:gd name="T4" fmla="*/ 0 w 2"/>
                <a:gd name="T5" fmla="*/ 2 h 2"/>
                <a:gd name="T6" fmla="*/ 2 w 2"/>
                <a:gd name="T7" fmla="*/ 2 h 2"/>
                <a:gd name="T8" fmla="*/ 2 w 2"/>
                <a:gd name="T9" fmla="*/ 1 h 2"/>
                <a:gd name="T10" fmla="*/ 0 w 2"/>
                <a:gd name="T11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1" y="2"/>
                    <a:pt x="1" y="2"/>
                    <a:pt x="2" y="2"/>
                  </a:cubicBezTo>
                  <a:cubicBezTo>
                    <a:pt x="2" y="2"/>
                    <a:pt x="2" y="1"/>
                    <a:pt x="2" y="1"/>
                  </a:cubicBezTo>
                  <a:cubicBezTo>
                    <a:pt x="1" y="1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12" name="Freeform 8076"/>
            <p:cNvSpPr>
              <a:spLocks/>
            </p:cNvSpPr>
            <p:nvPr/>
          </p:nvSpPr>
          <p:spPr bwMode="auto">
            <a:xfrm>
              <a:off x="5164" y="2861"/>
              <a:ext cx="0" cy="3"/>
            </a:xfrm>
            <a:custGeom>
              <a:avLst/>
              <a:gdLst>
                <a:gd name="T0" fmla="*/ 3 h 3"/>
                <a:gd name="T1" fmla="*/ 0 h 3"/>
                <a:gd name="T2" fmla="*/ 1 h 3"/>
                <a:gd name="T3" fmla="*/ 3 h 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3">
                  <a:moveTo>
                    <a:pt x="0" y="3"/>
                  </a:moveTo>
                  <a:cubicBezTo>
                    <a:pt x="0" y="3"/>
                    <a:pt x="0" y="2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3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13" name="Freeform 8077"/>
            <p:cNvSpPr>
              <a:spLocks/>
            </p:cNvSpPr>
            <p:nvPr/>
          </p:nvSpPr>
          <p:spPr bwMode="auto">
            <a:xfrm>
              <a:off x="5166" y="2855"/>
              <a:ext cx="1" cy="1"/>
            </a:xfrm>
            <a:custGeom>
              <a:avLst/>
              <a:gdLst>
                <a:gd name="T0" fmla="*/ 1 w 1"/>
                <a:gd name="T1" fmla="*/ 1 h 1"/>
                <a:gd name="T2" fmla="*/ 0 w 1"/>
                <a:gd name="T3" fmla="*/ 1 h 1"/>
                <a:gd name="T4" fmla="*/ 0 w 1"/>
                <a:gd name="T5" fmla="*/ 0 h 1"/>
                <a:gd name="T6" fmla="*/ 1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1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1" y="1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14" name="Freeform 8078"/>
            <p:cNvSpPr>
              <a:spLocks/>
            </p:cNvSpPr>
            <p:nvPr/>
          </p:nvSpPr>
          <p:spPr bwMode="auto">
            <a:xfrm>
              <a:off x="5167" y="2856"/>
              <a:ext cx="7" cy="5"/>
            </a:xfrm>
            <a:custGeom>
              <a:avLst/>
              <a:gdLst>
                <a:gd name="T0" fmla="*/ 0 w 5"/>
                <a:gd name="T1" fmla="*/ 1 h 4"/>
                <a:gd name="T2" fmla="*/ 5 w 5"/>
                <a:gd name="T3" fmla="*/ 4 h 4"/>
                <a:gd name="T4" fmla="*/ 0 w 5"/>
                <a:gd name="T5" fmla="*/ 0 h 4"/>
                <a:gd name="T6" fmla="*/ 0 w 5"/>
                <a:gd name="T7" fmla="*/ 1 h 4"/>
                <a:gd name="T8" fmla="*/ 0 w 5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4">
                  <a:moveTo>
                    <a:pt x="0" y="1"/>
                  </a:moveTo>
                  <a:cubicBezTo>
                    <a:pt x="2" y="2"/>
                    <a:pt x="3" y="3"/>
                    <a:pt x="5" y="4"/>
                  </a:cubicBezTo>
                  <a:cubicBezTo>
                    <a:pt x="5" y="4"/>
                    <a:pt x="3" y="2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15" name="Freeform 8079"/>
            <p:cNvSpPr>
              <a:spLocks/>
            </p:cNvSpPr>
            <p:nvPr/>
          </p:nvSpPr>
          <p:spPr bwMode="auto">
            <a:xfrm>
              <a:off x="5113" y="2854"/>
              <a:ext cx="1" cy="2"/>
            </a:xfrm>
            <a:custGeom>
              <a:avLst/>
              <a:gdLst>
                <a:gd name="T0" fmla="*/ 0 w 1"/>
                <a:gd name="T1" fmla="*/ 2 h 2"/>
                <a:gd name="T2" fmla="*/ 1 w 1"/>
                <a:gd name="T3" fmla="*/ 0 h 2"/>
                <a:gd name="T4" fmla="*/ 0 w 1"/>
                <a:gd name="T5" fmla="*/ 0 h 2"/>
                <a:gd name="T6" fmla="*/ 0 w 1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2">
                  <a:moveTo>
                    <a:pt x="0" y="2"/>
                  </a:moveTo>
                  <a:cubicBezTo>
                    <a:pt x="0" y="2"/>
                    <a:pt x="0" y="1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1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16" name="Freeform 8080"/>
            <p:cNvSpPr>
              <a:spLocks/>
            </p:cNvSpPr>
            <p:nvPr/>
          </p:nvSpPr>
          <p:spPr bwMode="auto">
            <a:xfrm>
              <a:off x="5131" y="2864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17" name="Oval 8081"/>
            <p:cNvSpPr>
              <a:spLocks noChangeArrowheads="1"/>
            </p:cNvSpPr>
            <p:nvPr/>
          </p:nvSpPr>
          <p:spPr bwMode="auto">
            <a:xfrm>
              <a:off x="5131" y="2864"/>
              <a:ext cx="1" cy="1"/>
            </a:xfrm>
            <a:prstGeom prst="ellipse">
              <a:avLst/>
            </a:pr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18" name="Oval 8082"/>
            <p:cNvSpPr>
              <a:spLocks noChangeArrowheads="1"/>
            </p:cNvSpPr>
            <p:nvPr/>
          </p:nvSpPr>
          <p:spPr bwMode="auto">
            <a:xfrm>
              <a:off x="5119" y="2844"/>
              <a:ext cx="1" cy="1"/>
            </a:xfrm>
            <a:prstGeom prst="ellipse">
              <a:avLst/>
            </a:pr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19" name="Freeform 8083"/>
            <p:cNvSpPr>
              <a:spLocks/>
            </p:cNvSpPr>
            <p:nvPr/>
          </p:nvSpPr>
          <p:spPr bwMode="auto">
            <a:xfrm>
              <a:off x="5119" y="2844"/>
              <a:ext cx="2" cy="1"/>
            </a:xfrm>
            <a:custGeom>
              <a:avLst/>
              <a:gdLst>
                <a:gd name="T0" fmla="*/ 0 w 2"/>
                <a:gd name="T1" fmla="*/ 0 h 1"/>
                <a:gd name="T2" fmla="*/ 2 w 2"/>
                <a:gd name="T3" fmla="*/ 1 h 1"/>
                <a:gd name="T4" fmla="*/ 2 w 2"/>
                <a:gd name="T5" fmla="*/ 1 h 1"/>
                <a:gd name="T6" fmla="*/ 2 w 2"/>
                <a:gd name="T7" fmla="*/ 0 h 1"/>
                <a:gd name="T8" fmla="*/ 0 w 2"/>
                <a:gd name="T9" fmla="*/ 0 h 1"/>
                <a:gd name="T10" fmla="*/ 0 w 2"/>
                <a:gd name="T11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1">
                  <a:moveTo>
                    <a:pt x="0" y="0"/>
                  </a:moveTo>
                  <a:cubicBezTo>
                    <a:pt x="1" y="0"/>
                    <a:pt x="2" y="0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1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20" name="Freeform 8084"/>
            <p:cNvSpPr>
              <a:spLocks/>
            </p:cNvSpPr>
            <p:nvPr/>
          </p:nvSpPr>
          <p:spPr bwMode="auto">
            <a:xfrm>
              <a:off x="5121" y="2844"/>
              <a:ext cx="1" cy="1"/>
            </a:xfrm>
            <a:custGeom>
              <a:avLst/>
              <a:gdLst>
                <a:gd name="T0" fmla="*/ 0 w 1"/>
                <a:gd name="T1" fmla="*/ 1 h 1"/>
                <a:gd name="T2" fmla="*/ 1 w 1"/>
                <a:gd name="T3" fmla="*/ 0 h 1"/>
                <a:gd name="T4" fmla="*/ 0 w 1"/>
                <a:gd name="T5" fmla="*/ 0 h 1"/>
                <a:gd name="T6" fmla="*/ 0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1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62B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21" name="Freeform 8085"/>
            <p:cNvSpPr>
              <a:spLocks/>
            </p:cNvSpPr>
            <p:nvPr/>
          </p:nvSpPr>
          <p:spPr bwMode="auto">
            <a:xfrm>
              <a:off x="5144" y="2847"/>
              <a:ext cx="5" cy="10"/>
            </a:xfrm>
            <a:custGeom>
              <a:avLst/>
              <a:gdLst>
                <a:gd name="T0" fmla="*/ 3 w 4"/>
                <a:gd name="T1" fmla="*/ 0 h 8"/>
                <a:gd name="T2" fmla="*/ 3 w 4"/>
                <a:gd name="T3" fmla="*/ 0 h 8"/>
                <a:gd name="T4" fmla="*/ 0 w 4"/>
                <a:gd name="T5" fmla="*/ 4 h 8"/>
                <a:gd name="T6" fmla="*/ 2 w 4"/>
                <a:gd name="T7" fmla="*/ 8 h 8"/>
                <a:gd name="T8" fmla="*/ 3 w 4"/>
                <a:gd name="T9" fmla="*/ 7 h 8"/>
                <a:gd name="T10" fmla="*/ 4 w 4"/>
                <a:gd name="T11" fmla="*/ 5 h 8"/>
                <a:gd name="T12" fmla="*/ 3 w 4"/>
                <a:gd name="T1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8">
                  <a:moveTo>
                    <a:pt x="3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2" y="1"/>
                    <a:pt x="1" y="2"/>
                    <a:pt x="0" y="4"/>
                  </a:cubicBezTo>
                  <a:cubicBezTo>
                    <a:pt x="1" y="5"/>
                    <a:pt x="1" y="6"/>
                    <a:pt x="2" y="8"/>
                  </a:cubicBezTo>
                  <a:cubicBezTo>
                    <a:pt x="2" y="7"/>
                    <a:pt x="2" y="7"/>
                    <a:pt x="3" y="7"/>
                  </a:cubicBezTo>
                  <a:cubicBezTo>
                    <a:pt x="3" y="6"/>
                    <a:pt x="4" y="6"/>
                    <a:pt x="4" y="5"/>
                  </a:cubicBezTo>
                  <a:cubicBezTo>
                    <a:pt x="4" y="3"/>
                    <a:pt x="4" y="2"/>
                    <a:pt x="3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22" name="Freeform 8086"/>
            <p:cNvSpPr>
              <a:spLocks/>
            </p:cNvSpPr>
            <p:nvPr/>
          </p:nvSpPr>
          <p:spPr bwMode="auto">
            <a:xfrm>
              <a:off x="5166" y="2851"/>
              <a:ext cx="3" cy="1"/>
            </a:xfrm>
            <a:custGeom>
              <a:avLst/>
              <a:gdLst>
                <a:gd name="T0" fmla="*/ 2 w 2"/>
                <a:gd name="T1" fmla="*/ 1 h 1"/>
                <a:gd name="T2" fmla="*/ 2 w 2"/>
                <a:gd name="T3" fmla="*/ 1 h 1"/>
                <a:gd name="T4" fmla="*/ 0 w 2"/>
                <a:gd name="T5" fmla="*/ 0 h 1"/>
                <a:gd name="T6" fmla="*/ 1 w 2"/>
                <a:gd name="T7" fmla="*/ 1 h 1"/>
                <a:gd name="T8" fmla="*/ 2 w 2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1">
                  <a:moveTo>
                    <a:pt x="2" y="1"/>
                  </a:moveTo>
                  <a:cubicBezTo>
                    <a:pt x="2" y="1"/>
                    <a:pt x="2" y="1"/>
                    <a:pt x="2" y="1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2" y="1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23" name="Freeform 8087"/>
            <p:cNvSpPr>
              <a:spLocks/>
            </p:cNvSpPr>
            <p:nvPr/>
          </p:nvSpPr>
          <p:spPr bwMode="auto">
            <a:xfrm>
              <a:off x="5143" y="2840"/>
              <a:ext cx="4" cy="3"/>
            </a:xfrm>
            <a:custGeom>
              <a:avLst/>
              <a:gdLst>
                <a:gd name="T0" fmla="*/ 1 w 3"/>
                <a:gd name="T1" fmla="*/ 2 h 2"/>
                <a:gd name="T2" fmla="*/ 3 w 3"/>
                <a:gd name="T3" fmla="*/ 2 h 2"/>
                <a:gd name="T4" fmla="*/ 3 w 3"/>
                <a:gd name="T5" fmla="*/ 0 h 2"/>
                <a:gd name="T6" fmla="*/ 0 w 3"/>
                <a:gd name="T7" fmla="*/ 2 h 2"/>
                <a:gd name="T8" fmla="*/ 0 w 3"/>
                <a:gd name="T9" fmla="*/ 2 h 2"/>
                <a:gd name="T10" fmla="*/ 1 w 3"/>
                <a:gd name="T11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2">
                  <a:moveTo>
                    <a:pt x="1" y="2"/>
                  </a:moveTo>
                  <a:cubicBezTo>
                    <a:pt x="2" y="2"/>
                    <a:pt x="2" y="2"/>
                    <a:pt x="3" y="2"/>
                  </a:cubicBezTo>
                  <a:cubicBezTo>
                    <a:pt x="3" y="1"/>
                    <a:pt x="3" y="1"/>
                    <a:pt x="3" y="0"/>
                  </a:cubicBezTo>
                  <a:cubicBezTo>
                    <a:pt x="2" y="1"/>
                    <a:pt x="1" y="1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2"/>
                    <a:pt x="1" y="2"/>
                    <a:pt x="1" y="2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24" name="Freeform 8088"/>
            <p:cNvSpPr>
              <a:spLocks/>
            </p:cNvSpPr>
            <p:nvPr/>
          </p:nvSpPr>
          <p:spPr bwMode="auto">
            <a:xfrm>
              <a:off x="5165" y="2851"/>
              <a:ext cx="2" cy="1"/>
            </a:xfrm>
            <a:custGeom>
              <a:avLst/>
              <a:gdLst>
                <a:gd name="T0" fmla="*/ 1 w 2"/>
                <a:gd name="T1" fmla="*/ 0 h 1"/>
                <a:gd name="T2" fmla="*/ 0 w 2"/>
                <a:gd name="T3" fmla="*/ 0 h 1"/>
                <a:gd name="T4" fmla="*/ 0 w 2"/>
                <a:gd name="T5" fmla="*/ 0 h 1"/>
                <a:gd name="T6" fmla="*/ 2 w 2"/>
                <a:gd name="T7" fmla="*/ 1 h 1"/>
                <a:gd name="T8" fmla="*/ 2 w 2"/>
                <a:gd name="T9" fmla="*/ 1 h 1"/>
                <a:gd name="T10" fmla="*/ 1 w 2"/>
                <a:gd name="T11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1">
                  <a:moveTo>
                    <a:pt x="1" y="0"/>
                  </a:moveTo>
                  <a:cubicBezTo>
                    <a:pt x="1" y="0"/>
                    <a:pt x="1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1"/>
                    <a:pt x="1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1"/>
                    <a:pt x="1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25" name="Freeform 8089"/>
            <p:cNvSpPr>
              <a:spLocks/>
            </p:cNvSpPr>
            <p:nvPr/>
          </p:nvSpPr>
          <p:spPr bwMode="auto">
            <a:xfrm>
              <a:off x="5131" y="2805"/>
              <a:ext cx="17" cy="29"/>
            </a:xfrm>
            <a:custGeom>
              <a:avLst/>
              <a:gdLst>
                <a:gd name="T0" fmla="*/ 9 w 14"/>
                <a:gd name="T1" fmla="*/ 14 h 24"/>
                <a:gd name="T2" fmla="*/ 14 w 14"/>
                <a:gd name="T3" fmla="*/ 24 h 24"/>
                <a:gd name="T4" fmla="*/ 0 w 14"/>
                <a:gd name="T5" fmla="*/ 0 h 24"/>
                <a:gd name="T6" fmla="*/ 0 w 14"/>
                <a:gd name="T7" fmla="*/ 0 h 24"/>
                <a:gd name="T8" fmla="*/ 9 w 14"/>
                <a:gd name="T9" fmla="*/ 1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24">
                  <a:moveTo>
                    <a:pt x="9" y="14"/>
                  </a:moveTo>
                  <a:cubicBezTo>
                    <a:pt x="11" y="17"/>
                    <a:pt x="13" y="20"/>
                    <a:pt x="14" y="24"/>
                  </a:cubicBezTo>
                  <a:cubicBezTo>
                    <a:pt x="10" y="2"/>
                    <a:pt x="3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" y="0"/>
                    <a:pt x="8" y="7"/>
                    <a:pt x="9" y="14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26" name="Freeform 8090"/>
            <p:cNvSpPr>
              <a:spLocks/>
            </p:cNvSpPr>
            <p:nvPr/>
          </p:nvSpPr>
          <p:spPr bwMode="auto">
            <a:xfrm>
              <a:off x="5122" y="2832"/>
              <a:ext cx="2" cy="2"/>
            </a:xfrm>
            <a:custGeom>
              <a:avLst/>
              <a:gdLst>
                <a:gd name="T0" fmla="*/ 1 w 1"/>
                <a:gd name="T1" fmla="*/ 2 h 2"/>
                <a:gd name="T2" fmla="*/ 1 w 1"/>
                <a:gd name="T3" fmla="*/ 0 h 2"/>
                <a:gd name="T4" fmla="*/ 0 w 1"/>
                <a:gd name="T5" fmla="*/ 0 h 2"/>
                <a:gd name="T6" fmla="*/ 0 w 1"/>
                <a:gd name="T7" fmla="*/ 1 h 2"/>
                <a:gd name="T8" fmla="*/ 1 w 1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2">
                  <a:moveTo>
                    <a:pt x="1" y="2"/>
                  </a:moveTo>
                  <a:cubicBezTo>
                    <a:pt x="1" y="1"/>
                    <a:pt x="1" y="1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1" y="1"/>
                    <a:pt x="1" y="2"/>
                    <a:pt x="1" y="2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27" name="Freeform 8091"/>
            <p:cNvSpPr>
              <a:spLocks/>
            </p:cNvSpPr>
            <p:nvPr/>
          </p:nvSpPr>
          <p:spPr bwMode="auto">
            <a:xfrm>
              <a:off x="5141" y="2871"/>
              <a:ext cx="3" cy="3"/>
            </a:xfrm>
            <a:custGeom>
              <a:avLst/>
              <a:gdLst>
                <a:gd name="T0" fmla="*/ 0 w 3"/>
                <a:gd name="T1" fmla="*/ 3 h 3"/>
                <a:gd name="T2" fmla="*/ 3 w 3"/>
                <a:gd name="T3" fmla="*/ 3 h 3"/>
                <a:gd name="T4" fmla="*/ 1 w 3"/>
                <a:gd name="T5" fmla="*/ 0 h 3"/>
                <a:gd name="T6" fmla="*/ 0 w 3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">
                  <a:moveTo>
                    <a:pt x="0" y="3"/>
                  </a:move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2" y="2"/>
                    <a:pt x="1" y="0"/>
                  </a:cubicBezTo>
                  <a:cubicBezTo>
                    <a:pt x="0" y="2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28" name="Freeform 8092"/>
            <p:cNvSpPr>
              <a:spLocks/>
            </p:cNvSpPr>
            <p:nvPr/>
          </p:nvSpPr>
          <p:spPr bwMode="auto">
            <a:xfrm>
              <a:off x="5127" y="2834"/>
              <a:ext cx="8" cy="12"/>
            </a:xfrm>
            <a:custGeom>
              <a:avLst/>
              <a:gdLst>
                <a:gd name="T0" fmla="*/ 5 w 6"/>
                <a:gd name="T1" fmla="*/ 10 h 10"/>
                <a:gd name="T2" fmla="*/ 5 w 6"/>
                <a:gd name="T3" fmla="*/ 9 h 10"/>
                <a:gd name="T4" fmla="*/ 6 w 6"/>
                <a:gd name="T5" fmla="*/ 6 h 10"/>
                <a:gd name="T6" fmla="*/ 0 w 6"/>
                <a:gd name="T7" fmla="*/ 0 h 10"/>
                <a:gd name="T8" fmla="*/ 0 w 6"/>
                <a:gd name="T9" fmla="*/ 2 h 10"/>
                <a:gd name="T10" fmla="*/ 5 w 6"/>
                <a:gd name="T11" fmla="*/ 10 h 10"/>
                <a:gd name="T12" fmla="*/ 5 w 6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10">
                  <a:moveTo>
                    <a:pt x="5" y="10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6" y="8"/>
                    <a:pt x="6" y="7"/>
                    <a:pt x="6" y="6"/>
                  </a:cubicBezTo>
                  <a:cubicBezTo>
                    <a:pt x="4" y="3"/>
                    <a:pt x="2" y="1"/>
                    <a:pt x="0" y="0"/>
                  </a:cubicBezTo>
                  <a:cubicBezTo>
                    <a:pt x="0" y="0"/>
                    <a:pt x="0" y="1"/>
                    <a:pt x="0" y="2"/>
                  </a:cubicBezTo>
                  <a:cubicBezTo>
                    <a:pt x="2" y="4"/>
                    <a:pt x="4" y="7"/>
                    <a:pt x="5" y="10"/>
                  </a:cubicBezTo>
                  <a:cubicBezTo>
                    <a:pt x="5" y="10"/>
                    <a:pt x="5" y="10"/>
                    <a:pt x="5" y="1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29" name="Freeform 8093"/>
            <p:cNvSpPr>
              <a:spLocks/>
            </p:cNvSpPr>
            <p:nvPr/>
          </p:nvSpPr>
          <p:spPr bwMode="auto">
            <a:xfrm>
              <a:off x="5143" y="2832"/>
              <a:ext cx="1" cy="4"/>
            </a:xfrm>
            <a:custGeom>
              <a:avLst/>
              <a:gdLst>
                <a:gd name="T0" fmla="*/ 1 w 1"/>
                <a:gd name="T1" fmla="*/ 3 h 4"/>
                <a:gd name="T2" fmla="*/ 0 w 1"/>
                <a:gd name="T3" fmla="*/ 0 h 4"/>
                <a:gd name="T4" fmla="*/ 0 w 1"/>
                <a:gd name="T5" fmla="*/ 4 h 4"/>
                <a:gd name="T6" fmla="*/ 1 w 1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4">
                  <a:moveTo>
                    <a:pt x="1" y="3"/>
                  </a:moveTo>
                  <a:cubicBezTo>
                    <a:pt x="1" y="2"/>
                    <a:pt x="0" y="1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1" y="4"/>
                    <a:pt x="1" y="3"/>
                    <a:pt x="1" y="3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30" name="Freeform 8094"/>
            <p:cNvSpPr>
              <a:spLocks/>
            </p:cNvSpPr>
            <p:nvPr/>
          </p:nvSpPr>
          <p:spPr bwMode="auto">
            <a:xfrm>
              <a:off x="5129" y="2805"/>
              <a:ext cx="1" cy="0"/>
            </a:xfrm>
            <a:custGeom>
              <a:avLst/>
              <a:gdLst>
                <a:gd name="T0" fmla="*/ 0 w 1"/>
                <a:gd name="T1" fmla="*/ 1 w 1"/>
                <a:gd name="T2" fmla="*/ 1 w 1"/>
                <a:gd name="T3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31" name="Freeform 8095"/>
            <p:cNvSpPr>
              <a:spLocks/>
            </p:cNvSpPr>
            <p:nvPr/>
          </p:nvSpPr>
          <p:spPr bwMode="auto">
            <a:xfrm>
              <a:off x="5113" y="2830"/>
              <a:ext cx="6" cy="3"/>
            </a:xfrm>
            <a:custGeom>
              <a:avLst/>
              <a:gdLst>
                <a:gd name="T0" fmla="*/ 1 w 5"/>
                <a:gd name="T1" fmla="*/ 2 h 2"/>
                <a:gd name="T2" fmla="*/ 5 w 5"/>
                <a:gd name="T3" fmla="*/ 1 h 2"/>
                <a:gd name="T4" fmla="*/ 4 w 5"/>
                <a:gd name="T5" fmla="*/ 0 h 2"/>
                <a:gd name="T6" fmla="*/ 0 w 5"/>
                <a:gd name="T7" fmla="*/ 1 h 2"/>
                <a:gd name="T8" fmla="*/ 1 w 5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2">
                  <a:moveTo>
                    <a:pt x="1" y="2"/>
                  </a:moveTo>
                  <a:cubicBezTo>
                    <a:pt x="2" y="1"/>
                    <a:pt x="3" y="1"/>
                    <a:pt x="5" y="1"/>
                  </a:cubicBezTo>
                  <a:cubicBezTo>
                    <a:pt x="5" y="1"/>
                    <a:pt x="5" y="1"/>
                    <a:pt x="4" y="0"/>
                  </a:cubicBezTo>
                  <a:cubicBezTo>
                    <a:pt x="3" y="0"/>
                    <a:pt x="2" y="1"/>
                    <a:pt x="0" y="1"/>
                  </a:cubicBezTo>
                  <a:cubicBezTo>
                    <a:pt x="0" y="1"/>
                    <a:pt x="1" y="1"/>
                    <a:pt x="1" y="2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32" name="Freeform 8096"/>
            <p:cNvSpPr>
              <a:spLocks/>
            </p:cNvSpPr>
            <p:nvPr/>
          </p:nvSpPr>
          <p:spPr bwMode="auto">
            <a:xfrm>
              <a:off x="5150" y="2863"/>
              <a:ext cx="3" cy="11"/>
            </a:xfrm>
            <a:custGeom>
              <a:avLst/>
              <a:gdLst>
                <a:gd name="T0" fmla="*/ 0 w 2"/>
                <a:gd name="T1" fmla="*/ 9 h 9"/>
                <a:gd name="T2" fmla="*/ 1 w 2"/>
                <a:gd name="T3" fmla="*/ 9 h 9"/>
                <a:gd name="T4" fmla="*/ 2 w 2"/>
                <a:gd name="T5" fmla="*/ 9 h 9"/>
                <a:gd name="T6" fmla="*/ 1 w 2"/>
                <a:gd name="T7" fmla="*/ 0 h 9"/>
                <a:gd name="T8" fmla="*/ 0 w 2"/>
                <a:gd name="T9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9">
                  <a:moveTo>
                    <a:pt x="0" y="9"/>
                  </a:move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2" y="9"/>
                  </a:cubicBezTo>
                  <a:cubicBezTo>
                    <a:pt x="1" y="8"/>
                    <a:pt x="1" y="5"/>
                    <a:pt x="1" y="0"/>
                  </a:cubicBezTo>
                  <a:cubicBezTo>
                    <a:pt x="0" y="3"/>
                    <a:pt x="0" y="6"/>
                    <a:pt x="0" y="9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33" name="Freeform 8097"/>
            <p:cNvSpPr>
              <a:spLocks/>
            </p:cNvSpPr>
            <p:nvPr/>
          </p:nvSpPr>
          <p:spPr bwMode="auto">
            <a:xfrm>
              <a:off x="5142" y="2822"/>
              <a:ext cx="6" cy="13"/>
            </a:xfrm>
            <a:custGeom>
              <a:avLst/>
              <a:gdLst>
                <a:gd name="T0" fmla="*/ 1 w 5"/>
                <a:gd name="T1" fmla="*/ 8 h 11"/>
                <a:gd name="T2" fmla="*/ 2 w 5"/>
                <a:gd name="T3" fmla="*/ 11 h 11"/>
                <a:gd name="T4" fmla="*/ 5 w 5"/>
                <a:gd name="T5" fmla="*/ 10 h 11"/>
                <a:gd name="T6" fmla="*/ 5 w 5"/>
                <a:gd name="T7" fmla="*/ 10 h 11"/>
                <a:gd name="T8" fmla="*/ 0 w 5"/>
                <a:gd name="T9" fmla="*/ 0 h 11"/>
                <a:gd name="T10" fmla="*/ 1 w 5"/>
                <a:gd name="T11" fmla="*/ 8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11">
                  <a:moveTo>
                    <a:pt x="1" y="8"/>
                  </a:moveTo>
                  <a:cubicBezTo>
                    <a:pt x="1" y="9"/>
                    <a:pt x="2" y="10"/>
                    <a:pt x="2" y="11"/>
                  </a:cubicBezTo>
                  <a:cubicBezTo>
                    <a:pt x="3" y="11"/>
                    <a:pt x="4" y="10"/>
                    <a:pt x="5" y="10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4" y="6"/>
                    <a:pt x="2" y="3"/>
                    <a:pt x="0" y="0"/>
                  </a:cubicBezTo>
                  <a:cubicBezTo>
                    <a:pt x="0" y="3"/>
                    <a:pt x="1" y="6"/>
                    <a:pt x="1" y="8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34" name="Freeform 8098"/>
            <p:cNvSpPr>
              <a:spLocks/>
            </p:cNvSpPr>
            <p:nvPr/>
          </p:nvSpPr>
          <p:spPr bwMode="auto">
            <a:xfrm>
              <a:off x="5147" y="2838"/>
              <a:ext cx="2" cy="5"/>
            </a:xfrm>
            <a:custGeom>
              <a:avLst/>
              <a:gdLst>
                <a:gd name="T0" fmla="*/ 0 w 2"/>
                <a:gd name="T1" fmla="*/ 4 h 4"/>
                <a:gd name="T2" fmla="*/ 2 w 2"/>
                <a:gd name="T3" fmla="*/ 3 h 4"/>
                <a:gd name="T4" fmla="*/ 2 w 2"/>
                <a:gd name="T5" fmla="*/ 0 h 4"/>
                <a:gd name="T6" fmla="*/ 0 w 2"/>
                <a:gd name="T7" fmla="*/ 2 h 4"/>
                <a:gd name="T8" fmla="*/ 0 w 2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cubicBezTo>
                    <a:pt x="1" y="3"/>
                    <a:pt x="2" y="3"/>
                    <a:pt x="2" y="3"/>
                  </a:cubicBezTo>
                  <a:cubicBezTo>
                    <a:pt x="2" y="2"/>
                    <a:pt x="2" y="1"/>
                    <a:pt x="2" y="0"/>
                  </a:cubicBezTo>
                  <a:cubicBezTo>
                    <a:pt x="1" y="1"/>
                    <a:pt x="0" y="1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35" name="Freeform 8099"/>
            <p:cNvSpPr>
              <a:spLocks/>
            </p:cNvSpPr>
            <p:nvPr/>
          </p:nvSpPr>
          <p:spPr bwMode="auto">
            <a:xfrm>
              <a:off x="5148" y="2847"/>
              <a:ext cx="2" cy="7"/>
            </a:xfrm>
            <a:custGeom>
              <a:avLst/>
              <a:gdLst>
                <a:gd name="T0" fmla="*/ 0 w 2"/>
                <a:gd name="T1" fmla="*/ 0 h 5"/>
                <a:gd name="T2" fmla="*/ 1 w 2"/>
                <a:gd name="T3" fmla="*/ 5 h 5"/>
                <a:gd name="T4" fmla="*/ 2 w 2"/>
                <a:gd name="T5" fmla="*/ 4 h 5"/>
                <a:gd name="T6" fmla="*/ 2 w 2"/>
                <a:gd name="T7" fmla="*/ 0 h 5"/>
                <a:gd name="T8" fmla="*/ 0 w 2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5">
                  <a:moveTo>
                    <a:pt x="0" y="0"/>
                  </a:moveTo>
                  <a:cubicBezTo>
                    <a:pt x="1" y="2"/>
                    <a:pt x="1" y="3"/>
                    <a:pt x="1" y="5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2"/>
                    <a:pt x="2" y="1"/>
                    <a:pt x="2" y="0"/>
                  </a:cubicBezTo>
                  <a:cubicBezTo>
                    <a:pt x="1" y="0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36" name="Freeform 8100"/>
            <p:cNvSpPr>
              <a:spLocks/>
            </p:cNvSpPr>
            <p:nvPr/>
          </p:nvSpPr>
          <p:spPr bwMode="auto">
            <a:xfrm>
              <a:off x="5160" y="2851"/>
              <a:ext cx="3" cy="3"/>
            </a:xfrm>
            <a:custGeom>
              <a:avLst/>
              <a:gdLst>
                <a:gd name="T0" fmla="*/ 1 w 2"/>
                <a:gd name="T1" fmla="*/ 0 h 2"/>
                <a:gd name="T2" fmla="*/ 1 w 2"/>
                <a:gd name="T3" fmla="*/ 0 h 2"/>
                <a:gd name="T4" fmla="*/ 0 w 2"/>
                <a:gd name="T5" fmla="*/ 1 h 2"/>
                <a:gd name="T6" fmla="*/ 0 w 2"/>
                <a:gd name="T7" fmla="*/ 2 h 2"/>
                <a:gd name="T8" fmla="*/ 2 w 2"/>
                <a:gd name="T9" fmla="*/ 2 h 2"/>
                <a:gd name="T10" fmla="*/ 1 w 2"/>
                <a:gd name="T11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2"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0" y="1"/>
                    <a:pt x="0" y="1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1" y="2"/>
                    <a:pt x="1" y="2"/>
                    <a:pt x="2" y="2"/>
                  </a:cubicBezTo>
                  <a:cubicBezTo>
                    <a:pt x="1" y="1"/>
                    <a:pt x="1" y="1"/>
                    <a:pt x="1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37" name="Freeform 8101"/>
            <p:cNvSpPr>
              <a:spLocks/>
            </p:cNvSpPr>
            <p:nvPr/>
          </p:nvSpPr>
          <p:spPr bwMode="auto">
            <a:xfrm>
              <a:off x="5152" y="2855"/>
              <a:ext cx="8" cy="19"/>
            </a:xfrm>
            <a:custGeom>
              <a:avLst/>
              <a:gdLst>
                <a:gd name="T0" fmla="*/ 7 w 7"/>
                <a:gd name="T1" fmla="*/ 0 h 16"/>
                <a:gd name="T2" fmla="*/ 3 w 7"/>
                <a:gd name="T3" fmla="*/ 1 h 16"/>
                <a:gd name="T4" fmla="*/ 0 w 7"/>
                <a:gd name="T5" fmla="*/ 4 h 16"/>
                <a:gd name="T6" fmla="*/ 0 w 7"/>
                <a:gd name="T7" fmla="*/ 7 h 16"/>
                <a:gd name="T8" fmla="*/ 1 w 7"/>
                <a:gd name="T9" fmla="*/ 16 h 16"/>
                <a:gd name="T10" fmla="*/ 7 w 7"/>
                <a:gd name="T11" fmla="*/ 1 h 16"/>
                <a:gd name="T12" fmla="*/ 7 w 7"/>
                <a:gd name="T13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6">
                  <a:moveTo>
                    <a:pt x="7" y="0"/>
                  </a:moveTo>
                  <a:cubicBezTo>
                    <a:pt x="5" y="0"/>
                    <a:pt x="4" y="1"/>
                    <a:pt x="3" y="1"/>
                  </a:cubicBezTo>
                  <a:cubicBezTo>
                    <a:pt x="2" y="2"/>
                    <a:pt x="1" y="3"/>
                    <a:pt x="0" y="4"/>
                  </a:cubicBezTo>
                  <a:cubicBezTo>
                    <a:pt x="0" y="5"/>
                    <a:pt x="0" y="6"/>
                    <a:pt x="0" y="7"/>
                  </a:cubicBezTo>
                  <a:cubicBezTo>
                    <a:pt x="0" y="12"/>
                    <a:pt x="0" y="15"/>
                    <a:pt x="1" y="16"/>
                  </a:cubicBezTo>
                  <a:cubicBezTo>
                    <a:pt x="3" y="8"/>
                    <a:pt x="5" y="3"/>
                    <a:pt x="7" y="1"/>
                  </a:cubicBezTo>
                  <a:cubicBezTo>
                    <a:pt x="7" y="1"/>
                    <a:pt x="7" y="1"/>
                    <a:pt x="7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38" name="Freeform 8102"/>
            <p:cNvSpPr>
              <a:spLocks/>
            </p:cNvSpPr>
            <p:nvPr/>
          </p:nvSpPr>
          <p:spPr bwMode="auto">
            <a:xfrm>
              <a:off x="5159" y="2852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39" name="Freeform 8103"/>
            <p:cNvSpPr>
              <a:spLocks/>
            </p:cNvSpPr>
            <p:nvPr/>
          </p:nvSpPr>
          <p:spPr bwMode="auto">
            <a:xfrm>
              <a:off x="5133" y="2845"/>
              <a:ext cx="0" cy="1"/>
            </a:xfrm>
            <a:custGeom>
              <a:avLst/>
              <a:gdLst>
                <a:gd name="T0" fmla="*/ 0 h 1"/>
                <a:gd name="T1" fmla="*/ 1 h 1"/>
                <a:gd name="T2" fmla="*/ 1 h 1"/>
                <a:gd name="T3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40" name="Freeform 8104"/>
            <p:cNvSpPr>
              <a:spLocks/>
            </p:cNvSpPr>
            <p:nvPr/>
          </p:nvSpPr>
          <p:spPr bwMode="auto">
            <a:xfrm>
              <a:off x="5143" y="2835"/>
              <a:ext cx="4" cy="8"/>
            </a:xfrm>
            <a:custGeom>
              <a:avLst/>
              <a:gdLst>
                <a:gd name="T0" fmla="*/ 0 w 3"/>
                <a:gd name="T1" fmla="*/ 6 h 6"/>
                <a:gd name="T2" fmla="*/ 3 w 3"/>
                <a:gd name="T3" fmla="*/ 4 h 6"/>
                <a:gd name="T4" fmla="*/ 1 w 3"/>
                <a:gd name="T5" fmla="*/ 0 h 6"/>
                <a:gd name="T6" fmla="*/ 0 w 3"/>
                <a:gd name="T7" fmla="*/ 1 h 6"/>
                <a:gd name="T8" fmla="*/ 0 w 3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6">
                  <a:moveTo>
                    <a:pt x="0" y="6"/>
                  </a:moveTo>
                  <a:cubicBezTo>
                    <a:pt x="1" y="5"/>
                    <a:pt x="2" y="5"/>
                    <a:pt x="3" y="4"/>
                  </a:cubicBezTo>
                  <a:cubicBezTo>
                    <a:pt x="2" y="3"/>
                    <a:pt x="2" y="2"/>
                    <a:pt x="1" y="0"/>
                  </a:cubicBezTo>
                  <a:cubicBezTo>
                    <a:pt x="1" y="0"/>
                    <a:pt x="1" y="1"/>
                    <a:pt x="0" y="1"/>
                  </a:cubicBezTo>
                  <a:cubicBezTo>
                    <a:pt x="0" y="3"/>
                    <a:pt x="0" y="5"/>
                    <a:pt x="0" y="6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41" name="Freeform 8105"/>
            <p:cNvSpPr>
              <a:spLocks/>
            </p:cNvSpPr>
            <p:nvPr/>
          </p:nvSpPr>
          <p:spPr bwMode="auto">
            <a:xfrm>
              <a:off x="5110" y="2832"/>
              <a:ext cx="4" cy="1"/>
            </a:xfrm>
            <a:custGeom>
              <a:avLst/>
              <a:gdLst>
                <a:gd name="T0" fmla="*/ 2 w 3"/>
                <a:gd name="T1" fmla="*/ 0 h 1"/>
                <a:gd name="T2" fmla="*/ 0 w 3"/>
                <a:gd name="T3" fmla="*/ 1 h 1"/>
                <a:gd name="T4" fmla="*/ 0 w 3"/>
                <a:gd name="T5" fmla="*/ 1 h 1"/>
                <a:gd name="T6" fmla="*/ 3 w 3"/>
                <a:gd name="T7" fmla="*/ 1 h 1"/>
                <a:gd name="T8" fmla="*/ 2 w 3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1">
                  <a:moveTo>
                    <a:pt x="2" y="0"/>
                  </a:moveTo>
                  <a:cubicBezTo>
                    <a:pt x="2" y="0"/>
                    <a:pt x="1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2" y="1"/>
                    <a:pt x="3" y="1"/>
                  </a:cubicBezTo>
                  <a:cubicBezTo>
                    <a:pt x="3" y="0"/>
                    <a:pt x="2" y="0"/>
                    <a:pt x="2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42" name="Freeform 8106"/>
            <p:cNvSpPr>
              <a:spLocks/>
            </p:cNvSpPr>
            <p:nvPr/>
          </p:nvSpPr>
          <p:spPr bwMode="auto">
            <a:xfrm>
              <a:off x="5118" y="2830"/>
              <a:ext cx="4" cy="3"/>
            </a:xfrm>
            <a:custGeom>
              <a:avLst/>
              <a:gdLst>
                <a:gd name="T0" fmla="*/ 1 w 4"/>
                <a:gd name="T1" fmla="*/ 1 h 2"/>
                <a:gd name="T2" fmla="*/ 4 w 4"/>
                <a:gd name="T3" fmla="*/ 2 h 2"/>
                <a:gd name="T4" fmla="*/ 4 w 4"/>
                <a:gd name="T5" fmla="*/ 1 h 2"/>
                <a:gd name="T6" fmla="*/ 0 w 4"/>
                <a:gd name="T7" fmla="*/ 0 h 2"/>
                <a:gd name="T8" fmla="*/ 1 w 4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1" y="1"/>
                  </a:moveTo>
                  <a:cubicBezTo>
                    <a:pt x="2" y="1"/>
                    <a:pt x="3" y="2"/>
                    <a:pt x="4" y="2"/>
                  </a:cubicBezTo>
                  <a:cubicBezTo>
                    <a:pt x="4" y="2"/>
                    <a:pt x="4" y="1"/>
                    <a:pt x="4" y="1"/>
                  </a:cubicBezTo>
                  <a:cubicBezTo>
                    <a:pt x="3" y="0"/>
                    <a:pt x="2" y="0"/>
                    <a:pt x="0" y="0"/>
                  </a:cubicBezTo>
                  <a:cubicBezTo>
                    <a:pt x="1" y="1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43" name="Freeform 8107"/>
            <p:cNvSpPr>
              <a:spLocks/>
            </p:cNvSpPr>
            <p:nvPr/>
          </p:nvSpPr>
          <p:spPr bwMode="auto">
            <a:xfrm>
              <a:off x="5144" y="2834"/>
              <a:ext cx="5" cy="6"/>
            </a:xfrm>
            <a:custGeom>
              <a:avLst/>
              <a:gdLst>
                <a:gd name="T0" fmla="*/ 4 w 4"/>
                <a:gd name="T1" fmla="*/ 3 h 5"/>
                <a:gd name="T2" fmla="*/ 3 w 4"/>
                <a:gd name="T3" fmla="*/ 0 h 5"/>
                <a:gd name="T4" fmla="*/ 0 w 4"/>
                <a:gd name="T5" fmla="*/ 1 h 5"/>
                <a:gd name="T6" fmla="*/ 2 w 4"/>
                <a:gd name="T7" fmla="*/ 5 h 5"/>
                <a:gd name="T8" fmla="*/ 4 w 4"/>
                <a:gd name="T9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5">
                  <a:moveTo>
                    <a:pt x="4" y="3"/>
                  </a:moveTo>
                  <a:cubicBezTo>
                    <a:pt x="4" y="2"/>
                    <a:pt x="3" y="1"/>
                    <a:pt x="3" y="0"/>
                  </a:cubicBezTo>
                  <a:cubicBezTo>
                    <a:pt x="2" y="0"/>
                    <a:pt x="1" y="1"/>
                    <a:pt x="0" y="1"/>
                  </a:cubicBezTo>
                  <a:cubicBezTo>
                    <a:pt x="1" y="3"/>
                    <a:pt x="1" y="4"/>
                    <a:pt x="2" y="5"/>
                  </a:cubicBezTo>
                  <a:cubicBezTo>
                    <a:pt x="2" y="4"/>
                    <a:pt x="3" y="4"/>
                    <a:pt x="4" y="3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44" name="Freeform 8108"/>
            <p:cNvSpPr>
              <a:spLocks/>
            </p:cNvSpPr>
            <p:nvPr/>
          </p:nvSpPr>
          <p:spPr bwMode="auto">
            <a:xfrm>
              <a:off x="5130" y="2805"/>
              <a:ext cx="1" cy="0"/>
            </a:xfrm>
            <a:custGeom>
              <a:avLst/>
              <a:gdLst>
                <a:gd name="T0" fmla="*/ 1 w 1"/>
                <a:gd name="T1" fmla="*/ 0 w 1"/>
                <a:gd name="T2" fmla="*/ 0 w 1"/>
                <a:gd name="T3" fmla="*/ 1 w 1"/>
                <a:gd name="T4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45" name="Freeform 8109"/>
            <p:cNvSpPr>
              <a:spLocks/>
            </p:cNvSpPr>
            <p:nvPr/>
          </p:nvSpPr>
          <p:spPr bwMode="auto">
            <a:xfrm>
              <a:off x="5124" y="2832"/>
              <a:ext cx="3" cy="4"/>
            </a:xfrm>
            <a:custGeom>
              <a:avLst/>
              <a:gdLst>
                <a:gd name="T0" fmla="*/ 3 w 3"/>
                <a:gd name="T1" fmla="*/ 4 h 4"/>
                <a:gd name="T2" fmla="*/ 3 w 3"/>
                <a:gd name="T3" fmla="*/ 2 h 4"/>
                <a:gd name="T4" fmla="*/ 2 w 3"/>
                <a:gd name="T5" fmla="*/ 1 h 4"/>
                <a:gd name="T6" fmla="*/ 2 w 3"/>
                <a:gd name="T7" fmla="*/ 1 h 4"/>
                <a:gd name="T8" fmla="*/ 2 w 3"/>
                <a:gd name="T9" fmla="*/ 1 h 4"/>
                <a:gd name="T10" fmla="*/ 0 w 3"/>
                <a:gd name="T11" fmla="*/ 0 h 4"/>
                <a:gd name="T12" fmla="*/ 0 w 3"/>
                <a:gd name="T13" fmla="*/ 2 h 4"/>
                <a:gd name="T14" fmla="*/ 3 w 3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" h="4">
                  <a:moveTo>
                    <a:pt x="3" y="4"/>
                  </a:moveTo>
                  <a:cubicBezTo>
                    <a:pt x="3" y="3"/>
                    <a:pt x="3" y="2"/>
                    <a:pt x="3" y="2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0"/>
                    <a:pt x="0" y="0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1" y="2"/>
                    <a:pt x="2" y="3"/>
                    <a:pt x="3" y="4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46" name="Freeform 8110"/>
            <p:cNvSpPr>
              <a:spLocks/>
            </p:cNvSpPr>
            <p:nvPr/>
          </p:nvSpPr>
          <p:spPr bwMode="auto">
            <a:xfrm>
              <a:off x="5143" y="2843"/>
              <a:ext cx="1" cy="1"/>
            </a:xfrm>
            <a:custGeom>
              <a:avLst/>
              <a:gdLst>
                <a:gd name="T0" fmla="*/ 1 w 1"/>
                <a:gd name="T1" fmla="*/ 0 h 1"/>
                <a:gd name="T2" fmla="*/ 0 w 1"/>
                <a:gd name="T3" fmla="*/ 0 h 1"/>
                <a:gd name="T4" fmla="*/ 0 w 1"/>
                <a:gd name="T5" fmla="*/ 1 h 1"/>
                <a:gd name="T6" fmla="*/ 1 w 1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1" y="0"/>
                    <a:pt x="1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1" y="1"/>
                    <a:pt x="1" y="1"/>
                    <a:pt x="1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47" name="Freeform 8111"/>
            <p:cNvSpPr>
              <a:spLocks/>
            </p:cNvSpPr>
            <p:nvPr/>
          </p:nvSpPr>
          <p:spPr bwMode="auto">
            <a:xfrm>
              <a:off x="5175" y="2857"/>
              <a:ext cx="1" cy="3"/>
            </a:xfrm>
            <a:custGeom>
              <a:avLst/>
              <a:gdLst>
                <a:gd name="T0" fmla="*/ 1 w 1"/>
                <a:gd name="T1" fmla="*/ 2 h 2"/>
                <a:gd name="T2" fmla="*/ 1 w 1"/>
                <a:gd name="T3" fmla="*/ 2 h 2"/>
                <a:gd name="T4" fmla="*/ 0 w 1"/>
                <a:gd name="T5" fmla="*/ 0 h 2"/>
                <a:gd name="T6" fmla="*/ 0 w 1"/>
                <a:gd name="T7" fmla="*/ 0 h 2"/>
                <a:gd name="T8" fmla="*/ 1 w 1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2">
                  <a:moveTo>
                    <a:pt x="1" y="2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1"/>
                    <a:pt x="1" y="1"/>
                    <a:pt x="1" y="2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48" name="Freeform 8112"/>
            <p:cNvSpPr>
              <a:spLocks/>
            </p:cNvSpPr>
            <p:nvPr/>
          </p:nvSpPr>
          <p:spPr bwMode="auto">
            <a:xfrm>
              <a:off x="5148" y="2847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49" name="Freeform 8113"/>
            <p:cNvSpPr>
              <a:spLocks/>
            </p:cNvSpPr>
            <p:nvPr/>
          </p:nvSpPr>
          <p:spPr bwMode="auto">
            <a:xfrm>
              <a:off x="5165" y="2851"/>
              <a:ext cx="2" cy="1"/>
            </a:xfrm>
            <a:custGeom>
              <a:avLst/>
              <a:gdLst>
                <a:gd name="T0" fmla="*/ 1 w 2"/>
                <a:gd name="T1" fmla="*/ 1 h 1"/>
                <a:gd name="T2" fmla="*/ 2 w 2"/>
                <a:gd name="T3" fmla="*/ 1 h 1"/>
                <a:gd name="T4" fmla="*/ 0 w 2"/>
                <a:gd name="T5" fmla="*/ 0 h 1"/>
                <a:gd name="T6" fmla="*/ 1 w 2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1" y="1"/>
                  </a:moveTo>
                  <a:cubicBezTo>
                    <a:pt x="1" y="1"/>
                    <a:pt x="2" y="1"/>
                    <a:pt x="2" y="1"/>
                  </a:cubicBezTo>
                  <a:cubicBezTo>
                    <a:pt x="1" y="1"/>
                    <a:pt x="1" y="1"/>
                    <a:pt x="0" y="0"/>
                  </a:cubicBezTo>
                  <a:cubicBezTo>
                    <a:pt x="1" y="1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50" name="Freeform 8114"/>
            <p:cNvSpPr>
              <a:spLocks/>
            </p:cNvSpPr>
            <p:nvPr/>
          </p:nvSpPr>
          <p:spPr bwMode="auto">
            <a:xfrm>
              <a:off x="5148" y="2846"/>
              <a:ext cx="2" cy="1"/>
            </a:xfrm>
            <a:custGeom>
              <a:avLst/>
              <a:gdLst>
                <a:gd name="T0" fmla="*/ 2 w 2"/>
                <a:gd name="T1" fmla="*/ 0 h 1"/>
                <a:gd name="T2" fmla="*/ 0 w 2"/>
                <a:gd name="T3" fmla="*/ 1 h 1"/>
                <a:gd name="T4" fmla="*/ 0 w 2"/>
                <a:gd name="T5" fmla="*/ 1 h 1"/>
                <a:gd name="T6" fmla="*/ 2 w 2"/>
                <a:gd name="T7" fmla="*/ 1 h 1"/>
                <a:gd name="T8" fmla="*/ 2 w 2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1" y="0"/>
                    <a:pt x="1" y="0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2" y="1"/>
                  </a:cubicBezTo>
                  <a:cubicBezTo>
                    <a:pt x="2" y="1"/>
                    <a:pt x="2" y="0"/>
                    <a:pt x="2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51" name="Rectangle 8115"/>
            <p:cNvSpPr>
              <a:spLocks noChangeArrowheads="1"/>
            </p:cNvSpPr>
            <p:nvPr/>
          </p:nvSpPr>
          <p:spPr bwMode="auto">
            <a:xfrm>
              <a:off x="5161" y="2851"/>
              <a:ext cx="1" cy="1"/>
            </a:xfrm>
            <a:prstGeom prst="rect">
              <a:avLst/>
            </a:pr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52" name="Oval 8116"/>
            <p:cNvSpPr>
              <a:spLocks noChangeArrowheads="1"/>
            </p:cNvSpPr>
            <p:nvPr/>
          </p:nvSpPr>
          <p:spPr bwMode="auto">
            <a:xfrm>
              <a:off x="5165" y="2851"/>
              <a:ext cx="1" cy="1"/>
            </a:xfrm>
            <a:prstGeom prst="ellipse">
              <a:avLst/>
            </a:pr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53" name="Freeform 8117"/>
            <p:cNvSpPr>
              <a:spLocks/>
            </p:cNvSpPr>
            <p:nvPr/>
          </p:nvSpPr>
          <p:spPr bwMode="auto">
            <a:xfrm>
              <a:off x="5169" y="2852"/>
              <a:ext cx="3" cy="3"/>
            </a:xfrm>
            <a:custGeom>
              <a:avLst/>
              <a:gdLst>
                <a:gd name="T0" fmla="*/ 0 w 3"/>
                <a:gd name="T1" fmla="*/ 0 h 2"/>
                <a:gd name="T2" fmla="*/ 0 w 3"/>
                <a:gd name="T3" fmla="*/ 0 h 2"/>
                <a:gd name="T4" fmla="*/ 3 w 3"/>
                <a:gd name="T5" fmla="*/ 2 h 2"/>
                <a:gd name="T6" fmla="*/ 3 w 3"/>
                <a:gd name="T7" fmla="*/ 2 h 2"/>
                <a:gd name="T8" fmla="*/ 0 w 3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2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1"/>
                    <a:pt x="2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2" y="1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54" name="Freeform 8118"/>
            <p:cNvSpPr>
              <a:spLocks/>
            </p:cNvSpPr>
            <p:nvPr/>
          </p:nvSpPr>
          <p:spPr bwMode="auto">
            <a:xfrm>
              <a:off x="5161" y="2851"/>
              <a:ext cx="3" cy="3"/>
            </a:xfrm>
            <a:custGeom>
              <a:avLst/>
              <a:gdLst>
                <a:gd name="T0" fmla="*/ 0 w 2"/>
                <a:gd name="T1" fmla="*/ 0 h 2"/>
                <a:gd name="T2" fmla="*/ 1 w 2"/>
                <a:gd name="T3" fmla="*/ 2 h 2"/>
                <a:gd name="T4" fmla="*/ 1 w 2"/>
                <a:gd name="T5" fmla="*/ 2 h 2"/>
                <a:gd name="T6" fmla="*/ 2 w 2"/>
                <a:gd name="T7" fmla="*/ 2 h 2"/>
                <a:gd name="T8" fmla="*/ 0 w 2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cubicBezTo>
                    <a:pt x="0" y="1"/>
                    <a:pt x="0" y="1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2" y="2"/>
                    <a:pt x="2" y="2"/>
                  </a:cubicBezTo>
                  <a:cubicBezTo>
                    <a:pt x="1" y="1"/>
                    <a:pt x="1" y="1"/>
                    <a:pt x="0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55" name="Freeform 8119"/>
            <p:cNvSpPr>
              <a:spLocks/>
            </p:cNvSpPr>
            <p:nvPr/>
          </p:nvSpPr>
          <p:spPr bwMode="auto">
            <a:xfrm>
              <a:off x="5165" y="2851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56" name="Freeform 8120"/>
            <p:cNvSpPr>
              <a:spLocks/>
            </p:cNvSpPr>
            <p:nvPr/>
          </p:nvSpPr>
          <p:spPr bwMode="auto">
            <a:xfrm>
              <a:off x="5165" y="2851"/>
              <a:ext cx="1" cy="1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1 h 1"/>
                <a:gd name="T4" fmla="*/ 1 w 1"/>
                <a:gd name="T5" fmla="*/ 1 h 1"/>
                <a:gd name="T6" fmla="*/ 0 w 1"/>
                <a:gd name="T7" fmla="*/ 0 h 1"/>
                <a:gd name="T8" fmla="*/ 0 w 1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1"/>
                    <a:pt x="1" y="1"/>
                  </a:cubicBezTo>
                  <a:cubicBezTo>
                    <a:pt x="1" y="1"/>
                    <a:pt x="1" y="1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57" name="Freeform 8121"/>
            <p:cNvSpPr>
              <a:spLocks/>
            </p:cNvSpPr>
            <p:nvPr/>
          </p:nvSpPr>
          <p:spPr bwMode="auto">
            <a:xfrm>
              <a:off x="5172" y="2855"/>
              <a:ext cx="3" cy="2"/>
            </a:xfrm>
            <a:custGeom>
              <a:avLst/>
              <a:gdLst>
                <a:gd name="T0" fmla="*/ 0 w 2"/>
                <a:gd name="T1" fmla="*/ 0 h 2"/>
                <a:gd name="T2" fmla="*/ 2 w 2"/>
                <a:gd name="T3" fmla="*/ 2 h 2"/>
                <a:gd name="T4" fmla="*/ 2 w 2"/>
                <a:gd name="T5" fmla="*/ 2 h 2"/>
                <a:gd name="T6" fmla="*/ 0 w 2"/>
                <a:gd name="T7" fmla="*/ 0 h 2"/>
                <a:gd name="T8" fmla="*/ 0 w 2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cubicBezTo>
                    <a:pt x="1" y="1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1" y="1"/>
                    <a:pt x="1" y="1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58" name="Freeform 8122"/>
            <p:cNvSpPr>
              <a:spLocks/>
            </p:cNvSpPr>
            <p:nvPr/>
          </p:nvSpPr>
          <p:spPr bwMode="auto">
            <a:xfrm>
              <a:off x="5176" y="2860"/>
              <a:ext cx="1" cy="1"/>
            </a:xfrm>
            <a:custGeom>
              <a:avLst/>
              <a:gdLst>
                <a:gd name="T0" fmla="*/ 1 w 1"/>
                <a:gd name="T1" fmla="*/ 1 h 1"/>
                <a:gd name="T2" fmla="*/ 0 w 1"/>
                <a:gd name="T3" fmla="*/ 0 h 1"/>
                <a:gd name="T4" fmla="*/ 0 w 1"/>
                <a:gd name="T5" fmla="*/ 0 h 1"/>
                <a:gd name="T6" fmla="*/ 1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1" y="0"/>
                    <a:pt x="1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59" name="Freeform 8123"/>
            <p:cNvSpPr>
              <a:spLocks/>
            </p:cNvSpPr>
            <p:nvPr/>
          </p:nvSpPr>
          <p:spPr bwMode="auto">
            <a:xfrm>
              <a:off x="5161" y="2851"/>
              <a:ext cx="4" cy="3"/>
            </a:xfrm>
            <a:custGeom>
              <a:avLst/>
              <a:gdLst>
                <a:gd name="T0" fmla="*/ 0 w 3"/>
                <a:gd name="T1" fmla="*/ 0 h 2"/>
                <a:gd name="T2" fmla="*/ 0 w 3"/>
                <a:gd name="T3" fmla="*/ 0 h 2"/>
                <a:gd name="T4" fmla="*/ 2 w 3"/>
                <a:gd name="T5" fmla="*/ 2 h 2"/>
                <a:gd name="T6" fmla="*/ 3 w 3"/>
                <a:gd name="T7" fmla="*/ 1 h 2"/>
                <a:gd name="T8" fmla="*/ 3 w 3"/>
                <a:gd name="T9" fmla="*/ 0 h 2"/>
                <a:gd name="T10" fmla="*/ 3 w 3"/>
                <a:gd name="T11" fmla="*/ 0 h 2"/>
                <a:gd name="T12" fmla="*/ 0 w 3"/>
                <a:gd name="T13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2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1"/>
                    <a:pt x="1" y="1"/>
                    <a:pt x="2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3" y="1"/>
                    <a:pt x="3" y="1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60" name="Freeform 8124"/>
            <p:cNvSpPr>
              <a:spLocks/>
            </p:cNvSpPr>
            <p:nvPr/>
          </p:nvSpPr>
          <p:spPr bwMode="auto">
            <a:xfrm>
              <a:off x="5109" y="2833"/>
              <a:ext cx="1" cy="1"/>
            </a:xfrm>
            <a:custGeom>
              <a:avLst/>
              <a:gdLst>
                <a:gd name="T0" fmla="*/ 0 w 1"/>
                <a:gd name="T1" fmla="*/ 1 h 1"/>
                <a:gd name="T2" fmla="*/ 1 w 1"/>
                <a:gd name="T3" fmla="*/ 0 h 1"/>
                <a:gd name="T4" fmla="*/ 1 w 1"/>
                <a:gd name="T5" fmla="*/ 0 h 1"/>
                <a:gd name="T6" fmla="*/ 0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1" y="1"/>
                    <a:pt x="1" y="1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61" name="Freeform 8125"/>
            <p:cNvSpPr>
              <a:spLocks/>
            </p:cNvSpPr>
            <p:nvPr/>
          </p:nvSpPr>
          <p:spPr bwMode="auto">
            <a:xfrm>
              <a:off x="5144" y="2844"/>
              <a:ext cx="4" cy="2"/>
            </a:xfrm>
            <a:custGeom>
              <a:avLst/>
              <a:gdLst>
                <a:gd name="T0" fmla="*/ 3 w 3"/>
                <a:gd name="T1" fmla="*/ 2 h 2"/>
                <a:gd name="T2" fmla="*/ 3 w 3"/>
                <a:gd name="T3" fmla="*/ 1 h 2"/>
                <a:gd name="T4" fmla="*/ 0 w 3"/>
                <a:gd name="T5" fmla="*/ 0 h 2"/>
                <a:gd name="T6" fmla="*/ 0 w 3"/>
                <a:gd name="T7" fmla="*/ 2 h 2"/>
                <a:gd name="T8" fmla="*/ 3 w 3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2">
                  <a:moveTo>
                    <a:pt x="3" y="2"/>
                  </a:moveTo>
                  <a:cubicBezTo>
                    <a:pt x="3" y="2"/>
                    <a:pt x="3" y="1"/>
                    <a:pt x="3" y="1"/>
                  </a:cubicBezTo>
                  <a:cubicBezTo>
                    <a:pt x="2" y="1"/>
                    <a:pt x="1" y="0"/>
                    <a:pt x="0" y="0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1" y="2"/>
                    <a:pt x="2" y="2"/>
                    <a:pt x="3" y="2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62" name="Freeform 8126"/>
            <p:cNvSpPr>
              <a:spLocks/>
            </p:cNvSpPr>
            <p:nvPr/>
          </p:nvSpPr>
          <p:spPr bwMode="auto">
            <a:xfrm>
              <a:off x="5144" y="2847"/>
              <a:ext cx="4" cy="5"/>
            </a:xfrm>
            <a:custGeom>
              <a:avLst/>
              <a:gdLst>
                <a:gd name="T0" fmla="*/ 0 w 3"/>
                <a:gd name="T1" fmla="*/ 1 h 4"/>
                <a:gd name="T2" fmla="*/ 0 w 3"/>
                <a:gd name="T3" fmla="*/ 4 h 4"/>
                <a:gd name="T4" fmla="*/ 3 w 3"/>
                <a:gd name="T5" fmla="*/ 0 h 4"/>
                <a:gd name="T6" fmla="*/ 0 w 3"/>
                <a:gd name="T7" fmla="*/ 0 h 4"/>
                <a:gd name="T8" fmla="*/ 0 w 3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0" y="1"/>
                  </a:moveTo>
                  <a:cubicBezTo>
                    <a:pt x="0" y="2"/>
                    <a:pt x="0" y="3"/>
                    <a:pt x="0" y="4"/>
                  </a:cubicBezTo>
                  <a:cubicBezTo>
                    <a:pt x="1" y="2"/>
                    <a:pt x="2" y="1"/>
                    <a:pt x="3" y="0"/>
                  </a:cubicBezTo>
                  <a:cubicBezTo>
                    <a:pt x="2" y="0"/>
                    <a:pt x="1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63" name="Freeform 8127"/>
            <p:cNvSpPr>
              <a:spLocks/>
            </p:cNvSpPr>
            <p:nvPr/>
          </p:nvSpPr>
          <p:spPr bwMode="auto">
            <a:xfrm>
              <a:off x="5133" y="2841"/>
              <a:ext cx="3" cy="4"/>
            </a:xfrm>
            <a:custGeom>
              <a:avLst/>
              <a:gdLst>
                <a:gd name="T0" fmla="*/ 1 w 2"/>
                <a:gd name="T1" fmla="*/ 0 h 3"/>
                <a:gd name="T2" fmla="*/ 0 w 2"/>
                <a:gd name="T3" fmla="*/ 3 h 3"/>
                <a:gd name="T4" fmla="*/ 2 w 2"/>
                <a:gd name="T5" fmla="*/ 1 h 3"/>
                <a:gd name="T6" fmla="*/ 1 w 2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">
                  <a:moveTo>
                    <a:pt x="1" y="0"/>
                  </a:moveTo>
                  <a:cubicBezTo>
                    <a:pt x="1" y="1"/>
                    <a:pt x="1" y="2"/>
                    <a:pt x="0" y="3"/>
                  </a:cubicBezTo>
                  <a:cubicBezTo>
                    <a:pt x="1" y="2"/>
                    <a:pt x="2" y="2"/>
                    <a:pt x="2" y="1"/>
                  </a:cubicBezTo>
                  <a:cubicBezTo>
                    <a:pt x="2" y="1"/>
                    <a:pt x="2" y="1"/>
                    <a:pt x="1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64" name="Freeform 8128"/>
            <p:cNvSpPr>
              <a:spLocks/>
            </p:cNvSpPr>
            <p:nvPr/>
          </p:nvSpPr>
          <p:spPr bwMode="auto">
            <a:xfrm>
              <a:off x="5138" y="2849"/>
              <a:ext cx="4" cy="6"/>
            </a:xfrm>
            <a:custGeom>
              <a:avLst/>
              <a:gdLst>
                <a:gd name="T0" fmla="*/ 0 w 3"/>
                <a:gd name="T1" fmla="*/ 1 h 5"/>
                <a:gd name="T2" fmla="*/ 3 w 3"/>
                <a:gd name="T3" fmla="*/ 5 h 5"/>
                <a:gd name="T4" fmla="*/ 1 w 3"/>
                <a:gd name="T5" fmla="*/ 0 h 5"/>
                <a:gd name="T6" fmla="*/ 0 w 3"/>
                <a:gd name="T7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5">
                  <a:moveTo>
                    <a:pt x="0" y="1"/>
                  </a:moveTo>
                  <a:cubicBezTo>
                    <a:pt x="1" y="2"/>
                    <a:pt x="2" y="4"/>
                    <a:pt x="3" y="5"/>
                  </a:cubicBezTo>
                  <a:cubicBezTo>
                    <a:pt x="3" y="3"/>
                    <a:pt x="2" y="2"/>
                    <a:pt x="1" y="0"/>
                  </a:cubicBezTo>
                  <a:cubicBezTo>
                    <a:pt x="1" y="0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65" name="Freeform 8129"/>
            <p:cNvSpPr>
              <a:spLocks/>
            </p:cNvSpPr>
            <p:nvPr/>
          </p:nvSpPr>
          <p:spPr bwMode="auto">
            <a:xfrm>
              <a:off x="5147" y="2856"/>
              <a:ext cx="1" cy="1"/>
            </a:xfrm>
            <a:custGeom>
              <a:avLst/>
              <a:gdLst>
                <a:gd name="T0" fmla="*/ 0 w 1"/>
                <a:gd name="T1" fmla="*/ 1 h 1"/>
                <a:gd name="T2" fmla="*/ 1 w 1"/>
                <a:gd name="T3" fmla="*/ 0 h 1"/>
                <a:gd name="T4" fmla="*/ 0 w 1"/>
                <a:gd name="T5" fmla="*/ 1 h 1"/>
                <a:gd name="T6" fmla="*/ 0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1"/>
                    <a:pt x="0" y="1"/>
                    <a:pt x="1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66" name="Freeform 8130"/>
            <p:cNvSpPr>
              <a:spLocks/>
            </p:cNvSpPr>
            <p:nvPr/>
          </p:nvSpPr>
          <p:spPr bwMode="auto">
            <a:xfrm>
              <a:off x="5137" y="2858"/>
              <a:ext cx="2" cy="3"/>
            </a:xfrm>
            <a:custGeom>
              <a:avLst/>
              <a:gdLst>
                <a:gd name="T0" fmla="*/ 2 w 2"/>
                <a:gd name="T1" fmla="*/ 2 h 2"/>
                <a:gd name="T2" fmla="*/ 0 w 2"/>
                <a:gd name="T3" fmla="*/ 0 h 2"/>
                <a:gd name="T4" fmla="*/ 1 w 2"/>
                <a:gd name="T5" fmla="*/ 2 h 2"/>
                <a:gd name="T6" fmla="*/ 2 w 2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cubicBezTo>
                    <a:pt x="2" y="2"/>
                    <a:pt x="1" y="1"/>
                    <a:pt x="0" y="0"/>
                  </a:cubicBezTo>
                  <a:cubicBezTo>
                    <a:pt x="1" y="1"/>
                    <a:pt x="1" y="1"/>
                    <a:pt x="1" y="2"/>
                  </a:cubicBezTo>
                  <a:cubicBezTo>
                    <a:pt x="1" y="2"/>
                    <a:pt x="1" y="2"/>
                    <a:pt x="2" y="2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67" name="Freeform 8131"/>
            <p:cNvSpPr>
              <a:spLocks/>
            </p:cNvSpPr>
            <p:nvPr/>
          </p:nvSpPr>
          <p:spPr bwMode="auto">
            <a:xfrm>
              <a:off x="5144" y="2843"/>
              <a:ext cx="4" cy="1"/>
            </a:xfrm>
            <a:custGeom>
              <a:avLst/>
              <a:gdLst>
                <a:gd name="T0" fmla="*/ 3 w 3"/>
                <a:gd name="T1" fmla="*/ 1 h 1"/>
                <a:gd name="T2" fmla="*/ 2 w 3"/>
                <a:gd name="T3" fmla="*/ 0 h 1"/>
                <a:gd name="T4" fmla="*/ 0 w 3"/>
                <a:gd name="T5" fmla="*/ 0 h 1"/>
                <a:gd name="T6" fmla="*/ 3 w 3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">
                  <a:moveTo>
                    <a:pt x="3" y="1"/>
                  </a:moveTo>
                  <a:cubicBezTo>
                    <a:pt x="2" y="1"/>
                    <a:pt x="2" y="0"/>
                    <a:pt x="2" y="0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1" y="1"/>
                    <a:pt x="2" y="1"/>
                    <a:pt x="3" y="1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68" name="Freeform 8132"/>
            <p:cNvSpPr>
              <a:spLocks/>
            </p:cNvSpPr>
            <p:nvPr/>
          </p:nvSpPr>
          <p:spPr bwMode="auto">
            <a:xfrm>
              <a:off x="5139" y="2867"/>
              <a:ext cx="3" cy="7"/>
            </a:xfrm>
            <a:custGeom>
              <a:avLst/>
              <a:gdLst>
                <a:gd name="T0" fmla="*/ 0 w 2"/>
                <a:gd name="T1" fmla="*/ 0 h 6"/>
                <a:gd name="T2" fmla="*/ 1 w 2"/>
                <a:gd name="T3" fmla="*/ 6 h 6"/>
                <a:gd name="T4" fmla="*/ 1 w 2"/>
                <a:gd name="T5" fmla="*/ 6 h 6"/>
                <a:gd name="T6" fmla="*/ 2 w 2"/>
                <a:gd name="T7" fmla="*/ 3 h 6"/>
                <a:gd name="T8" fmla="*/ 0 w 2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6">
                  <a:moveTo>
                    <a:pt x="0" y="0"/>
                  </a:moveTo>
                  <a:cubicBezTo>
                    <a:pt x="1" y="3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5"/>
                    <a:pt x="2" y="3"/>
                  </a:cubicBezTo>
                  <a:cubicBezTo>
                    <a:pt x="2" y="2"/>
                    <a:pt x="1" y="1"/>
                    <a:pt x="0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69" name="Freeform 8133"/>
            <p:cNvSpPr>
              <a:spLocks/>
            </p:cNvSpPr>
            <p:nvPr/>
          </p:nvSpPr>
          <p:spPr bwMode="auto">
            <a:xfrm>
              <a:off x="5147" y="2841"/>
              <a:ext cx="3" cy="5"/>
            </a:xfrm>
            <a:custGeom>
              <a:avLst/>
              <a:gdLst>
                <a:gd name="T0" fmla="*/ 3 w 3"/>
                <a:gd name="T1" fmla="*/ 4 h 4"/>
                <a:gd name="T2" fmla="*/ 2 w 3"/>
                <a:gd name="T3" fmla="*/ 0 h 4"/>
                <a:gd name="T4" fmla="*/ 0 w 3"/>
                <a:gd name="T5" fmla="*/ 1 h 4"/>
                <a:gd name="T6" fmla="*/ 1 w 3"/>
                <a:gd name="T7" fmla="*/ 2 h 4"/>
                <a:gd name="T8" fmla="*/ 3 w 3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3" y="4"/>
                  </a:moveTo>
                  <a:cubicBezTo>
                    <a:pt x="2" y="2"/>
                    <a:pt x="2" y="1"/>
                    <a:pt x="2" y="0"/>
                  </a:cubicBezTo>
                  <a:cubicBezTo>
                    <a:pt x="2" y="0"/>
                    <a:pt x="1" y="0"/>
                    <a:pt x="0" y="1"/>
                  </a:cubicBezTo>
                  <a:cubicBezTo>
                    <a:pt x="0" y="1"/>
                    <a:pt x="0" y="2"/>
                    <a:pt x="1" y="2"/>
                  </a:cubicBezTo>
                  <a:cubicBezTo>
                    <a:pt x="1" y="3"/>
                    <a:pt x="2" y="3"/>
                    <a:pt x="3" y="4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70" name="Freeform 8134"/>
            <p:cNvSpPr>
              <a:spLocks/>
            </p:cNvSpPr>
            <p:nvPr/>
          </p:nvSpPr>
          <p:spPr bwMode="auto">
            <a:xfrm>
              <a:off x="5159" y="2852"/>
              <a:ext cx="1" cy="2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  <a:gd name="T4" fmla="*/ 1 w 1"/>
                <a:gd name="T5" fmla="*/ 1 h 1"/>
                <a:gd name="T6" fmla="*/ 1 w 1"/>
                <a:gd name="T7" fmla="*/ 0 h 1"/>
                <a:gd name="T8" fmla="*/ 0 w 1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71" name="Freeform 8135"/>
            <p:cNvSpPr>
              <a:spLocks/>
            </p:cNvSpPr>
            <p:nvPr/>
          </p:nvSpPr>
          <p:spPr bwMode="auto">
            <a:xfrm>
              <a:off x="5160" y="2854"/>
              <a:ext cx="3" cy="1"/>
            </a:xfrm>
            <a:custGeom>
              <a:avLst/>
              <a:gdLst>
                <a:gd name="T0" fmla="*/ 0 w 2"/>
                <a:gd name="T1" fmla="*/ 0 h 1"/>
                <a:gd name="T2" fmla="*/ 1 w 2"/>
                <a:gd name="T3" fmla="*/ 1 h 1"/>
                <a:gd name="T4" fmla="*/ 2 w 2"/>
                <a:gd name="T5" fmla="*/ 1 h 1"/>
                <a:gd name="T6" fmla="*/ 2 w 2"/>
                <a:gd name="T7" fmla="*/ 0 h 1"/>
                <a:gd name="T8" fmla="*/ 0 w 2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1">
                  <a:moveTo>
                    <a:pt x="0" y="0"/>
                  </a:moveTo>
                  <a:cubicBezTo>
                    <a:pt x="0" y="0"/>
                    <a:pt x="1" y="1"/>
                    <a:pt x="1" y="1"/>
                  </a:cubicBezTo>
                  <a:cubicBezTo>
                    <a:pt x="1" y="1"/>
                    <a:pt x="1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72" name="Freeform 8136"/>
            <p:cNvSpPr>
              <a:spLocks/>
            </p:cNvSpPr>
            <p:nvPr/>
          </p:nvSpPr>
          <p:spPr bwMode="auto">
            <a:xfrm>
              <a:off x="5159" y="2852"/>
              <a:ext cx="2" cy="3"/>
            </a:xfrm>
            <a:custGeom>
              <a:avLst/>
              <a:gdLst>
                <a:gd name="T0" fmla="*/ 2 w 2"/>
                <a:gd name="T1" fmla="*/ 2 h 2"/>
                <a:gd name="T2" fmla="*/ 1 w 2"/>
                <a:gd name="T3" fmla="*/ 1 h 2"/>
                <a:gd name="T4" fmla="*/ 0 w 2"/>
                <a:gd name="T5" fmla="*/ 0 h 2"/>
                <a:gd name="T6" fmla="*/ 1 w 2"/>
                <a:gd name="T7" fmla="*/ 2 h 2"/>
                <a:gd name="T8" fmla="*/ 2 w 2"/>
                <a:gd name="T9" fmla="*/ 2 h 2"/>
                <a:gd name="T10" fmla="*/ 2 w 2"/>
                <a:gd name="T11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cubicBezTo>
                    <a:pt x="2" y="2"/>
                    <a:pt x="1" y="1"/>
                    <a:pt x="1" y="1"/>
                  </a:cubicBezTo>
                  <a:cubicBezTo>
                    <a:pt x="1" y="1"/>
                    <a:pt x="0" y="1"/>
                    <a:pt x="0" y="0"/>
                  </a:cubicBezTo>
                  <a:cubicBezTo>
                    <a:pt x="0" y="1"/>
                    <a:pt x="1" y="2"/>
                    <a:pt x="1" y="2"/>
                  </a:cubicBezTo>
                  <a:cubicBezTo>
                    <a:pt x="1" y="2"/>
                    <a:pt x="1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73" name="Freeform 8137"/>
            <p:cNvSpPr>
              <a:spLocks/>
            </p:cNvSpPr>
            <p:nvPr/>
          </p:nvSpPr>
          <p:spPr bwMode="auto">
            <a:xfrm>
              <a:off x="5155" y="2852"/>
              <a:ext cx="5" cy="4"/>
            </a:xfrm>
            <a:custGeom>
              <a:avLst/>
              <a:gdLst>
                <a:gd name="T0" fmla="*/ 3 w 4"/>
                <a:gd name="T1" fmla="*/ 0 h 3"/>
                <a:gd name="T2" fmla="*/ 0 w 4"/>
                <a:gd name="T3" fmla="*/ 3 h 3"/>
                <a:gd name="T4" fmla="*/ 4 w 4"/>
                <a:gd name="T5" fmla="*/ 2 h 3"/>
                <a:gd name="T6" fmla="*/ 3 w 4"/>
                <a:gd name="T7" fmla="*/ 0 h 3"/>
                <a:gd name="T8" fmla="*/ 3 w 4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3">
                  <a:moveTo>
                    <a:pt x="3" y="0"/>
                  </a:moveTo>
                  <a:cubicBezTo>
                    <a:pt x="2" y="1"/>
                    <a:pt x="0" y="2"/>
                    <a:pt x="0" y="3"/>
                  </a:cubicBezTo>
                  <a:cubicBezTo>
                    <a:pt x="1" y="3"/>
                    <a:pt x="2" y="2"/>
                    <a:pt x="4" y="2"/>
                  </a:cubicBezTo>
                  <a:cubicBezTo>
                    <a:pt x="4" y="2"/>
                    <a:pt x="3" y="1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74" name="Freeform 8138"/>
            <p:cNvSpPr>
              <a:spLocks/>
            </p:cNvSpPr>
            <p:nvPr/>
          </p:nvSpPr>
          <p:spPr bwMode="auto">
            <a:xfrm>
              <a:off x="5160" y="2855"/>
              <a:ext cx="1" cy="1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1 h 1"/>
                <a:gd name="T4" fmla="*/ 1 w 1"/>
                <a:gd name="T5" fmla="*/ 0 h 1"/>
                <a:gd name="T6" fmla="*/ 0 w 1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75" name="Freeform 8139"/>
            <p:cNvSpPr>
              <a:spLocks/>
            </p:cNvSpPr>
            <p:nvPr/>
          </p:nvSpPr>
          <p:spPr bwMode="auto">
            <a:xfrm>
              <a:off x="5148" y="2845"/>
              <a:ext cx="2" cy="1"/>
            </a:xfrm>
            <a:custGeom>
              <a:avLst/>
              <a:gdLst>
                <a:gd name="T0" fmla="*/ 2 w 2"/>
                <a:gd name="T1" fmla="*/ 1 h 1"/>
                <a:gd name="T2" fmla="*/ 0 w 2"/>
                <a:gd name="T3" fmla="*/ 0 h 1"/>
                <a:gd name="T4" fmla="*/ 0 w 2"/>
                <a:gd name="T5" fmla="*/ 1 h 1"/>
                <a:gd name="T6" fmla="*/ 2 w 2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2" y="1"/>
                  </a:move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1" y="1"/>
                    <a:pt x="2" y="1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76" name="Freeform 8140"/>
            <p:cNvSpPr>
              <a:spLocks/>
            </p:cNvSpPr>
            <p:nvPr/>
          </p:nvSpPr>
          <p:spPr bwMode="auto">
            <a:xfrm>
              <a:off x="5133" y="2843"/>
              <a:ext cx="4" cy="4"/>
            </a:xfrm>
            <a:custGeom>
              <a:avLst/>
              <a:gdLst>
                <a:gd name="T0" fmla="*/ 1 w 3"/>
                <a:gd name="T1" fmla="*/ 4 h 4"/>
                <a:gd name="T2" fmla="*/ 3 w 3"/>
                <a:gd name="T3" fmla="*/ 2 h 4"/>
                <a:gd name="T4" fmla="*/ 2 w 3"/>
                <a:gd name="T5" fmla="*/ 0 h 4"/>
                <a:gd name="T6" fmla="*/ 0 w 3"/>
                <a:gd name="T7" fmla="*/ 2 h 4"/>
                <a:gd name="T8" fmla="*/ 0 w 3"/>
                <a:gd name="T9" fmla="*/ 3 h 4"/>
                <a:gd name="T10" fmla="*/ 1 w 3"/>
                <a:gd name="T11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4">
                  <a:moveTo>
                    <a:pt x="1" y="4"/>
                  </a:moveTo>
                  <a:cubicBezTo>
                    <a:pt x="2" y="3"/>
                    <a:pt x="3" y="2"/>
                    <a:pt x="3" y="2"/>
                  </a:cubicBezTo>
                  <a:cubicBezTo>
                    <a:pt x="3" y="1"/>
                    <a:pt x="2" y="1"/>
                    <a:pt x="2" y="0"/>
                  </a:cubicBezTo>
                  <a:cubicBezTo>
                    <a:pt x="2" y="1"/>
                    <a:pt x="1" y="1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1" y="3"/>
                    <a:pt x="1" y="3"/>
                    <a:pt x="1" y="4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77" name="Freeform 8141"/>
            <p:cNvSpPr>
              <a:spLocks/>
            </p:cNvSpPr>
            <p:nvPr/>
          </p:nvSpPr>
          <p:spPr bwMode="auto">
            <a:xfrm>
              <a:off x="5136" y="2846"/>
              <a:ext cx="2" cy="3"/>
            </a:xfrm>
            <a:custGeom>
              <a:avLst/>
              <a:gdLst>
                <a:gd name="T0" fmla="*/ 0 w 2"/>
                <a:gd name="T1" fmla="*/ 2 h 2"/>
                <a:gd name="T2" fmla="*/ 1 w 2"/>
                <a:gd name="T3" fmla="*/ 2 h 2"/>
                <a:gd name="T4" fmla="*/ 2 w 2"/>
                <a:gd name="T5" fmla="*/ 1 h 2"/>
                <a:gd name="T6" fmla="*/ 2 w 2"/>
                <a:gd name="T7" fmla="*/ 0 h 2"/>
                <a:gd name="T8" fmla="*/ 0 w 2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2" y="1"/>
                    <a:pt x="2" y="1"/>
                  </a:cubicBezTo>
                  <a:cubicBezTo>
                    <a:pt x="2" y="1"/>
                    <a:pt x="2" y="0"/>
                    <a:pt x="2" y="0"/>
                  </a:cubicBezTo>
                  <a:cubicBezTo>
                    <a:pt x="1" y="0"/>
                    <a:pt x="1" y="1"/>
                    <a:pt x="0" y="2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78" name="Freeform 8142"/>
            <p:cNvSpPr>
              <a:spLocks/>
            </p:cNvSpPr>
            <p:nvPr/>
          </p:nvSpPr>
          <p:spPr bwMode="auto">
            <a:xfrm>
              <a:off x="5137" y="2849"/>
              <a:ext cx="2" cy="1"/>
            </a:xfrm>
            <a:custGeom>
              <a:avLst/>
              <a:gdLst>
                <a:gd name="T0" fmla="*/ 2 w 2"/>
                <a:gd name="T1" fmla="*/ 0 h 1"/>
                <a:gd name="T2" fmla="*/ 0 w 2"/>
                <a:gd name="T3" fmla="*/ 0 h 1"/>
                <a:gd name="T4" fmla="*/ 1 w 2"/>
                <a:gd name="T5" fmla="*/ 1 h 1"/>
                <a:gd name="T6" fmla="*/ 2 w 2"/>
                <a:gd name="T7" fmla="*/ 0 h 1"/>
                <a:gd name="T8" fmla="*/ 2 w 2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1" y="0"/>
                    <a:pt x="1" y="0"/>
                    <a:pt x="0" y="0"/>
                  </a:cubicBezTo>
                  <a:cubicBezTo>
                    <a:pt x="0" y="1"/>
                    <a:pt x="1" y="1"/>
                    <a:pt x="1" y="1"/>
                  </a:cubicBezTo>
                  <a:cubicBezTo>
                    <a:pt x="1" y="1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79" name="Freeform 8143"/>
            <p:cNvSpPr>
              <a:spLocks/>
            </p:cNvSpPr>
            <p:nvPr/>
          </p:nvSpPr>
          <p:spPr bwMode="auto">
            <a:xfrm>
              <a:off x="5143" y="2843"/>
              <a:ext cx="5" cy="2"/>
            </a:xfrm>
            <a:custGeom>
              <a:avLst/>
              <a:gdLst>
                <a:gd name="T0" fmla="*/ 1 w 4"/>
                <a:gd name="T1" fmla="*/ 1 h 2"/>
                <a:gd name="T2" fmla="*/ 4 w 4"/>
                <a:gd name="T3" fmla="*/ 2 h 2"/>
                <a:gd name="T4" fmla="*/ 4 w 4"/>
                <a:gd name="T5" fmla="*/ 1 h 2"/>
                <a:gd name="T6" fmla="*/ 1 w 4"/>
                <a:gd name="T7" fmla="*/ 0 h 2"/>
                <a:gd name="T8" fmla="*/ 0 w 4"/>
                <a:gd name="T9" fmla="*/ 1 h 2"/>
                <a:gd name="T10" fmla="*/ 1 w 4"/>
                <a:gd name="T11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2">
                  <a:moveTo>
                    <a:pt x="1" y="1"/>
                  </a:moveTo>
                  <a:cubicBezTo>
                    <a:pt x="2" y="1"/>
                    <a:pt x="3" y="2"/>
                    <a:pt x="4" y="2"/>
                  </a:cubicBezTo>
                  <a:cubicBezTo>
                    <a:pt x="4" y="2"/>
                    <a:pt x="4" y="2"/>
                    <a:pt x="4" y="1"/>
                  </a:cubicBezTo>
                  <a:cubicBezTo>
                    <a:pt x="3" y="1"/>
                    <a:pt x="2" y="1"/>
                    <a:pt x="1" y="0"/>
                  </a:cubicBezTo>
                  <a:cubicBezTo>
                    <a:pt x="1" y="1"/>
                    <a:pt x="1" y="1"/>
                    <a:pt x="0" y="1"/>
                  </a:cubicBezTo>
                  <a:cubicBezTo>
                    <a:pt x="0" y="1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80" name="Freeform 8144"/>
            <p:cNvSpPr>
              <a:spLocks/>
            </p:cNvSpPr>
            <p:nvPr/>
          </p:nvSpPr>
          <p:spPr bwMode="auto">
            <a:xfrm>
              <a:off x="5148" y="2844"/>
              <a:ext cx="2" cy="2"/>
            </a:xfrm>
            <a:custGeom>
              <a:avLst/>
              <a:gdLst>
                <a:gd name="T0" fmla="*/ 2 w 2"/>
                <a:gd name="T1" fmla="*/ 2 h 2"/>
                <a:gd name="T2" fmla="*/ 2 w 2"/>
                <a:gd name="T3" fmla="*/ 2 h 2"/>
                <a:gd name="T4" fmla="*/ 2 w 2"/>
                <a:gd name="T5" fmla="*/ 2 h 2"/>
                <a:gd name="T6" fmla="*/ 0 w 2"/>
                <a:gd name="T7" fmla="*/ 0 h 2"/>
                <a:gd name="T8" fmla="*/ 0 w 2"/>
                <a:gd name="T9" fmla="*/ 1 h 2"/>
                <a:gd name="T10" fmla="*/ 2 w 2"/>
                <a:gd name="T11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1" y="1"/>
                    <a:pt x="0" y="1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1"/>
                    <a:pt x="2" y="2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81" name="Freeform 8145"/>
            <p:cNvSpPr>
              <a:spLocks/>
            </p:cNvSpPr>
            <p:nvPr/>
          </p:nvSpPr>
          <p:spPr bwMode="auto">
            <a:xfrm>
              <a:off x="5135" y="2845"/>
              <a:ext cx="3" cy="4"/>
            </a:xfrm>
            <a:custGeom>
              <a:avLst/>
              <a:gdLst>
                <a:gd name="T0" fmla="*/ 3 w 3"/>
                <a:gd name="T1" fmla="*/ 1 h 3"/>
                <a:gd name="T2" fmla="*/ 2 w 3"/>
                <a:gd name="T3" fmla="*/ 0 h 3"/>
                <a:gd name="T4" fmla="*/ 0 w 3"/>
                <a:gd name="T5" fmla="*/ 2 h 3"/>
                <a:gd name="T6" fmla="*/ 1 w 3"/>
                <a:gd name="T7" fmla="*/ 3 h 3"/>
                <a:gd name="T8" fmla="*/ 3 w 3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3" y="1"/>
                  </a:moveTo>
                  <a:cubicBezTo>
                    <a:pt x="3" y="1"/>
                    <a:pt x="2" y="0"/>
                    <a:pt x="2" y="0"/>
                  </a:cubicBezTo>
                  <a:cubicBezTo>
                    <a:pt x="2" y="0"/>
                    <a:pt x="1" y="1"/>
                    <a:pt x="0" y="2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2" y="2"/>
                    <a:pt x="2" y="1"/>
                    <a:pt x="3" y="1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82" name="Freeform 8146"/>
            <p:cNvSpPr>
              <a:spLocks/>
            </p:cNvSpPr>
            <p:nvPr/>
          </p:nvSpPr>
          <p:spPr bwMode="auto">
            <a:xfrm>
              <a:off x="5144" y="2846"/>
              <a:ext cx="4" cy="1"/>
            </a:xfrm>
            <a:custGeom>
              <a:avLst/>
              <a:gdLst>
                <a:gd name="T0" fmla="*/ 3 w 3"/>
                <a:gd name="T1" fmla="*/ 0 h 1"/>
                <a:gd name="T2" fmla="*/ 0 w 3"/>
                <a:gd name="T3" fmla="*/ 0 h 1"/>
                <a:gd name="T4" fmla="*/ 0 w 3"/>
                <a:gd name="T5" fmla="*/ 1 h 1"/>
                <a:gd name="T6" fmla="*/ 3 w 3"/>
                <a:gd name="T7" fmla="*/ 1 h 1"/>
                <a:gd name="T8" fmla="*/ 3 w 3"/>
                <a:gd name="T9" fmla="*/ 1 h 1"/>
                <a:gd name="T10" fmla="*/ 3 w 3"/>
                <a:gd name="T11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1">
                  <a:moveTo>
                    <a:pt x="3" y="0"/>
                  </a:moveTo>
                  <a:cubicBezTo>
                    <a:pt x="2" y="0"/>
                    <a:pt x="1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2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83" name="Freeform 8147"/>
            <p:cNvSpPr>
              <a:spLocks/>
            </p:cNvSpPr>
            <p:nvPr/>
          </p:nvSpPr>
          <p:spPr bwMode="auto">
            <a:xfrm>
              <a:off x="5148" y="2846"/>
              <a:ext cx="2" cy="1"/>
            </a:xfrm>
            <a:custGeom>
              <a:avLst/>
              <a:gdLst>
                <a:gd name="T0" fmla="*/ 0 w 2"/>
                <a:gd name="T1" fmla="*/ 1 h 1"/>
                <a:gd name="T2" fmla="*/ 2 w 2"/>
                <a:gd name="T3" fmla="*/ 0 h 1"/>
                <a:gd name="T4" fmla="*/ 2 w 2"/>
                <a:gd name="T5" fmla="*/ 0 h 1"/>
                <a:gd name="T6" fmla="*/ 2 w 2"/>
                <a:gd name="T7" fmla="*/ 0 h 1"/>
                <a:gd name="T8" fmla="*/ 0 w 2"/>
                <a:gd name="T9" fmla="*/ 0 h 1"/>
                <a:gd name="T10" fmla="*/ 0 w 2"/>
                <a:gd name="T11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cubicBezTo>
                    <a:pt x="1" y="0"/>
                    <a:pt x="1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84" name="Freeform 8148"/>
            <p:cNvSpPr>
              <a:spLocks/>
            </p:cNvSpPr>
            <p:nvPr/>
          </p:nvSpPr>
          <p:spPr bwMode="auto">
            <a:xfrm>
              <a:off x="5137" y="2847"/>
              <a:ext cx="2" cy="2"/>
            </a:xfrm>
            <a:custGeom>
              <a:avLst/>
              <a:gdLst>
                <a:gd name="T0" fmla="*/ 0 w 2"/>
                <a:gd name="T1" fmla="*/ 1 h 1"/>
                <a:gd name="T2" fmla="*/ 0 w 2"/>
                <a:gd name="T3" fmla="*/ 1 h 1"/>
                <a:gd name="T4" fmla="*/ 2 w 2"/>
                <a:gd name="T5" fmla="*/ 1 h 1"/>
                <a:gd name="T6" fmla="*/ 1 w 2"/>
                <a:gd name="T7" fmla="*/ 0 h 1"/>
                <a:gd name="T8" fmla="*/ 0 w 2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2" y="1"/>
                  </a:cubicBezTo>
                  <a:cubicBezTo>
                    <a:pt x="2" y="1"/>
                    <a:pt x="2" y="0"/>
                    <a:pt x="1" y="0"/>
                  </a:cubicBezTo>
                  <a:cubicBezTo>
                    <a:pt x="1" y="0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85" name="Freeform 8149"/>
            <p:cNvSpPr>
              <a:spLocks/>
            </p:cNvSpPr>
            <p:nvPr/>
          </p:nvSpPr>
          <p:spPr bwMode="auto">
            <a:xfrm>
              <a:off x="5150" y="2846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86" name="Freeform 8150"/>
            <p:cNvSpPr>
              <a:spLocks/>
            </p:cNvSpPr>
            <p:nvPr/>
          </p:nvSpPr>
          <p:spPr bwMode="auto">
            <a:xfrm>
              <a:off x="5163" y="2854"/>
              <a:ext cx="0" cy="1"/>
            </a:xfrm>
            <a:custGeom>
              <a:avLst/>
              <a:gdLst>
                <a:gd name="T0" fmla="*/ 1 h 1"/>
                <a:gd name="T1" fmla="*/ 0 h 1"/>
                <a:gd name="T2" fmla="*/ 0 h 1"/>
                <a:gd name="T3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6BC1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87" name="Freeform 8151"/>
            <p:cNvSpPr>
              <a:spLocks/>
            </p:cNvSpPr>
            <p:nvPr/>
          </p:nvSpPr>
          <p:spPr bwMode="auto">
            <a:xfrm>
              <a:off x="5127" y="2833"/>
              <a:ext cx="2" cy="1"/>
            </a:xfrm>
            <a:custGeom>
              <a:avLst/>
              <a:gdLst>
                <a:gd name="T0" fmla="*/ 1 w 1"/>
                <a:gd name="T1" fmla="*/ 1 h 1"/>
                <a:gd name="T2" fmla="*/ 0 w 1"/>
                <a:gd name="T3" fmla="*/ 0 h 1"/>
                <a:gd name="T4" fmla="*/ 0 w 1"/>
                <a:gd name="T5" fmla="*/ 0 h 1"/>
                <a:gd name="T6" fmla="*/ 1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1" y="0"/>
                    <a:pt x="1" y="1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88" name="Freeform 8152"/>
            <p:cNvSpPr>
              <a:spLocks/>
            </p:cNvSpPr>
            <p:nvPr/>
          </p:nvSpPr>
          <p:spPr bwMode="auto">
            <a:xfrm>
              <a:off x="5127" y="2847"/>
              <a:ext cx="2" cy="3"/>
            </a:xfrm>
            <a:custGeom>
              <a:avLst/>
              <a:gdLst>
                <a:gd name="T0" fmla="*/ 0 w 1"/>
                <a:gd name="T1" fmla="*/ 0 h 2"/>
                <a:gd name="T2" fmla="*/ 1 w 1"/>
                <a:gd name="T3" fmla="*/ 2 h 2"/>
                <a:gd name="T4" fmla="*/ 1 w 1"/>
                <a:gd name="T5" fmla="*/ 2 h 2"/>
                <a:gd name="T6" fmla="*/ 0 w 1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2">
                  <a:moveTo>
                    <a:pt x="0" y="0"/>
                  </a:moveTo>
                  <a:cubicBezTo>
                    <a:pt x="1" y="1"/>
                    <a:pt x="1" y="1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89" name="Freeform 8153"/>
            <p:cNvSpPr>
              <a:spLocks/>
            </p:cNvSpPr>
            <p:nvPr/>
          </p:nvSpPr>
          <p:spPr bwMode="auto">
            <a:xfrm>
              <a:off x="5129" y="2834"/>
              <a:ext cx="7" cy="6"/>
            </a:xfrm>
            <a:custGeom>
              <a:avLst/>
              <a:gdLst>
                <a:gd name="T0" fmla="*/ 6 w 6"/>
                <a:gd name="T1" fmla="*/ 5 h 5"/>
                <a:gd name="T2" fmla="*/ 6 w 6"/>
                <a:gd name="T3" fmla="*/ 3 h 5"/>
                <a:gd name="T4" fmla="*/ 0 w 6"/>
                <a:gd name="T5" fmla="*/ 0 h 5"/>
                <a:gd name="T6" fmla="*/ 6 w 6"/>
                <a:gd name="T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5">
                  <a:moveTo>
                    <a:pt x="6" y="5"/>
                  </a:moveTo>
                  <a:cubicBezTo>
                    <a:pt x="6" y="5"/>
                    <a:pt x="6" y="4"/>
                    <a:pt x="6" y="3"/>
                  </a:cubicBezTo>
                  <a:cubicBezTo>
                    <a:pt x="4" y="1"/>
                    <a:pt x="2" y="0"/>
                    <a:pt x="0" y="0"/>
                  </a:cubicBezTo>
                  <a:cubicBezTo>
                    <a:pt x="2" y="1"/>
                    <a:pt x="4" y="3"/>
                    <a:pt x="6" y="5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90" name="Freeform 8154"/>
            <p:cNvSpPr>
              <a:spLocks/>
            </p:cNvSpPr>
            <p:nvPr/>
          </p:nvSpPr>
          <p:spPr bwMode="auto">
            <a:xfrm>
              <a:off x="5159" y="2846"/>
              <a:ext cx="1" cy="1"/>
            </a:xfrm>
            <a:custGeom>
              <a:avLst/>
              <a:gdLst>
                <a:gd name="T0" fmla="*/ 1 w 1"/>
                <a:gd name="T1" fmla="*/ 1 h 1"/>
                <a:gd name="T2" fmla="*/ 1 w 1"/>
                <a:gd name="T3" fmla="*/ 1 h 1"/>
                <a:gd name="T4" fmla="*/ 1 w 1"/>
                <a:gd name="T5" fmla="*/ 0 h 1"/>
                <a:gd name="T6" fmla="*/ 0 w 1"/>
                <a:gd name="T7" fmla="*/ 0 h 1"/>
                <a:gd name="T8" fmla="*/ 1 w 1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1" y="0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91" name="Freeform 8155"/>
            <p:cNvSpPr>
              <a:spLocks/>
            </p:cNvSpPr>
            <p:nvPr/>
          </p:nvSpPr>
          <p:spPr bwMode="auto">
            <a:xfrm>
              <a:off x="5143" y="2855"/>
              <a:ext cx="0" cy="3"/>
            </a:xfrm>
            <a:custGeom>
              <a:avLst/>
              <a:gdLst>
                <a:gd name="T0" fmla="*/ 0 h 3"/>
                <a:gd name="T1" fmla="*/ 2 h 3"/>
                <a:gd name="T2" fmla="*/ 3 h 3"/>
                <a:gd name="T3" fmla="*/ 0 h 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3">
                  <a:moveTo>
                    <a:pt x="0" y="0"/>
                  </a:moveTo>
                  <a:cubicBezTo>
                    <a:pt x="0" y="1"/>
                    <a:pt x="0" y="1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2"/>
                    <a:pt x="0" y="0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92" name="Freeform 8156"/>
            <p:cNvSpPr>
              <a:spLocks/>
            </p:cNvSpPr>
            <p:nvPr/>
          </p:nvSpPr>
          <p:spPr bwMode="auto">
            <a:xfrm>
              <a:off x="5165" y="2850"/>
              <a:ext cx="1" cy="1"/>
            </a:xfrm>
            <a:custGeom>
              <a:avLst/>
              <a:gdLst>
                <a:gd name="T0" fmla="*/ 1 w 1"/>
                <a:gd name="T1" fmla="*/ 1 h 1"/>
                <a:gd name="T2" fmla="*/ 1 w 1"/>
                <a:gd name="T3" fmla="*/ 1 h 1"/>
                <a:gd name="T4" fmla="*/ 0 w 1"/>
                <a:gd name="T5" fmla="*/ 0 h 1"/>
                <a:gd name="T6" fmla="*/ 0 w 1"/>
                <a:gd name="T7" fmla="*/ 0 h 1"/>
                <a:gd name="T8" fmla="*/ 1 w 1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1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93" name="Freeform 8157"/>
            <p:cNvSpPr>
              <a:spLocks/>
            </p:cNvSpPr>
            <p:nvPr/>
          </p:nvSpPr>
          <p:spPr bwMode="auto">
            <a:xfrm>
              <a:off x="5131" y="2845"/>
              <a:ext cx="2" cy="1"/>
            </a:xfrm>
            <a:custGeom>
              <a:avLst/>
              <a:gdLst>
                <a:gd name="T0" fmla="*/ 2 w 2"/>
                <a:gd name="T1" fmla="*/ 1 h 1"/>
                <a:gd name="T2" fmla="*/ 2 w 2"/>
                <a:gd name="T3" fmla="*/ 1 h 1"/>
                <a:gd name="T4" fmla="*/ 2 w 2"/>
                <a:gd name="T5" fmla="*/ 1 h 1"/>
                <a:gd name="T6" fmla="*/ 0 w 2"/>
                <a:gd name="T7" fmla="*/ 0 h 1"/>
                <a:gd name="T8" fmla="*/ 2 w 2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1">
                  <a:moveTo>
                    <a:pt x="2" y="1"/>
                  </a:move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1" y="0"/>
                    <a:pt x="2" y="1"/>
                    <a:pt x="2" y="1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94" name="Freeform 8158"/>
            <p:cNvSpPr>
              <a:spLocks/>
            </p:cNvSpPr>
            <p:nvPr/>
          </p:nvSpPr>
          <p:spPr bwMode="auto">
            <a:xfrm>
              <a:off x="5167" y="2852"/>
              <a:ext cx="0" cy="2"/>
            </a:xfrm>
            <a:custGeom>
              <a:avLst/>
              <a:gdLst>
                <a:gd name="T0" fmla="*/ 1 h 1"/>
                <a:gd name="T1" fmla="*/ 1 h 1"/>
                <a:gd name="T2" fmla="*/ 0 h 1"/>
                <a:gd name="T3" fmla="*/ 0 h 1"/>
                <a:gd name="T4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95" name="Freeform 8159"/>
            <p:cNvSpPr>
              <a:spLocks/>
            </p:cNvSpPr>
            <p:nvPr/>
          </p:nvSpPr>
          <p:spPr bwMode="auto">
            <a:xfrm>
              <a:off x="5156" y="2846"/>
              <a:ext cx="4" cy="1"/>
            </a:xfrm>
            <a:custGeom>
              <a:avLst/>
              <a:gdLst>
                <a:gd name="T0" fmla="*/ 2 w 3"/>
                <a:gd name="T1" fmla="*/ 1 h 1"/>
                <a:gd name="T2" fmla="*/ 3 w 3"/>
                <a:gd name="T3" fmla="*/ 1 h 1"/>
                <a:gd name="T4" fmla="*/ 2 w 3"/>
                <a:gd name="T5" fmla="*/ 0 h 1"/>
                <a:gd name="T6" fmla="*/ 0 w 3"/>
                <a:gd name="T7" fmla="*/ 0 h 1"/>
                <a:gd name="T8" fmla="*/ 0 w 3"/>
                <a:gd name="T9" fmla="*/ 1 h 1"/>
                <a:gd name="T10" fmla="*/ 2 w 3"/>
                <a:gd name="T11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1">
                  <a:moveTo>
                    <a:pt x="2" y="1"/>
                  </a:moveTo>
                  <a:cubicBezTo>
                    <a:pt x="2" y="1"/>
                    <a:pt x="2" y="1"/>
                    <a:pt x="3" y="1"/>
                  </a:cubicBezTo>
                  <a:cubicBezTo>
                    <a:pt x="3" y="1"/>
                    <a:pt x="3" y="0"/>
                    <a:pt x="2" y="0"/>
                  </a:cubicBezTo>
                  <a:cubicBezTo>
                    <a:pt x="2" y="0"/>
                    <a:pt x="1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2" y="1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96" name="Freeform 8160"/>
            <p:cNvSpPr>
              <a:spLocks/>
            </p:cNvSpPr>
            <p:nvPr/>
          </p:nvSpPr>
          <p:spPr bwMode="auto">
            <a:xfrm>
              <a:off x="5150" y="2857"/>
              <a:ext cx="3" cy="4"/>
            </a:xfrm>
            <a:custGeom>
              <a:avLst/>
              <a:gdLst>
                <a:gd name="T0" fmla="*/ 0 w 2"/>
                <a:gd name="T1" fmla="*/ 1 h 3"/>
                <a:gd name="T2" fmla="*/ 1 w 2"/>
                <a:gd name="T3" fmla="*/ 3 h 3"/>
                <a:gd name="T4" fmla="*/ 1 w 2"/>
                <a:gd name="T5" fmla="*/ 2 h 3"/>
                <a:gd name="T6" fmla="*/ 2 w 2"/>
                <a:gd name="T7" fmla="*/ 0 h 3"/>
                <a:gd name="T8" fmla="*/ 0 w 2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3">
                  <a:moveTo>
                    <a:pt x="0" y="1"/>
                  </a:moveTo>
                  <a:cubicBezTo>
                    <a:pt x="0" y="2"/>
                    <a:pt x="0" y="3"/>
                    <a:pt x="1" y="3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1" y="1"/>
                    <a:pt x="2" y="1"/>
                    <a:pt x="2" y="0"/>
                  </a:cubicBezTo>
                  <a:cubicBezTo>
                    <a:pt x="1" y="1"/>
                    <a:pt x="1" y="1"/>
                    <a:pt x="0" y="1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97" name="Freeform 8161"/>
            <p:cNvSpPr>
              <a:spLocks/>
            </p:cNvSpPr>
            <p:nvPr/>
          </p:nvSpPr>
          <p:spPr bwMode="auto">
            <a:xfrm>
              <a:off x="5150" y="2849"/>
              <a:ext cx="6" cy="6"/>
            </a:xfrm>
            <a:custGeom>
              <a:avLst/>
              <a:gdLst>
                <a:gd name="T0" fmla="*/ 5 w 5"/>
                <a:gd name="T1" fmla="*/ 0 h 5"/>
                <a:gd name="T2" fmla="*/ 3 w 5"/>
                <a:gd name="T3" fmla="*/ 0 h 5"/>
                <a:gd name="T4" fmla="*/ 0 w 5"/>
                <a:gd name="T5" fmla="*/ 3 h 5"/>
                <a:gd name="T6" fmla="*/ 0 w 5"/>
                <a:gd name="T7" fmla="*/ 5 h 5"/>
                <a:gd name="T8" fmla="*/ 3 w 5"/>
                <a:gd name="T9" fmla="*/ 4 h 5"/>
                <a:gd name="T10" fmla="*/ 5 w 5"/>
                <a:gd name="T11" fmla="*/ 0 h 5"/>
                <a:gd name="T12" fmla="*/ 5 w 5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5">
                  <a:moveTo>
                    <a:pt x="5" y="0"/>
                  </a:moveTo>
                  <a:cubicBezTo>
                    <a:pt x="4" y="0"/>
                    <a:pt x="4" y="0"/>
                    <a:pt x="3" y="0"/>
                  </a:cubicBezTo>
                  <a:cubicBezTo>
                    <a:pt x="2" y="1"/>
                    <a:pt x="1" y="2"/>
                    <a:pt x="0" y="3"/>
                  </a:cubicBezTo>
                  <a:cubicBezTo>
                    <a:pt x="0" y="3"/>
                    <a:pt x="0" y="4"/>
                    <a:pt x="0" y="5"/>
                  </a:cubicBezTo>
                  <a:cubicBezTo>
                    <a:pt x="1" y="4"/>
                    <a:pt x="2" y="4"/>
                    <a:pt x="3" y="4"/>
                  </a:cubicBezTo>
                  <a:cubicBezTo>
                    <a:pt x="3" y="2"/>
                    <a:pt x="4" y="1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98" name="Freeform 8162"/>
            <p:cNvSpPr>
              <a:spLocks/>
            </p:cNvSpPr>
            <p:nvPr/>
          </p:nvSpPr>
          <p:spPr bwMode="auto">
            <a:xfrm>
              <a:off x="5164" y="2849"/>
              <a:ext cx="1" cy="1"/>
            </a:xfrm>
            <a:custGeom>
              <a:avLst/>
              <a:gdLst>
                <a:gd name="T0" fmla="*/ 1 w 1"/>
                <a:gd name="T1" fmla="*/ 1 h 1"/>
                <a:gd name="T2" fmla="*/ 1 w 1"/>
                <a:gd name="T3" fmla="*/ 1 h 1"/>
                <a:gd name="T4" fmla="*/ 0 w 1"/>
                <a:gd name="T5" fmla="*/ 0 h 1"/>
                <a:gd name="T6" fmla="*/ 1 w 1"/>
                <a:gd name="T7" fmla="*/ 1 h 1"/>
                <a:gd name="T8" fmla="*/ 1 w 1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1" y="0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99" name="Freeform 8163"/>
            <p:cNvSpPr>
              <a:spLocks/>
            </p:cNvSpPr>
            <p:nvPr/>
          </p:nvSpPr>
          <p:spPr bwMode="auto">
            <a:xfrm>
              <a:off x="5115" y="2860"/>
              <a:ext cx="7" cy="4"/>
            </a:xfrm>
            <a:custGeom>
              <a:avLst/>
              <a:gdLst>
                <a:gd name="T0" fmla="*/ 0 w 6"/>
                <a:gd name="T1" fmla="*/ 4 h 4"/>
                <a:gd name="T2" fmla="*/ 6 w 6"/>
                <a:gd name="T3" fmla="*/ 1 h 4"/>
                <a:gd name="T4" fmla="*/ 5 w 6"/>
                <a:gd name="T5" fmla="*/ 0 h 4"/>
                <a:gd name="T6" fmla="*/ 0 w 6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0" y="4"/>
                  </a:moveTo>
                  <a:cubicBezTo>
                    <a:pt x="2" y="2"/>
                    <a:pt x="4" y="1"/>
                    <a:pt x="6" y="1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2" y="1"/>
                    <a:pt x="0" y="4"/>
                    <a:pt x="0" y="4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00" name="Freeform 8164"/>
            <p:cNvSpPr>
              <a:spLocks/>
            </p:cNvSpPr>
            <p:nvPr/>
          </p:nvSpPr>
          <p:spPr bwMode="auto">
            <a:xfrm>
              <a:off x="5125" y="2866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01" name="Oval 8165"/>
            <p:cNvSpPr>
              <a:spLocks noChangeArrowheads="1"/>
            </p:cNvSpPr>
            <p:nvPr/>
          </p:nvSpPr>
          <p:spPr bwMode="auto">
            <a:xfrm>
              <a:off x="5133" y="2846"/>
              <a:ext cx="1" cy="1"/>
            </a:xfrm>
            <a:prstGeom prst="ellipse">
              <a:avLst/>
            </a:pr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02" name="Freeform 8166"/>
            <p:cNvSpPr>
              <a:spLocks/>
            </p:cNvSpPr>
            <p:nvPr/>
          </p:nvSpPr>
          <p:spPr bwMode="auto">
            <a:xfrm>
              <a:off x="5125" y="2845"/>
              <a:ext cx="4" cy="11"/>
            </a:xfrm>
            <a:custGeom>
              <a:avLst/>
              <a:gdLst>
                <a:gd name="T0" fmla="*/ 2 w 3"/>
                <a:gd name="T1" fmla="*/ 2 h 9"/>
                <a:gd name="T2" fmla="*/ 2 w 3"/>
                <a:gd name="T3" fmla="*/ 0 h 9"/>
                <a:gd name="T4" fmla="*/ 0 w 3"/>
                <a:gd name="T5" fmla="*/ 3 h 9"/>
                <a:gd name="T6" fmla="*/ 1 w 3"/>
                <a:gd name="T7" fmla="*/ 9 h 9"/>
                <a:gd name="T8" fmla="*/ 3 w 3"/>
                <a:gd name="T9" fmla="*/ 4 h 9"/>
                <a:gd name="T10" fmla="*/ 2 w 3"/>
                <a:gd name="T11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9">
                  <a:moveTo>
                    <a:pt x="2" y="2"/>
                  </a:moveTo>
                  <a:cubicBezTo>
                    <a:pt x="2" y="1"/>
                    <a:pt x="2" y="1"/>
                    <a:pt x="2" y="0"/>
                  </a:cubicBezTo>
                  <a:cubicBezTo>
                    <a:pt x="1" y="1"/>
                    <a:pt x="1" y="2"/>
                    <a:pt x="0" y="3"/>
                  </a:cubicBezTo>
                  <a:cubicBezTo>
                    <a:pt x="1" y="6"/>
                    <a:pt x="1" y="8"/>
                    <a:pt x="1" y="9"/>
                  </a:cubicBezTo>
                  <a:cubicBezTo>
                    <a:pt x="2" y="7"/>
                    <a:pt x="2" y="5"/>
                    <a:pt x="3" y="4"/>
                  </a:cubicBezTo>
                  <a:cubicBezTo>
                    <a:pt x="3" y="3"/>
                    <a:pt x="3" y="3"/>
                    <a:pt x="2" y="2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03" name="Freeform 8167"/>
            <p:cNvSpPr>
              <a:spLocks/>
            </p:cNvSpPr>
            <p:nvPr/>
          </p:nvSpPr>
          <p:spPr bwMode="auto">
            <a:xfrm>
              <a:off x="5126" y="2833"/>
              <a:ext cx="1" cy="0"/>
            </a:xfrm>
            <a:custGeom>
              <a:avLst/>
              <a:gdLst>
                <a:gd name="T0" fmla="*/ 1 w 1"/>
                <a:gd name="T1" fmla="*/ 0 w 1"/>
                <a:gd name="T2" fmla="*/ 0 w 1"/>
                <a:gd name="T3" fmla="*/ 1 w 1"/>
                <a:gd name="T4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04" name="Freeform 8168"/>
            <p:cNvSpPr>
              <a:spLocks/>
            </p:cNvSpPr>
            <p:nvPr/>
          </p:nvSpPr>
          <p:spPr bwMode="auto">
            <a:xfrm>
              <a:off x="5126" y="2858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05" name="Freeform 8169"/>
            <p:cNvSpPr>
              <a:spLocks/>
            </p:cNvSpPr>
            <p:nvPr/>
          </p:nvSpPr>
          <p:spPr bwMode="auto">
            <a:xfrm>
              <a:off x="5125" y="2849"/>
              <a:ext cx="1" cy="9"/>
            </a:xfrm>
            <a:custGeom>
              <a:avLst/>
              <a:gdLst>
                <a:gd name="T0" fmla="*/ 1 w 1"/>
                <a:gd name="T1" fmla="*/ 8 h 8"/>
                <a:gd name="T2" fmla="*/ 1 w 1"/>
                <a:gd name="T3" fmla="*/ 6 h 8"/>
                <a:gd name="T4" fmla="*/ 0 w 1"/>
                <a:gd name="T5" fmla="*/ 0 h 8"/>
                <a:gd name="T6" fmla="*/ 0 w 1"/>
                <a:gd name="T7" fmla="*/ 7 h 8"/>
                <a:gd name="T8" fmla="*/ 0 w 1"/>
                <a:gd name="T9" fmla="*/ 8 h 8"/>
                <a:gd name="T10" fmla="*/ 1 w 1"/>
                <a:gd name="T11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" h="8">
                  <a:moveTo>
                    <a:pt x="1" y="8"/>
                  </a:moveTo>
                  <a:cubicBezTo>
                    <a:pt x="1" y="7"/>
                    <a:pt x="1" y="7"/>
                    <a:pt x="1" y="6"/>
                  </a:cubicBezTo>
                  <a:cubicBezTo>
                    <a:pt x="1" y="5"/>
                    <a:pt x="1" y="3"/>
                    <a:pt x="0" y="0"/>
                  </a:cubicBezTo>
                  <a:cubicBezTo>
                    <a:pt x="0" y="2"/>
                    <a:pt x="0" y="5"/>
                    <a:pt x="0" y="7"/>
                  </a:cubicBezTo>
                  <a:cubicBezTo>
                    <a:pt x="0" y="7"/>
                    <a:pt x="0" y="7"/>
                    <a:pt x="0" y="8"/>
                  </a:cubicBezTo>
                  <a:cubicBezTo>
                    <a:pt x="1" y="8"/>
                    <a:pt x="1" y="8"/>
                    <a:pt x="1" y="8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06" name="Freeform 8170"/>
            <p:cNvSpPr>
              <a:spLocks/>
            </p:cNvSpPr>
            <p:nvPr/>
          </p:nvSpPr>
          <p:spPr bwMode="auto">
            <a:xfrm>
              <a:off x="5126" y="2857"/>
              <a:ext cx="5" cy="3"/>
            </a:xfrm>
            <a:custGeom>
              <a:avLst/>
              <a:gdLst>
                <a:gd name="T0" fmla="*/ 0 w 4"/>
                <a:gd name="T1" fmla="*/ 1 h 2"/>
                <a:gd name="T2" fmla="*/ 0 w 4"/>
                <a:gd name="T3" fmla="*/ 1 h 2"/>
                <a:gd name="T4" fmla="*/ 0 w 4"/>
                <a:gd name="T5" fmla="*/ 1 h 2"/>
                <a:gd name="T6" fmla="*/ 0 w 4"/>
                <a:gd name="T7" fmla="*/ 1 h 2"/>
                <a:gd name="T8" fmla="*/ 0 w 4"/>
                <a:gd name="T9" fmla="*/ 1 h 2"/>
                <a:gd name="T10" fmla="*/ 1 w 4"/>
                <a:gd name="T11" fmla="*/ 2 h 2"/>
                <a:gd name="T12" fmla="*/ 4 w 4"/>
                <a:gd name="T13" fmla="*/ 2 h 2"/>
                <a:gd name="T14" fmla="*/ 4 w 4"/>
                <a:gd name="T15" fmla="*/ 1 h 2"/>
                <a:gd name="T16" fmla="*/ 0 w 4"/>
                <a:gd name="T17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" h="2"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2"/>
                    <a:pt x="1" y="2"/>
                  </a:cubicBezTo>
                  <a:cubicBezTo>
                    <a:pt x="2" y="2"/>
                    <a:pt x="3" y="2"/>
                    <a:pt x="4" y="2"/>
                  </a:cubicBezTo>
                  <a:cubicBezTo>
                    <a:pt x="4" y="2"/>
                    <a:pt x="4" y="1"/>
                    <a:pt x="4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07" name="Freeform 8171"/>
            <p:cNvSpPr>
              <a:spLocks/>
            </p:cNvSpPr>
            <p:nvPr/>
          </p:nvSpPr>
          <p:spPr bwMode="auto">
            <a:xfrm>
              <a:off x="5126" y="2860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08" name="Freeform 8172"/>
            <p:cNvSpPr>
              <a:spLocks/>
            </p:cNvSpPr>
            <p:nvPr/>
          </p:nvSpPr>
          <p:spPr bwMode="auto">
            <a:xfrm>
              <a:off x="5125" y="2858"/>
              <a:ext cx="1" cy="0"/>
            </a:xfrm>
            <a:custGeom>
              <a:avLst/>
              <a:gdLst>
                <a:gd name="T0" fmla="*/ 0 w 1"/>
                <a:gd name="T1" fmla="*/ 1 w 1"/>
                <a:gd name="T2" fmla="*/ 1 w 1"/>
                <a:gd name="T3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09" name="Freeform 8173"/>
            <p:cNvSpPr>
              <a:spLocks/>
            </p:cNvSpPr>
            <p:nvPr/>
          </p:nvSpPr>
          <p:spPr bwMode="auto">
            <a:xfrm>
              <a:off x="5125" y="2860"/>
              <a:ext cx="1" cy="6"/>
            </a:xfrm>
            <a:custGeom>
              <a:avLst/>
              <a:gdLst>
                <a:gd name="T0" fmla="*/ 0 w 1"/>
                <a:gd name="T1" fmla="*/ 5 h 5"/>
                <a:gd name="T2" fmla="*/ 0 w 1"/>
                <a:gd name="T3" fmla="*/ 5 h 5"/>
                <a:gd name="T4" fmla="*/ 1 w 1"/>
                <a:gd name="T5" fmla="*/ 0 h 5"/>
                <a:gd name="T6" fmla="*/ 0 w 1"/>
                <a:gd name="T7" fmla="*/ 0 h 5"/>
                <a:gd name="T8" fmla="*/ 0 w 1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5">
                  <a:moveTo>
                    <a:pt x="0" y="5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0" y="3"/>
                    <a:pt x="0" y="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0" y="4"/>
                    <a:pt x="0" y="5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10" name="Freeform 8174"/>
            <p:cNvSpPr>
              <a:spLocks/>
            </p:cNvSpPr>
            <p:nvPr/>
          </p:nvSpPr>
          <p:spPr bwMode="auto">
            <a:xfrm>
              <a:off x="5121" y="2858"/>
              <a:ext cx="4" cy="3"/>
            </a:xfrm>
            <a:custGeom>
              <a:avLst/>
              <a:gdLst>
                <a:gd name="T0" fmla="*/ 3 w 3"/>
                <a:gd name="T1" fmla="*/ 0 h 2"/>
                <a:gd name="T2" fmla="*/ 2 w 3"/>
                <a:gd name="T3" fmla="*/ 0 h 2"/>
                <a:gd name="T4" fmla="*/ 0 w 3"/>
                <a:gd name="T5" fmla="*/ 1 h 2"/>
                <a:gd name="T6" fmla="*/ 1 w 3"/>
                <a:gd name="T7" fmla="*/ 2 h 2"/>
                <a:gd name="T8" fmla="*/ 3 w 3"/>
                <a:gd name="T9" fmla="*/ 1 h 2"/>
                <a:gd name="T10" fmla="*/ 3 w 3"/>
                <a:gd name="T11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2">
                  <a:moveTo>
                    <a:pt x="3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1" y="0"/>
                    <a:pt x="0" y="1"/>
                  </a:cubicBezTo>
                  <a:cubicBezTo>
                    <a:pt x="1" y="1"/>
                    <a:pt x="1" y="1"/>
                    <a:pt x="1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3" y="1"/>
                    <a:pt x="3" y="1"/>
                    <a:pt x="3" y="0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11" name="Freeform 8175"/>
            <p:cNvSpPr>
              <a:spLocks/>
            </p:cNvSpPr>
            <p:nvPr/>
          </p:nvSpPr>
          <p:spPr bwMode="auto">
            <a:xfrm>
              <a:off x="5125" y="2858"/>
              <a:ext cx="1" cy="2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1 h 1"/>
                <a:gd name="T4" fmla="*/ 1 w 1"/>
                <a:gd name="T5" fmla="*/ 1 h 1"/>
                <a:gd name="T6" fmla="*/ 1 w 1"/>
                <a:gd name="T7" fmla="*/ 1 h 1"/>
                <a:gd name="T8" fmla="*/ 0 w 1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12" name="Oval 8176"/>
            <p:cNvSpPr>
              <a:spLocks noChangeArrowheads="1"/>
            </p:cNvSpPr>
            <p:nvPr/>
          </p:nvSpPr>
          <p:spPr bwMode="auto">
            <a:xfrm>
              <a:off x="5167" y="2854"/>
              <a:ext cx="1" cy="1"/>
            </a:xfrm>
            <a:prstGeom prst="ellipse">
              <a:avLst/>
            </a:pr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13" name="Freeform 8177"/>
            <p:cNvSpPr>
              <a:spLocks/>
            </p:cNvSpPr>
            <p:nvPr/>
          </p:nvSpPr>
          <p:spPr bwMode="auto">
            <a:xfrm>
              <a:off x="5154" y="2847"/>
              <a:ext cx="2" cy="2"/>
            </a:xfrm>
            <a:custGeom>
              <a:avLst/>
              <a:gdLst>
                <a:gd name="T0" fmla="*/ 1 w 2"/>
                <a:gd name="T1" fmla="*/ 0 h 1"/>
                <a:gd name="T2" fmla="*/ 0 w 2"/>
                <a:gd name="T3" fmla="*/ 1 h 1"/>
                <a:gd name="T4" fmla="*/ 2 w 2"/>
                <a:gd name="T5" fmla="*/ 1 h 1"/>
                <a:gd name="T6" fmla="*/ 1 w 2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1" y="0"/>
                  </a:moveTo>
                  <a:cubicBezTo>
                    <a:pt x="1" y="0"/>
                    <a:pt x="0" y="0"/>
                    <a:pt x="0" y="1"/>
                  </a:cubicBezTo>
                  <a:cubicBezTo>
                    <a:pt x="1" y="1"/>
                    <a:pt x="1" y="1"/>
                    <a:pt x="2" y="1"/>
                  </a:cubicBezTo>
                  <a:cubicBezTo>
                    <a:pt x="2" y="1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14" name="Freeform 8178"/>
            <p:cNvSpPr>
              <a:spLocks/>
            </p:cNvSpPr>
            <p:nvPr/>
          </p:nvSpPr>
          <p:spPr bwMode="auto">
            <a:xfrm>
              <a:off x="5156" y="2847"/>
              <a:ext cx="3" cy="0"/>
            </a:xfrm>
            <a:custGeom>
              <a:avLst/>
              <a:gdLst>
                <a:gd name="T0" fmla="*/ 0 w 2"/>
                <a:gd name="T1" fmla="*/ 1 w 2"/>
                <a:gd name="T2" fmla="*/ 2 w 2"/>
                <a:gd name="T3" fmla="*/ 0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2" y="0"/>
                  </a:cubicBezTo>
                  <a:cubicBezTo>
                    <a:pt x="1" y="0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15" name="Freeform 8179"/>
            <p:cNvSpPr>
              <a:spLocks/>
            </p:cNvSpPr>
            <p:nvPr/>
          </p:nvSpPr>
          <p:spPr bwMode="auto">
            <a:xfrm>
              <a:off x="5160" y="2846"/>
              <a:ext cx="1" cy="1"/>
            </a:xfrm>
            <a:custGeom>
              <a:avLst/>
              <a:gdLst>
                <a:gd name="T0" fmla="*/ 1 w 1"/>
                <a:gd name="T1" fmla="*/ 1 h 1"/>
                <a:gd name="T2" fmla="*/ 1 w 1"/>
                <a:gd name="T3" fmla="*/ 0 h 1"/>
                <a:gd name="T4" fmla="*/ 0 w 1"/>
                <a:gd name="T5" fmla="*/ 0 h 1"/>
                <a:gd name="T6" fmla="*/ 0 w 1"/>
                <a:gd name="T7" fmla="*/ 1 h 1"/>
                <a:gd name="T8" fmla="*/ 1 w 1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1" y="1"/>
                    <a:pt x="1" y="1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16" name="Freeform 8180"/>
            <p:cNvSpPr>
              <a:spLocks/>
            </p:cNvSpPr>
            <p:nvPr/>
          </p:nvSpPr>
          <p:spPr bwMode="auto">
            <a:xfrm>
              <a:off x="5161" y="2846"/>
              <a:ext cx="4" cy="4"/>
            </a:xfrm>
            <a:custGeom>
              <a:avLst/>
              <a:gdLst>
                <a:gd name="T0" fmla="*/ 0 w 3"/>
                <a:gd name="T1" fmla="*/ 1 h 3"/>
                <a:gd name="T2" fmla="*/ 3 w 3"/>
                <a:gd name="T3" fmla="*/ 3 h 3"/>
                <a:gd name="T4" fmla="*/ 2 w 3"/>
                <a:gd name="T5" fmla="*/ 2 h 3"/>
                <a:gd name="T6" fmla="*/ 0 w 3"/>
                <a:gd name="T7" fmla="*/ 0 h 3"/>
                <a:gd name="T8" fmla="*/ 0 w 3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0" y="1"/>
                  </a:moveTo>
                  <a:cubicBezTo>
                    <a:pt x="1" y="2"/>
                    <a:pt x="2" y="2"/>
                    <a:pt x="3" y="3"/>
                  </a:cubicBezTo>
                  <a:cubicBezTo>
                    <a:pt x="3" y="3"/>
                    <a:pt x="3" y="2"/>
                    <a:pt x="2" y="2"/>
                  </a:cubicBezTo>
                  <a:cubicBezTo>
                    <a:pt x="2" y="1"/>
                    <a:pt x="1" y="1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17" name="Freeform 8181"/>
            <p:cNvSpPr>
              <a:spLocks/>
            </p:cNvSpPr>
            <p:nvPr/>
          </p:nvSpPr>
          <p:spPr bwMode="auto">
            <a:xfrm>
              <a:off x="5167" y="2854"/>
              <a:ext cx="2" cy="0"/>
            </a:xfrm>
            <a:custGeom>
              <a:avLst/>
              <a:gdLst>
                <a:gd name="T0" fmla="*/ 1 w 1"/>
                <a:gd name="T1" fmla="*/ 0 w 1"/>
                <a:gd name="T2" fmla="*/ 0 w 1"/>
                <a:gd name="T3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18" name="Freeform 8182"/>
            <p:cNvSpPr>
              <a:spLocks/>
            </p:cNvSpPr>
            <p:nvPr/>
          </p:nvSpPr>
          <p:spPr bwMode="auto">
            <a:xfrm>
              <a:off x="5124" y="2858"/>
              <a:ext cx="1" cy="0"/>
            </a:xfrm>
            <a:custGeom>
              <a:avLst/>
              <a:gdLst>
                <a:gd name="T0" fmla="*/ 0 w 1"/>
                <a:gd name="T1" fmla="*/ 1 w 1"/>
                <a:gd name="T2" fmla="*/ 1 w 1"/>
                <a:gd name="T3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19" name="Oval 8183"/>
            <p:cNvSpPr>
              <a:spLocks noChangeArrowheads="1"/>
            </p:cNvSpPr>
            <p:nvPr/>
          </p:nvSpPr>
          <p:spPr bwMode="auto">
            <a:xfrm>
              <a:off x="5126" y="2858"/>
              <a:ext cx="1" cy="2"/>
            </a:xfrm>
            <a:prstGeom prst="ellipse">
              <a:avLst/>
            </a:pr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20" name="Freeform 8184"/>
            <p:cNvSpPr>
              <a:spLocks/>
            </p:cNvSpPr>
            <p:nvPr/>
          </p:nvSpPr>
          <p:spPr bwMode="auto">
            <a:xfrm>
              <a:off x="5125" y="2857"/>
              <a:ext cx="0" cy="1"/>
            </a:xfrm>
            <a:custGeom>
              <a:avLst/>
              <a:gdLst>
                <a:gd name="T0" fmla="*/ 0 h 1"/>
                <a:gd name="T1" fmla="*/ 1 h 1"/>
                <a:gd name="T2" fmla="*/ 1 h 1"/>
                <a:gd name="T3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21" name="Freeform 8185"/>
            <p:cNvSpPr>
              <a:spLocks/>
            </p:cNvSpPr>
            <p:nvPr/>
          </p:nvSpPr>
          <p:spPr bwMode="auto">
            <a:xfrm>
              <a:off x="5125" y="2858"/>
              <a:ext cx="1" cy="2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  <a:gd name="T4" fmla="*/ 1 w 1"/>
                <a:gd name="T5" fmla="*/ 1 h 1"/>
                <a:gd name="T6" fmla="*/ 1 w 1"/>
                <a:gd name="T7" fmla="*/ 0 h 1"/>
                <a:gd name="T8" fmla="*/ 0 w 1"/>
                <a:gd name="T9" fmla="*/ 0 h 1"/>
                <a:gd name="T10" fmla="*/ 0 w 1"/>
                <a:gd name="T11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1" y="1"/>
                  </a:cubicBezTo>
                  <a:cubicBezTo>
                    <a:pt x="1" y="1"/>
                    <a:pt x="1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22" name="Freeform 8186"/>
            <p:cNvSpPr>
              <a:spLocks/>
            </p:cNvSpPr>
            <p:nvPr/>
          </p:nvSpPr>
          <p:spPr bwMode="auto">
            <a:xfrm>
              <a:off x="5133" y="2858"/>
              <a:ext cx="6" cy="9"/>
            </a:xfrm>
            <a:custGeom>
              <a:avLst/>
              <a:gdLst>
                <a:gd name="T0" fmla="*/ 0 w 5"/>
                <a:gd name="T1" fmla="*/ 0 h 7"/>
                <a:gd name="T2" fmla="*/ 0 w 5"/>
                <a:gd name="T3" fmla="*/ 2 h 7"/>
                <a:gd name="T4" fmla="*/ 5 w 5"/>
                <a:gd name="T5" fmla="*/ 7 h 7"/>
                <a:gd name="T6" fmla="*/ 4 w 5"/>
                <a:gd name="T7" fmla="*/ 2 h 7"/>
                <a:gd name="T8" fmla="*/ 0 w 5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">
                  <a:moveTo>
                    <a:pt x="0" y="0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2" y="3"/>
                    <a:pt x="3" y="5"/>
                    <a:pt x="5" y="7"/>
                  </a:cubicBezTo>
                  <a:cubicBezTo>
                    <a:pt x="5" y="5"/>
                    <a:pt x="4" y="4"/>
                    <a:pt x="4" y="2"/>
                  </a:cubicBezTo>
                  <a:cubicBezTo>
                    <a:pt x="3" y="1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23" name="Freeform 8187"/>
            <p:cNvSpPr>
              <a:spLocks/>
            </p:cNvSpPr>
            <p:nvPr/>
          </p:nvSpPr>
          <p:spPr bwMode="auto">
            <a:xfrm>
              <a:off x="5127" y="2844"/>
              <a:ext cx="6" cy="6"/>
            </a:xfrm>
            <a:custGeom>
              <a:avLst/>
              <a:gdLst>
                <a:gd name="T0" fmla="*/ 0 w 5"/>
                <a:gd name="T1" fmla="*/ 1 h 5"/>
                <a:gd name="T2" fmla="*/ 0 w 5"/>
                <a:gd name="T3" fmla="*/ 3 h 5"/>
                <a:gd name="T4" fmla="*/ 1 w 5"/>
                <a:gd name="T5" fmla="*/ 5 h 5"/>
                <a:gd name="T6" fmla="*/ 3 w 5"/>
                <a:gd name="T7" fmla="*/ 4 h 5"/>
                <a:gd name="T8" fmla="*/ 5 w 5"/>
                <a:gd name="T9" fmla="*/ 2 h 5"/>
                <a:gd name="T10" fmla="*/ 3 w 5"/>
                <a:gd name="T11" fmla="*/ 1 h 5"/>
                <a:gd name="T12" fmla="*/ 0 w 5"/>
                <a:gd name="T13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5">
                  <a:moveTo>
                    <a:pt x="0" y="1"/>
                  </a:moveTo>
                  <a:cubicBezTo>
                    <a:pt x="0" y="2"/>
                    <a:pt x="0" y="2"/>
                    <a:pt x="0" y="3"/>
                  </a:cubicBezTo>
                  <a:cubicBezTo>
                    <a:pt x="1" y="3"/>
                    <a:pt x="1" y="4"/>
                    <a:pt x="1" y="5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4" y="3"/>
                    <a:pt x="4" y="3"/>
                    <a:pt x="5" y="2"/>
                  </a:cubicBezTo>
                  <a:cubicBezTo>
                    <a:pt x="5" y="2"/>
                    <a:pt x="4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24" name="Freeform 8188"/>
            <p:cNvSpPr>
              <a:spLocks/>
            </p:cNvSpPr>
            <p:nvPr/>
          </p:nvSpPr>
          <p:spPr bwMode="auto">
            <a:xfrm>
              <a:off x="5139" y="2847"/>
              <a:ext cx="5" cy="10"/>
            </a:xfrm>
            <a:custGeom>
              <a:avLst/>
              <a:gdLst>
                <a:gd name="T0" fmla="*/ 4 w 4"/>
                <a:gd name="T1" fmla="*/ 1 h 8"/>
                <a:gd name="T2" fmla="*/ 3 w 4"/>
                <a:gd name="T3" fmla="*/ 0 h 8"/>
                <a:gd name="T4" fmla="*/ 0 w 4"/>
                <a:gd name="T5" fmla="*/ 1 h 8"/>
                <a:gd name="T6" fmla="*/ 3 w 4"/>
                <a:gd name="T7" fmla="*/ 7 h 8"/>
                <a:gd name="T8" fmla="*/ 2 w 4"/>
                <a:gd name="T9" fmla="*/ 6 h 8"/>
                <a:gd name="T10" fmla="*/ 3 w 4"/>
                <a:gd name="T11" fmla="*/ 8 h 8"/>
                <a:gd name="T12" fmla="*/ 3 w 4"/>
                <a:gd name="T13" fmla="*/ 6 h 8"/>
                <a:gd name="T14" fmla="*/ 4 w 4"/>
                <a:gd name="T15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8">
                  <a:moveTo>
                    <a:pt x="4" y="1"/>
                  </a:moveTo>
                  <a:cubicBezTo>
                    <a:pt x="3" y="1"/>
                    <a:pt x="3" y="1"/>
                    <a:pt x="3" y="0"/>
                  </a:cubicBezTo>
                  <a:cubicBezTo>
                    <a:pt x="2" y="0"/>
                    <a:pt x="1" y="1"/>
                    <a:pt x="0" y="1"/>
                  </a:cubicBezTo>
                  <a:cubicBezTo>
                    <a:pt x="2" y="4"/>
                    <a:pt x="3" y="7"/>
                    <a:pt x="3" y="7"/>
                  </a:cubicBezTo>
                  <a:cubicBezTo>
                    <a:pt x="3" y="7"/>
                    <a:pt x="3" y="7"/>
                    <a:pt x="2" y="6"/>
                  </a:cubicBezTo>
                  <a:cubicBezTo>
                    <a:pt x="2" y="7"/>
                    <a:pt x="3" y="7"/>
                    <a:pt x="3" y="8"/>
                  </a:cubicBezTo>
                  <a:cubicBezTo>
                    <a:pt x="3" y="7"/>
                    <a:pt x="3" y="7"/>
                    <a:pt x="3" y="6"/>
                  </a:cubicBezTo>
                  <a:cubicBezTo>
                    <a:pt x="3" y="5"/>
                    <a:pt x="3" y="3"/>
                    <a:pt x="4" y="1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25" name="Freeform 8189"/>
            <p:cNvSpPr>
              <a:spLocks/>
            </p:cNvSpPr>
            <p:nvPr/>
          </p:nvSpPr>
          <p:spPr bwMode="auto">
            <a:xfrm>
              <a:off x="5141" y="2845"/>
              <a:ext cx="1" cy="2"/>
            </a:xfrm>
            <a:custGeom>
              <a:avLst/>
              <a:gdLst>
                <a:gd name="T0" fmla="*/ 0 w 1"/>
                <a:gd name="T1" fmla="*/ 2 h 2"/>
                <a:gd name="T2" fmla="*/ 1 w 1"/>
                <a:gd name="T3" fmla="*/ 1 h 2"/>
                <a:gd name="T4" fmla="*/ 1 w 1"/>
                <a:gd name="T5" fmla="*/ 0 h 2"/>
                <a:gd name="T6" fmla="*/ 0 w 1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2">
                  <a:moveTo>
                    <a:pt x="0" y="2"/>
                  </a:moveTo>
                  <a:cubicBezTo>
                    <a:pt x="0" y="2"/>
                    <a:pt x="1" y="2"/>
                    <a:pt x="1" y="1"/>
                  </a:cubicBezTo>
                  <a:cubicBezTo>
                    <a:pt x="1" y="1"/>
                    <a:pt x="1" y="1"/>
                    <a:pt x="1" y="0"/>
                  </a:cubicBezTo>
                  <a:cubicBezTo>
                    <a:pt x="0" y="1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26" name="Freeform 8190"/>
            <p:cNvSpPr>
              <a:spLocks/>
            </p:cNvSpPr>
            <p:nvPr/>
          </p:nvSpPr>
          <p:spPr bwMode="auto">
            <a:xfrm>
              <a:off x="5136" y="2854"/>
              <a:ext cx="1" cy="4"/>
            </a:xfrm>
            <a:custGeom>
              <a:avLst/>
              <a:gdLst>
                <a:gd name="T0" fmla="*/ 1 w 1"/>
                <a:gd name="T1" fmla="*/ 4 h 4"/>
                <a:gd name="T2" fmla="*/ 0 w 1"/>
                <a:gd name="T3" fmla="*/ 0 h 4"/>
                <a:gd name="T4" fmla="*/ 0 w 1"/>
                <a:gd name="T5" fmla="*/ 1 h 4"/>
                <a:gd name="T6" fmla="*/ 1 w 1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4">
                  <a:moveTo>
                    <a:pt x="1" y="4"/>
                  </a:moveTo>
                  <a:cubicBezTo>
                    <a:pt x="1" y="3"/>
                    <a:pt x="1" y="1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1" y="2"/>
                    <a:pt x="1" y="3"/>
                    <a:pt x="1" y="4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27" name="Freeform 8191"/>
            <p:cNvSpPr>
              <a:spLocks/>
            </p:cNvSpPr>
            <p:nvPr/>
          </p:nvSpPr>
          <p:spPr bwMode="auto">
            <a:xfrm>
              <a:off x="5136" y="2838"/>
              <a:ext cx="2" cy="5"/>
            </a:xfrm>
            <a:custGeom>
              <a:avLst/>
              <a:gdLst>
                <a:gd name="T0" fmla="*/ 1 w 2"/>
                <a:gd name="T1" fmla="*/ 4 h 4"/>
                <a:gd name="T2" fmla="*/ 2 w 2"/>
                <a:gd name="T3" fmla="*/ 2 h 4"/>
                <a:gd name="T4" fmla="*/ 0 w 2"/>
                <a:gd name="T5" fmla="*/ 0 h 4"/>
                <a:gd name="T6" fmla="*/ 0 w 2"/>
                <a:gd name="T7" fmla="*/ 2 h 4"/>
                <a:gd name="T8" fmla="*/ 1 w 2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1" y="4"/>
                  </a:moveTo>
                  <a:cubicBezTo>
                    <a:pt x="1" y="3"/>
                    <a:pt x="1" y="3"/>
                    <a:pt x="2" y="2"/>
                  </a:cubicBezTo>
                  <a:cubicBezTo>
                    <a:pt x="1" y="2"/>
                    <a:pt x="1" y="1"/>
                    <a:pt x="0" y="0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1" y="4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28" name="Freeform 8192"/>
            <p:cNvSpPr>
              <a:spLocks/>
            </p:cNvSpPr>
            <p:nvPr/>
          </p:nvSpPr>
          <p:spPr bwMode="auto">
            <a:xfrm>
              <a:off x="5156" y="2849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29" name="Freeform 8193"/>
            <p:cNvSpPr>
              <a:spLocks/>
            </p:cNvSpPr>
            <p:nvPr/>
          </p:nvSpPr>
          <p:spPr bwMode="auto">
            <a:xfrm>
              <a:off x="5150" y="2854"/>
              <a:ext cx="4" cy="4"/>
            </a:xfrm>
            <a:custGeom>
              <a:avLst/>
              <a:gdLst>
                <a:gd name="T0" fmla="*/ 0 w 3"/>
                <a:gd name="T1" fmla="*/ 4 h 4"/>
                <a:gd name="T2" fmla="*/ 2 w 3"/>
                <a:gd name="T3" fmla="*/ 3 h 4"/>
                <a:gd name="T4" fmla="*/ 3 w 3"/>
                <a:gd name="T5" fmla="*/ 0 h 4"/>
                <a:gd name="T6" fmla="*/ 0 w 3"/>
                <a:gd name="T7" fmla="*/ 1 h 4"/>
                <a:gd name="T8" fmla="*/ 0 w 3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0" y="4"/>
                  </a:moveTo>
                  <a:cubicBezTo>
                    <a:pt x="1" y="4"/>
                    <a:pt x="1" y="4"/>
                    <a:pt x="2" y="3"/>
                  </a:cubicBezTo>
                  <a:cubicBezTo>
                    <a:pt x="2" y="2"/>
                    <a:pt x="2" y="1"/>
                    <a:pt x="3" y="0"/>
                  </a:cubicBezTo>
                  <a:cubicBezTo>
                    <a:pt x="2" y="0"/>
                    <a:pt x="1" y="0"/>
                    <a:pt x="0" y="1"/>
                  </a:cubicBezTo>
                  <a:cubicBezTo>
                    <a:pt x="0" y="2"/>
                    <a:pt x="0" y="3"/>
                    <a:pt x="0" y="4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30" name="Freeform 8194"/>
            <p:cNvSpPr>
              <a:spLocks/>
            </p:cNvSpPr>
            <p:nvPr/>
          </p:nvSpPr>
          <p:spPr bwMode="auto">
            <a:xfrm>
              <a:off x="5156" y="2846"/>
              <a:ext cx="0" cy="1"/>
            </a:xfrm>
            <a:custGeom>
              <a:avLst/>
              <a:gdLst>
                <a:gd name="T0" fmla="*/ 0 h 1"/>
                <a:gd name="T1" fmla="*/ 1 h 1"/>
                <a:gd name="T2" fmla="*/ 1 h 1"/>
                <a:gd name="T3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0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31" name="Freeform 8195"/>
            <p:cNvSpPr>
              <a:spLocks/>
            </p:cNvSpPr>
            <p:nvPr/>
          </p:nvSpPr>
          <p:spPr bwMode="auto">
            <a:xfrm>
              <a:off x="5135" y="2850"/>
              <a:ext cx="1" cy="5"/>
            </a:xfrm>
            <a:custGeom>
              <a:avLst/>
              <a:gdLst>
                <a:gd name="T0" fmla="*/ 0 w 1"/>
                <a:gd name="T1" fmla="*/ 2 h 4"/>
                <a:gd name="T2" fmla="*/ 1 w 1"/>
                <a:gd name="T3" fmla="*/ 4 h 4"/>
                <a:gd name="T4" fmla="*/ 1 w 1"/>
                <a:gd name="T5" fmla="*/ 3 h 4"/>
                <a:gd name="T6" fmla="*/ 0 w 1"/>
                <a:gd name="T7" fmla="*/ 0 h 4"/>
                <a:gd name="T8" fmla="*/ 0 w 1"/>
                <a:gd name="T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4">
                  <a:moveTo>
                    <a:pt x="0" y="2"/>
                  </a:moveTo>
                  <a:cubicBezTo>
                    <a:pt x="0" y="2"/>
                    <a:pt x="1" y="3"/>
                    <a:pt x="1" y="4"/>
                  </a:cubicBezTo>
                  <a:cubicBezTo>
                    <a:pt x="1" y="4"/>
                    <a:pt x="1" y="3"/>
                    <a:pt x="1" y="3"/>
                  </a:cubicBezTo>
                  <a:cubicBezTo>
                    <a:pt x="1" y="2"/>
                    <a:pt x="1" y="1"/>
                    <a:pt x="0" y="0"/>
                  </a:cubicBezTo>
                  <a:cubicBezTo>
                    <a:pt x="0" y="1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32" name="Freeform 8196"/>
            <p:cNvSpPr>
              <a:spLocks/>
            </p:cNvSpPr>
            <p:nvPr/>
          </p:nvSpPr>
          <p:spPr bwMode="auto">
            <a:xfrm>
              <a:off x="5131" y="2846"/>
              <a:ext cx="4" cy="4"/>
            </a:xfrm>
            <a:custGeom>
              <a:avLst/>
              <a:gdLst>
                <a:gd name="T0" fmla="*/ 2 w 3"/>
                <a:gd name="T1" fmla="*/ 0 h 3"/>
                <a:gd name="T2" fmla="*/ 2 w 3"/>
                <a:gd name="T3" fmla="*/ 0 h 3"/>
                <a:gd name="T4" fmla="*/ 2 w 3"/>
                <a:gd name="T5" fmla="*/ 0 h 3"/>
                <a:gd name="T6" fmla="*/ 0 w 3"/>
                <a:gd name="T7" fmla="*/ 2 h 3"/>
                <a:gd name="T8" fmla="*/ 2 w 3"/>
                <a:gd name="T9" fmla="*/ 3 h 3"/>
                <a:gd name="T10" fmla="*/ 3 w 3"/>
                <a:gd name="T11" fmla="*/ 1 h 3"/>
                <a:gd name="T12" fmla="*/ 2 w 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"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1"/>
                    <a:pt x="1" y="1"/>
                    <a:pt x="0" y="2"/>
                  </a:cubicBezTo>
                  <a:cubicBezTo>
                    <a:pt x="1" y="2"/>
                    <a:pt x="1" y="3"/>
                    <a:pt x="2" y="3"/>
                  </a:cubicBezTo>
                  <a:cubicBezTo>
                    <a:pt x="2" y="3"/>
                    <a:pt x="2" y="2"/>
                    <a:pt x="3" y="1"/>
                  </a:cubicBezTo>
                  <a:cubicBezTo>
                    <a:pt x="3" y="1"/>
                    <a:pt x="2" y="0"/>
                    <a:pt x="2" y="0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33" name="Freeform 8197"/>
            <p:cNvSpPr>
              <a:spLocks/>
            </p:cNvSpPr>
            <p:nvPr/>
          </p:nvSpPr>
          <p:spPr bwMode="auto">
            <a:xfrm>
              <a:off x="5132" y="2858"/>
              <a:ext cx="1" cy="3"/>
            </a:xfrm>
            <a:custGeom>
              <a:avLst/>
              <a:gdLst>
                <a:gd name="T0" fmla="*/ 0 w 1"/>
                <a:gd name="T1" fmla="*/ 0 h 2"/>
                <a:gd name="T2" fmla="*/ 0 w 1"/>
                <a:gd name="T3" fmla="*/ 2 h 2"/>
                <a:gd name="T4" fmla="*/ 1 w 1"/>
                <a:gd name="T5" fmla="*/ 2 h 2"/>
                <a:gd name="T6" fmla="*/ 1 w 1"/>
                <a:gd name="T7" fmla="*/ 0 h 2"/>
                <a:gd name="T8" fmla="*/ 0 w 1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2">
                  <a:moveTo>
                    <a:pt x="0" y="0"/>
                  </a:moveTo>
                  <a:cubicBezTo>
                    <a:pt x="0" y="1"/>
                    <a:pt x="0" y="1"/>
                    <a:pt x="0" y="2"/>
                  </a:cubicBezTo>
                  <a:cubicBezTo>
                    <a:pt x="0" y="2"/>
                    <a:pt x="0" y="2"/>
                    <a:pt x="1" y="2"/>
                  </a:cubicBezTo>
                  <a:cubicBezTo>
                    <a:pt x="1" y="2"/>
                    <a:pt x="1" y="1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34" name="Freeform 8198"/>
            <p:cNvSpPr>
              <a:spLocks/>
            </p:cNvSpPr>
            <p:nvPr/>
          </p:nvSpPr>
          <p:spPr bwMode="auto">
            <a:xfrm>
              <a:off x="5137" y="2840"/>
              <a:ext cx="4" cy="5"/>
            </a:xfrm>
            <a:custGeom>
              <a:avLst/>
              <a:gdLst>
                <a:gd name="T0" fmla="*/ 0 w 3"/>
                <a:gd name="T1" fmla="*/ 2 h 4"/>
                <a:gd name="T2" fmla="*/ 1 w 3"/>
                <a:gd name="T3" fmla="*/ 4 h 4"/>
                <a:gd name="T4" fmla="*/ 3 w 3"/>
                <a:gd name="T5" fmla="*/ 3 h 4"/>
                <a:gd name="T6" fmla="*/ 1 w 3"/>
                <a:gd name="T7" fmla="*/ 0 h 4"/>
                <a:gd name="T8" fmla="*/ 0 w 3"/>
                <a:gd name="T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0" y="2"/>
                  </a:moveTo>
                  <a:cubicBezTo>
                    <a:pt x="0" y="2"/>
                    <a:pt x="0" y="3"/>
                    <a:pt x="1" y="4"/>
                  </a:cubicBezTo>
                  <a:cubicBezTo>
                    <a:pt x="1" y="3"/>
                    <a:pt x="2" y="3"/>
                    <a:pt x="3" y="3"/>
                  </a:cubicBezTo>
                  <a:cubicBezTo>
                    <a:pt x="2" y="2"/>
                    <a:pt x="1" y="1"/>
                    <a:pt x="1" y="0"/>
                  </a:cubicBezTo>
                  <a:cubicBezTo>
                    <a:pt x="0" y="1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35" name="Freeform 8199"/>
            <p:cNvSpPr>
              <a:spLocks/>
            </p:cNvSpPr>
            <p:nvPr/>
          </p:nvSpPr>
          <p:spPr bwMode="auto">
            <a:xfrm>
              <a:off x="5138" y="2845"/>
              <a:ext cx="4" cy="2"/>
            </a:xfrm>
            <a:custGeom>
              <a:avLst/>
              <a:gdLst>
                <a:gd name="T0" fmla="*/ 2 w 3"/>
                <a:gd name="T1" fmla="*/ 2 h 2"/>
                <a:gd name="T2" fmla="*/ 3 w 3"/>
                <a:gd name="T3" fmla="*/ 0 h 2"/>
                <a:gd name="T4" fmla="*/ 2 w 3"/>
                <a:gd name="T5" fmla="*/ 0 h 2"/>
                <a:gd name="T6" fmla="*/ 0 w 3"/>
                <a:gd name="T7" fmla="*/ 1 h 2"/>
                <a:gd name="T8" fmla="*/ 1 w 3"/>
                <a:gd name="T9" fmla="*/ 2 h 2"/>
                <a:gd name="T10" fmla="*/ 2 w 3"/>
                <a:gd name="T11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2">
                  <a:moveTo>
                    <a:pt x="2" y="2"/>
                  </a:moveTo>
                  <a:cubicBezTo>
                    <a:pt x="2" y="1"/>
                    <a:pt x="2" y="1"/>
                    <a:pt x="3" y="0"/>
                  </a:cubicBezTo>
                  <a:cubicBezTo>
                    <a:pt x="3" y="0"/>
                    <a:pt x="3" y="0"/>
                    <a:pt x="2" y="0"/>
                  </a:cubicBezTo>
                  <a:cubicBezTo>
                    <a:pt x="2" y="0"/>
                    <a:pt x="1" y="0"/>
                    <a:pt x="0" y="1"/>
                  </a:cubicBezTo>
                  <a:cubicBezTo>
                    <a:pt x="0" y="1"/>
                    <a:pt x="1" y="2"/>
                    <a:pt x="1" y="2"/>
                  </a:cubicBezTo>
                  <a:cubicBezTo>
                    <a:pt x="1" y="2"/>
                    <a:pt x="1" y="2"/>
                    <a:pt x="2" y="2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36" name="Freeform 8200"/>
            <p:cNvSpPr>
              <a:spLocks/>
            </p:cNvSpPr>
            <p:nvPr/>
          </p:nvSpPr>
          <p:spPr bwMode="auto">
            <a:xfrm>
              <a:off x="5127" y="2845"/>
              <a:ext cx="0" cy="2"/>
            </a:xfrm>
            <a:custGeom>
              <a:avLst/>
              <a:gdLst>
                <a:gd name="T0" fmla="*/ 0 h 2"/>
                <a:gd name="T1" fmla="*/ 2 h 2"/>
                <a:gd name="T2" fmla="*/ 0 h 2"/>
                <a:gd name="T3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cubicBezTo>
                    <a:pt x="0" y="1"/>
                    <a:pt x="0" y="1"/>
                    <a:pt x="0" y="2"/>
                  </a:cubicBezTo>
                  <a:cubicBezTo>
                    <a:pt x="0" y="1"/>
                    <a:pt x="0" y="1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37" name="Freeform 8201"/>
            <p:cNvSpPr>
              <a:spLocks/>
            </p:cNvSpPr>
            <p:nvPr/>
          </p:nvSpPr>
          <p:spPr bwMode="auto">
            <a:xfrm>
              <a:off x="5133" y="2850"/>
              <a:ext cx="2" cy="2"/>
            </a:xfrm>
            <a:custGeom>
              <a:avLst/>
              <a:gdLst>
                <a:gd name="T0" fmla="*/ 0 w 1"/>
                <a:gd name="T1" fmla="*/ 1 h 2"/>
                <a:gd name="T2" fmla="*/ 1 w 1"/>
                <a:gd name="T3" fmla="*/ 2 h 2"/>
                <a:gd name="T4" fmla="*/ 1 w 1"/>
                <a:gd name="T5" fmla="*/ 0 h 2"/>
                <a:gd name="T6" fmla="*/ 1 w 1"/>
                <a:gd name="T7" fmla="*/ 0 h 2"/>
                <a:gd name="T8" fmla="*/ 0 w 1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2">
                  <a:moveTo>
                    <a:pt x="0" y="1"/>
                  </a:moveTo>
                  <a:cubicBezTo>
                    <a:pt x="0" y="1"/>
                    <a:pt x="1" y="1"/>
                    <a:pt x="1" y="2"/>
                  </a:cubicBezTo>
                  <a:cubicBezTo>
                    <a:pt x="1" y="1"/>
                    <a:pt x="1" y="1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38" name="Freeform 8202"/>
            <p:cNvSpPr>
              <a:spLocks/>
            </p:cNvSpPr>
            <p:nvPr/>
          </p:nvSpPr>
          <p:spPr bwMode="auto">
            <a:xfrm>
              <a:off x="5131" y="2858"/>
              <a:ext cx="1" cy="3"/>
            </a:xfrm>
            <a:custGeom>
              <a:avLst/>
              <a:gdLst>
                <a:gd name="T0" fmla="*/ 0 w 1"/>
                <a:gd name="T1" fmla="*/ 1 h 2"/>
                <a:gd name="T2" fmla="*/ 1 w 1"/>
                <a:gd name="T3" fmla="*/ 2 h 2"/>
                <a:gd name="T4" fmla="*/ 1 w 1"/>
                <a:gd name="T5" fmla="*/ 0 h 2"/>
                <a:gd name="T6" fmla="*/ 0 w 1"/>
                <a:gd name="T7" fmla="*/ 0 h 2"/>
                <a:gd name="T8" fmla="*/ 0 w 1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2">
                  <a:moveTo>
                    <a:pt x="0" y="1"/>
                  </a:moveTo>
                  <a:cubicBezTo>
                    <a:pt x="0" y="2"/>
                    <a:pt x="1" y="2"/>
                    <a:pt x="1" y="2"/>
                  </a:cubicBezTo>
                  <a:cubicBezTo>
                    <a:pt x="1" y="1"/>
                    <a:pt x="1" y="1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39" name="Freeform 8203"/>
            <p:cNvSpPr>
              <a:spLocks/>
            </p:cNvSpPr>
            <p:nvPr/>
          </p:nvSpPr>
          <p:spPr bwMode="auto">
            <a:xfrm>
              <a:off x="5133" y="2847"/>
              <a:ext cx="2" cy="3"/>
            </a:xfrm>
            <a:custGeom>
              <a:avLst/>
              <a:gdLst>
                <a:gd name="T0" fmla="*/ 0 w 1"/>
                <a:gd name="T1" fmla="*/ 2 h 2"/>
                <a:gd name="T2" fmla="*/ 0 w 1"/>
                <a:gd name="T3" fmla="*/ 2 h 2"/>
                <a:gd name="T4" fmla="*/ 1 w 1"/>
                <a:gd name="T5" fmla="*/ 2 h 2"/>
                <a:gd name="T6" fmla="*/ 1 w 1"/>
                <a:gd name="T7" fmla="*/ 0 h 2"/>
                <a:gd name="T8" fmla="*/ 0 w 1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2">
                  <a:moveTo>
                    <a:pt x="0" y="2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1" y="2"/>
                    <a:pt x="1" y="2"/>
                  </a:cubicBezTo>
                  <a:cubicBezTo>
                    <a:pt x="1" y="1"/>
                    <a:pt x="1" y="1"/>
                    <a:pt x="1" y="0"/>
                  </a:cubicBezTo>
                  <a:cubicBezTo>
                    <a:pt x="0" y="1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40" name="Freeform 8204"/>
            <p:cNvSpPr>
              <a:spLocks/>
            </p:cNvSpPr>
            <p:nvPr/>
          </p:nvSpPr>
          <p:spPr bwMode="auto">
            <a:xfrm>
              <a:off x="5138" y="2844"/>
              <a:ext cx="3" cy="2"/>
            </a:xfrm>
            <a:custGeom>
              <a:avLst/>
              <a:gdLst>
                <a:gd name="T0" fmla="*/ 0 w 2"/>
                <a:gd name="T1" fmla="*/ 2 h 2"/>
                <a:gd name="T2" fmla="*/ 2 w 2"/>
                <a:gd name="T3" fmla="*/ 1 h 2"/>
                <a:gd name="T4" fmla="*/ 2 w 2"/>
                <a:gd name="T5" fmla="*/ 0 h 2"/>
                <a:gd name="T6" fmla="*/ 0 w 2"/>
                <a:gd name="T7" fmla="*/ 1 h 2"/>
                <a:gd name="T8" fmla="*/ 0 w 2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cubicBezTo>
                    <a:pt x="1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0"/>
                    <a:pt x="0" y="1"/>
                  </a:cubicBezTo>
                  <a:cubicBezTo>
                    <a:pt x="0" y="1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41" name="Freeform 8205"/>
            <p:cNvSpPr>
              <a:spLocks/>
            </p:cNvSpPr>
            <p:nvPr/>
          </p:nvSpPr>
          <p:spPr bwMode="auto">
            <a:xfrm>
              <a:off x="5139" y="2846"/>
              <a:ext cx="4" cy="3"/>
            </a:xfrm>
            <a:custGeom>
              <a:avLst/>
              <a:gdLst>
                <a:gd name="T0" fmla="*/ 1 w 3"/>
                <a:gd name="T1" fmla="*/ 1 h 2"/>
                <a:gd name="T2" fmla="*/ 0 w 3"/>
                <a:gd name="T3" fmla="*/ 2 h 2"/>
                <a:gd name="T4" fmla="*/ 0 w 3"/>
                <a:gd name="T5" fmla="*/ 2 h 2"/>
                <a:gd name="T6" fmla="*/ 3 w 3"/>
                <a:gd name="T7" fmla="*/ 1 h 2"/>
                <a:gd name="T8" fmla="*/ 2 w 3"/>
                <a:gd name="T9" fmla="*/ 0 h 2"/>
                <a:gd name="T10" fmla="*/ 1 w 3"/>
                <a:gd name="T11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2">
                  <a:moveTo>
                    <a:pt x="1" y="1"/>
                  </a:moveTo>
                  <a:cubicBezTo>
                    <a:pt x="0" y="1"/>
                    <a:pt x="0" y="1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2"/>
                    <a:pt x="2" y="1"/>
                    <a:pt x="3" y="1"/>
                  </a:cubicBezTo>
                  <a:cubicBezTo>
                    <a:pt x="3" y="1"/>
                    <a:pt x="3" y="1"/>
                    <a:pt x="2" y="0"/>
                  </a:cubicBezTo>
                  <a:cubicBezTo>
                    <a:pt x="2" y="1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42" name="Freeform 8206"/>
            <p:cNvSpPr>
              <a:spLocks/>
            </p:cNvSpPr>
            <p:nvPr/>
          </p:nvSpPr>
          <p:spPr bwMode="auto">
            <a:xfrm>
              <a:off x="5155" y="2847"/>
              <a:ext cx="3" cy="2"/>
            </a:xfrm>
            <a:custGeom>
              <a:avLst/>
              <a:gdLst>
                <a:gd name="T0" fmla="*/ 2 w 2"/>
                <a:gd name="T1" fmla="*/ 0 h 1"/>
                <a:gd name="T2" fmla="*/ 1 w 2"/>
                <a:gd name="T3" fmla="*/ 0 h 1"/>
                <a:gd name="T4" fmla="*/ 1 w 2"/>
                <a:gd name="T5" fmla="*/ 0 h 1"/>
                <a:gd name="T6" fmla="*/ 0 w 2"/>
                <a:gd name="T7" fmla="*/ 0 h 1"/>
                <a:gd name="T8" fmla="*/ 1 w 2"/>
                <a:gd name="T9" fmla="*/ 1 h 1"/>
                <a:gd name="T10" fmla="*/ 1 w 2"/>
                <a:gd name="T11" fmla="*/ 1 h 1"/>
                <a:gd name="T12" fmla="*/ 2 w 2"/>
                <a:gd name="T1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2" y="0"/>
                    <a:pt x="2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2" y="1"/>
                    <a:pt x="2" y="0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43" name="Freeform 8207"/>
            <p:cNvSpPr>
              <a:spLocks/>
            </p:cNvSpPr>
            <p:nvPr/>
          </p:nvSpPr>
          <p:spPr bwMode="auto">
            <a:xfrm>
              <a:off x="5139" y="2847"/>
              <a:ext cx="2" cy="2"/>
            </a:xfrm>
            <a:custGeom>
              <a:avLst/>
              <a:gdLst>
                <a:gd name="T0" fmla="*/ 0 w 1"/>
                <a:gd name="T1" fmla="*/ 1 h 1"/>
                <a:gd name="T2" fmla="*/ 1 w 1"/>
                <a:gd name="T3" fmla="*/ 0 h 1"/>
                <a:gd name="T4" fmla="*/ 0 w 1"/>
                <a:gd name="T5" fmla="*/ 0 h 1"/>
                <a:gd name="T6" fmla="*/ 0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0"/>
                    <a:pt x="0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44" name="Freeform 8208"/>
            <p:cNvSpPr>
              <a:spLocks/>
            </p:cNvSpPr>
            <p:nvPr/>
          </p:nvSpPr>
          <p:spPr bwMode="auto">
            <a:xfrm>
              <a:off x="5133" y="2850"/>
              <a:ext cx="2" cy="1"/>
            </a:xfrm>
            <a:custGeom>
              <a:avLst/>
              <a:gdLst>
                <a:gd name="T0" fmla="*/ 1 w 1"/>
                <a:gd name="T1" fmla="*/ 0 h 1"/>
                <a:gd name="T2" fmla="*/ 0 w 1"/>
                <a:gd name="T3" fmla="*/ 0 h 1"/>
                <a:gd name="T4" fmla="*/ 0 w 1"/>
                <a:gd name="T5" fmla="*/ 1 h 1"/>
                <a:gd name="T6" fmla="*/ 1 w 1"/>
                <a:gd name="T7" fmla="*/ 0 h 1"/>
                <a:gd name="T8" fmla="*/ 1 w 1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45" name="Freeform 8209"/>
            <p:cNvSpPr>
              <a:spLocks/>
            </p:cNvSpPr>
            <p:nvPr/>
          </p:nvSpPr>
          <p:spPr bwMode="auto">
            <a:xfrm>
              <a:off x="5148" y="2854"/>
              <a:ext cx="2" cy="2"/>
            </a:xfrm>
            <a:custGeom>
              <a:avLst/>
              <a:gdLst>
                <a:gd name="T0" fmla="*/ 0 w 2"/>
                <a:gd name="T1" fmla="*/ 2 h 2"/>
                <a:gd name="T2" fmla="*/ 2 w 2"/>
                <a:gd name="T3" fmla="*/ 1 h 2"/>
                <a:gd name="T4" fmla="*/ 1 w 2"/>
                <a:gd name="T5" fmla="*/ 0 h 2"/>
                <a:gd name="T6" fmla="*/ 0 w 2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cubicBezTo>
                    <a:pt x="0" y="2"/>
                    <a:pt x="1" y="1"/>
                    <a:pt x="2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46" name="Freeform 8210"/>
            <p:cNvSpPr>
              <a:spLocks/>
            </p:cNvSpPr>
            <p:nvPr/>
          </p:nvSpPr>
          <p:spPr bwMode="auto">
            <a:xfrm>
              <a:off x="5142" y="2852"/>
              <a:ext cx="5" cy="9"/>
            </a:xfrm>
            <a:custGeom>
              <a:avLst/>
              <a:gdLst>
                <a:gd name="T0" fmla="*/ 1 w 4"/>
                <a:gd name="T1" fmla="*/ 2 h 7"/>
                <a:gd name="T2" fmla="*/ 1 w 4"/>
                <a:gd name="T3" fmla="*/ 5 h 7"/>
                <a:gd name="T4" fmla="*/ 1 w 4"/>
                <a:gd name="T5" fmla="*/ 4 h 7"/>
                <a:gd name="T6" fmla="*/ 0 w 4"/>
                <a:gd name="T7" fmla="*/ 7 h 7"/>
                <a:gd name="T8" fmla="*/ 4 w 4"/>
                <a:gd name="T9" fmla="*/ 4 h 7"/>
                <a:gd name="T10" fmla="*/ 2 w 4"/>
                <a:gd name="T11" fmla="*/ 0 h 7"/>
                <a:gd name="T12" fmla="*/ 1 w 4"/>
                <a:gd name="T13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7">
                  <a:moveTo>
                    <a:pt x="1" y="2"/>
                  </a:moveTo>
                  <a:cubicBezTo>
                    <a:pt x="1" y="4"/>
                    <a:pt x="1" y="5"/>
                    <a:pt x="1" y="5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6"/>
                    <a:pt x="0" y="7"/>
                    <a:pt x="0" y="7"/>
                  </a:cubicBezTo>
                  <a:cubicBezTo>
                    <a:pt x="1" y="6"/>
                    <a:pt x="3" y="4"/>
                    <a:pt x="4" y="4"/>
                  </a:cubicBezTo>
                  <a:cubicBezTo>
                    <a:pt x="3" y="2"/>
                    <a:pt x="3" y="1"/>
                    <a:pt x="2" y="0"/>
                  </a:cubicBezTo>
                  <a:cubicBezTo>
                    <a:pt x="2" y="0"/>
                    <a:pt x="2" y="1"/>
                    <a:pt x="1" y="2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47" name="Freeform 8211"/>
            <p:cNvSpPr>
              <a:spLocks/>
            </p:cNvSpPr>
            <p:nvPr/>
          </p:nvSpPr>
          <p:spPr bwMode="auto">
            <a:xfrm>
              <a:off x="5166" y="2851"/>
              <a:ext cx="1" cy="1"/>
            </a:xfrm>
            <a:custGeom>
              <a:avLst/>
              <a:gdLst>
                <a:gd name="T0" fmla="*/ 1 w 1"/>
                <a:gd name="T1" fmla="*/ 1 h 1"/>
                <a:gd name="T2" fmla="*/ 1 w 1"/>
                <a:gd name="T3" fmla="*/ 1 h 1"/>
                <a:gd name="T4" fmla="*/ 0 w 1"/>
                <a:gd name="T5" fmla="*/ 0 h 1"/>
                <a:gd name="T6" fmla="*/ 0 w 1"/>
                <a:gd name="T7" fmla="*/ 0 h 1"/>
                <a:gd name="T8" fmla="*/ 1 w 1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48" name="Freeform 8212"/>
            <p:cNvSpPr>
              <a:spLocks/>
            </p:cNvSpPr>
            <p:nvPr/>
          </p:nvSpPr>
          <p:spPr bwMode="auto">
            <a:xfrm>
              <a:off x="5142" y="2858"/>
              <a:ext cx="10" cy="16"/>
            </a:xfrm>
            <a:custGeom>
              <a:avLst/>
              <a:gdLst>
                <a:gd name="T0" fmla="*/ 7 w 8"/>
                <a:gd name="T1" fmla="*/ 0 h 13"/>
                <a:gd name="T2" fmla="*/ 0 w 8"/>
                <a:gd name="T3" fmla="*/ 10 h 13"/>
                <a:gd name="T4" fmla="*/ 2 w 8"/>
                <a:gd name="T5" fmla="*/ 13 h 13"/>
                <a:gd name="T6" fmla="*/ 7 w 8"/>
                <a:gd name="T7" fmla="*/ 13 h 13"/>
                <a:gd name="T8" fmla="*/ 8 w 8"/>
                <a:gd name="T9" fmla="*/ 4 h 13"/>
                <a:gd name="T10" fmla="*/ 7 w 8"/>
                <a:gd name="T11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13">
                  <a:moveTo>
                    <a:pt x="7" y="0"/>
                  </a:moveTo>
                  <a:cubicBezTo>
                    <a:pt x="4" y="3"/>
                    <a:pt x="2" y="7"/>
                    <a:pt x="0" y="10"/>
                  </a:cubicBezTo>
                  <a:cubicBezTo>
                    <a:pt x="1" y="12"/>
                    <a:pt x="2" y="13"/>
                    <a:pt x="2" y="13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10"/>
                    <a:pt x="7" y="7"/>
                    <a:pt x="8" y="4"/>
                  </a:cubicBezTo>
                  <a:cubicBezTo>
                    <a:pt x="8" y="3"/>
                    <a:pt x="7" y="2"/>
                    <a:pt x="7" y="0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49" name="Freeform 8213"/>
            <p:cNvSpPr>
              <a:spLocks/>
            </p:cNvSpPr>
            <p:nvPr/>
          </p:nvSpPr>
          <p:spPr bwMode="auto">
            <a:xfrm>
              <a:off x="5133" y="2846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50" name="Freeform 8214"/>
            <p:cNvSpPr>
              <a:spLocks/>
            </p:cNvSpPr>
            <p:nvPr/>
          </p:nvSpPr>
          <p:spPr bwMode="auto">
            <a:xfrm>
              <a:off x="5149" y="2852"/>
              <a:ext cx="1" cy="3"/>
            </a:xfrm>
            <a:custGeom>
              <a:avLst/>
              <a:gdLst>
                <a:gd name="T0" fmla="*/ 0 w 1"/>
                <a:gd name="T1" fmla="*/ 1 h 2"/>
                <a:gd name="T2" fmla="*/ 1 w 1"/>
                <a:gd name="T3" fmla="*/ 2 h 2"/>
                <a:gd name="T4" fmla="*/ 1 w 1"/>
                <a:gd name="T5" fmla="*/ 2 h 2"/>
                <a:gd name="T6" fmla="*/ 1 w 1"/>
                <a:gd name="T7" fmla="*/ 0 h 2"/>
                <a:gd name="T8" fmla="*/ 0 w 1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2">
                  <a:moveTo>
                    <a:pt x="0" y="1"/>
                  </a:moveTo>
                  <a:cubicBezTo>
                    <a:pt x="0" y="1"/>
                    <a:pt x="0" y="1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1" y="0"/>
                    <a:pt x="1" y="0"/>
                  </a:cubicBezTo>
                  <a:cubicBezTo>
                    <a:pt x="1" y="0"/>
                    <a:pt x="1" y="0"/>
                    <a:pt x="0" y="1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51" name="Freeform 8215"/>
            <p:cNvSpPr>
              <a:spLocks/>
            </p:cNvSpPr>
            <p:nvPr/>
          </p:nvSpPr>
          <p:spPr bwMode="auto">
            <a:xfrm>
              <a:off x="5150" y="2858"/>
              <a:ext cx="2" cy="5"/>
            </a:xfrm>
            <a:custGeom>
              <a:avLst/>
              <a:gdLst>
                <a:gd name="T0" fmla="*/ 0 w 1"/>
                <a:gd name="T1" fmla="*/ 0 h 4"/>
                <a:gd name="T2" fmla="*/ 0 w 1"/>
                <a:gd name="T3" fmla="*/ 0 h 4"/>
                <a:gd name="T4" fmla="*/ 1 w 1"/>
                <a:gd name="T5" fmla="*/ 4 h 4"/>
                <a:gd name="T6" fmla="*/ 1 w 1"/>
                <a:gd name="T7" fmla="*/ 1 h 4"/>
                <a:gd name="T8" fmla="*/ 1 w 1"/>
                <a:gd name="T9" fmla="*/ 2 h 4"/>
                <a:gd name="T10" fmla="*/ 0 w 1"/>
                <a:gd name="T1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" h="4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1" y="3"/>
                    <a:pt x="1" y="4"/>
                  </a:cubicBezTo>
                  <a:cubicBezTo>
                    <a:pt x="1" y="3"/>
                    <a:pt x="1" y="2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1"/>
                    <a:pt x="0" y="0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52" name="Oval 8216"/>
            <p:cNvSpPr>
              <a:spLocks noChangeArrowheads="1"/>
            </p:cNvSpPr>
            <p:nvPr/>
          </p:nvSpPr>
          <p:spPr bwMode="auto">
            <a:xfrm>
              <a:off x="5133" y="2846"/>
              <a:ext cx="1" cy="1"/>
            </a:xfrm>
            <a:prstGeom prst="ellipse">
              <a:avLst/>
            </a:pr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53" name="Freeform 8217"/>
            <p:cNvSpPr>
              <a:spLocks/>
            </p:cNvSpPr>
            <p:nvPr/>
          </p:nvSpPr>
          <p:spPr bwMode="auto">
            <a:xfrm>
              <a:off x="5126" y="283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54" name="Freeform 8218"/>
            <p:cNvSpPr>
              <a:spLocks/>
            </p:cNvSpPr>
            <p:nvPr/>
          </p:nvSpPr>
          <p:spPr bwMode="auto">
            <a:xfrm>
              <a:off x="5136" y="2850"/>
              <a:ext cx="14" cy="21"/>
            </a:xfrm>
            <a:custGeom>
              <a:avLst/>
              <a:gdLst>
                <a:gd name="T0" fmla="*/ 10 w 12"/>
                <a:gd name="T1" fmla="*/ 5 h 17"/>
                <a:gd name="T2" fmla="*/ 9 w 12"/>
                <a:gd name="T3" fmla="*/ 6 h 17"/>
                <a:gd name="T4" fmla="*/ 9 w 12"/>
                <a:gd name="T5" fmla="*/ 6 h 17"/>
                <a:gd name="T6" fmla="*/ 5 w 12"/>
                <a:gd name="T7" fmla="*/ 9 h 17"/>
                <a:gd name="T8" fmla="*/ 6 w 12"/>
                <a:gd name="T9" fmla="*/ 6 h 17"/>
                <a:gd name="T10" fmla="*/ 5 w 12"/>
                <a:gd name="T11" fmla="*/ 4 h 17"/>
                <a:gd name="T12" fmla="*/ 2 w 12"/>
                <a:gd name="T13" fmla="*/ 0 h 17"/>
                <a:gd name="T14" fmla="*/ 0 w 12"/>
                <a:gd name="T15" fmla="*/ 3 h 17"/>
                <a:gd name="T16" fmla="*/ 1 w 12"/>
                <a:gd name="T17" fmla="*/ 7 h 17"/>
                <a:gd name="T18" fmla="*/ 3 w 12"/>
                <a:gd name="T19" fmla="*/ 9 h 17"/>
                <a:gd name="T20" fmla="*/ 2 w 12"/>
                <a:gd name="T21" fmla="*/ 9 h 17"/>
                <a:gd name="T22" fmla="*/ 3 w 12"/>
                <a:gd name="T23" fmla="*/ 14 h 17"/>
                <a:gd name="T24" fmla="*/ 5 w 12"/>
                <a:gd name="T25" fmla="*/ 17 h 17"/>
                <a:gd name="T26" fmla="*/ 12 w 12"/>
                <a:gd name="T27" fmla="*/ 7 h 17"/>
                <a:gd name="T28" fmla="*/ 12 w 12"/>
                <a:gd name="T29" fmla="*/ 4 h 17"/>
                <a:gd name="T30" fmla="*/ 10 w 12"/>
                <a:gd name="T31" fmla="*/ 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" h="17">
                  <a:moveTo>
                    <a:pt x="10" y="5"/>
                  </a:move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8" y="6"/>
                    <a:pt x="6" y="8"/>
                    <a:pt x="5" y="9"/>
                  </a:cubicBezTo>
                  <a:cubicBezTo>
                    <a:pt x="5" y="9"/>
                    <a:pt x="5" y="8"/>
                    <a:pt x="6" y="6"/>
                  </a:cubicBezTo>
                  <a:cubicBezTo>
                    <a:pt x="6" y="5"/>
                    <a:pt x="5" y="5"/>
                    <a:pt x="5" y="4"/>
                  </a:cubicBezTo>
                  <a:cubicBezTo>
                    <a:pt x="4" y="3"/>
                    <a:pt x="3" y="1"/>
                    <a:pt x="2" y="0"/>
                  </a:cubicBezTo>
                  <a:cubicBezTo>
                    <a:pt x="1" y="1"/>
                    <a:pt x="1" y="2"/>
                    <a:pt x="0" y="3"/>
                  </a:cubicBezTo>
                  <a:cubicBezTo>
                    <a:pt x="1" y="4"/>
                    <a:pt x="1" y="6"/>
                    <a:pt x="1" y="7"/>
                  </a:cubicBezTo>
                  <a:cubicBezTo>
                    <a:pt x="2" y="8"/>
                    <a:pt x="3" y="9"/>
                    <a:pt x="3" y="9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11"/>
                    <a:pt x="3" y="12"/>
                    <a:pt x="3" y="14"/>
                  </a:cubicBezTo>
                  <a:cubicBezTo>
                    <a:pt x="4" y="15"/>
                    <a:pt x="5" y="16"/>
                    <a:pt x="5" y="17"/>
                  </a:cubicBezTo>
                  <a:cubicBezTo>
                    <a:pt x="7" y="14"/>
                    <a:pt x="9" y="10"/>
                    <a:pt x="12" y="7"/>
                  </a:cubicBezTo>
                  <a:cubicBezTo>
                    <a:pt x="12" y="6"/>
                    <a:pt x="12" y="5"/>
                    <a:pt x="12" y="4"/>
                  </a:cubicBezTo>
                  <a:cubicBezTo>
                    <a:pt x="11" y="4"/>
                    <a:pt x="10" y="5"/>
                    <a:pt x="10" y="5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55" name="Freeform 8219"/>
            <p:cNvSpPr>
              <a:spLocks/>
            </p:cNvSpPr>
            <p:nvPr/>
          </p:nvSpPr>
          <p:spPr bwMode="auto">
            <a:xfrm>
              <a:off x="5143" y="2849"/>
              <a:ext cx="1" cy="6"/>
            </a:xfrm>
            <a:custGeom>
              <a:avLst/>
              <a:gdLst>
                <a:gd name="T0" fmla="*/ 0 w 1"/>
                <a:gd name="T1" fmla="*/ 5 h 5"/>
                <a:gd name="T2" fmla="*/ 1 w 1"/>
                <a:gd name="T3" fmla="*/ 3 h 5"/>
                <a:gd name="T4" fmla="*/ 1 w 1"/>
                <a:gd name="T5" fmla="*/ 0 h 5"/>
                <a:gd name="T6" fmla="*/ 0 w 1"/>
                <a:gd name="T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5">
                  <a:moveTo>
                    <a:pt x="0" y="5"/>
                  </a:moveTo>
                  <a:cubicBezTo>
                    <a:pt x="1" y="4"/>
                    <a:pt x="1" y="3"/>
                    <a:pt x="1" y="3"/>
                  </a:cubicBezTo>
                  <a:cubicBezTo>
                    <a:pt x="1" y="2"/>
                    <a:pt x="1" y="1"/>
                    <a:pt x="1" y="0"/>
                  </a:cubicBezTo>
                  <a:cubicBezTo>
                    <a:pt x="0" y="2"/>
                    <a:pt x="0" y="4"/>
                    <a:pt x="0" y="5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56" name="Freeform 8220"/>
            <p:cNvSpPr>
              <a:spLocks/>
            </p:cNvSpPr>
            <p:nvPr/>
          </p:nvSpPr>
          <p:spPr bwMode="auto">
            <a:xfrm>
              <a:off x="5150" y="2855"/>
              <a:ext cx="0" cy="3"/>
            </a:xfrm>
            <a:custGeom>
              <a:avLst/>
              <a:gdLst>
                <a:gd name="T0" fmla="*/ 0 h 3"/>
                <a:gd name="T1" fmla="*/ 0 h 3"/>
                <a:gd name="T2" fmla="*/ 3 h 3"/>
                <a:gd name="T3" fmla="*/ 3 h 3"/>
                <a:gd name="T4" fmla="*/ 0 h 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3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1"/>
                    <a:pt x="0" y="0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57" name="Freeform 8221"/>
            <p:cNvSpPr>
              <a:spLocks/>
            </p:cNvSpPr>
            <p:nvPr/>
          </p:nvSpPr>
          <p:spPr bwMode="auto">
            <a:xfrm>
              <a:off x="5133" y="2846"/>
              <a:ext cx="2" cy="1"/>
            </a:xfrm>
            <a:custGeom>
              <a:avLst/>
              <a:gdLst>
                <a:gd name="T0" fmla="*/ 1 w 1"/>
                <a:gd name="T1" fmla="*/ 1 h 1"/>
                <a:gd name="T2" fmla="*/ 0 w 1"/>
                <a:gd name="T3" fmla="*/ 0 h 1"/>
                <a:gd name="T4" fmla="*/ 0 w 1"/>
                <a:gd name="T5" fmla="*/ 0 h 1"/>
                <a:gd name="T6" fmla="*/ 1 w 1"/>
                <a:gd name="T7" fmla="*/ 1 h 1"/>
                <a:gd name="T8" fmla="*/ 1 w 1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1" y="0"/>
                    <a:pt x="1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58" name="Freeform 8222"/>
            <p:cNvSpPr>
              <a:spLocks/>
            </p:cNvSpPr>
            <p:nvPr/>
          </p:nvSpPr>
          <p:spPr bwMode="auto">
            <a:xfrm>
              <a:off x="5136" y="2849"/>
              <a:ext cx="1" cy="0"/>
            </a:xfrm>
            <a:custGeom>
              <a:avLst/>
              <a:gdLst>
                <a:gd name="T0" fmla="*/ 0 w 1"/>
                <a:gd name="T1" fmla="*/ 1 w 1"/>
                <a:gd name="T2" fmla="*/ 0 w 1"/>
                <a:gd name="T3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59" name="Freeform 8223"/>
            <p:cNvSpPr>
              <a:spLocks/>
            </p:cNvSpPr>
            <p:nvPr/>
          </p:nvSpPr>
          <p:spPr bwMode="auto">
            <a:xfrm>
              <a:off x="5135" y="2849"/>
              <a:ext cx="3" cy="5"/>
            </a:xfrm>
            <a:custGeom>
              <a:avLst/>
              <a:gdLst>
                <a:gd name="T0" fmla="*/ 1 w 3"/>
                <a:gd name="T1" fmla="*/ 1 h 4"/>
                <a:gd name="T2" fmla="*/ 0 w 3"/>
                <a:gd name="T3" fmla="*/ 1 h 4"/>
                <a:gd name="T4" fmla="*/ 1 w 3"/>
                <a:gd name="T5" fmla="*/ 4 h 4"/>
                <a:gd name="T6" fmla="*/ 3 w 3"/>
                <a:gd name="T7" fmla="*/ 1 h 4"/>
                <a:gd name="T8" fmla="*/ 2 w 3"/>
                <a:gd name="T9" fmla="*/ 0 h 4"/>
                <a:gd name="T10" fmla="*/ 1 w 3"/>
                <a:gd name="T11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4">
                  <a:moveTo>
                    <a:pt x="1" y="1"/>
                  </a:moveTo>
                  <a:cubicBezTo>
                    <a:pt x="1" y="1"/>
                    <a:pt x="1" y="1"/>
                    <a:pt x="0" y="1"/>
                  </a:cubicBezTo>
                  <a:cubicBezTo>
                    <a:pt x="1" y="2"/>
                    <a:pt x="1" y="3"/>
                    <a:pt x="1" y="4"/>
                  </a:cubicBezTo>
                  <a:cubicBezTo>
                    <a:pt x="2" y="3"/>
                    <a:pt x="2" y="2"/>
                    <a:pt x="3" y="1"/>
                  </a:cubicBezTo>
                  <a:cubicBezTo>
                    <a:pt x="3" y="1"/>
                    <a:pt x="2" y="1"/>
                    <a:pt x="2" y="0"/>
                  </a:cubicBezTo>
                  <a:cubicBezTo>
                    <a:pt x="2" y="1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60" name="Freeform 8224"/>
            <p:cNvSpPr>
              <a:spLocks/>
            </p:cNvSpPr>
            <p:nvPr/>
          </p:nvSpPr>
          <p:spPr bwMode="auto">
            <a:xfrm>
              <a:off x="5135" y="2847"/>
              <a:ext cx="1" cy="3"/>
            </a:xfrm>
            <a:custGeom>
              <a:avLst/>
              <a:gdLst>
                <a:gd name="T0" fmla="*/ 0 w 1"/>
                <a:gd name="T1" fmla="*/ 0 h 2"/>
                <a:gd name="T2" fmla="*/ 0 w 1"/>
                <a:gd name="T3" fmla="*/ 0 h 2"/>
                <a:gd name="T4" fmla="*/ 0 w 1"/>
                <a:gd name="T5" fmla="*/ 2 h 2"/>
                <a:gd name="T6" fmla="*/ 1 w 1"/>
                <a:gd name="T7" fmla="*/ 1 h 2"/>
                <a:gd name="T8" fmla="*/ 1 w 1"/>
                <a:gd name="T9" fmla="*/ 1 h 2"/>
                <a:gd name="T10" fmla="*/ 0 w 1"/>
                <a:gd name="T11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" h="2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0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61" name="Freeform 8225"/>
            <p:cNvSpPr>
              <a:spLocks/>
            </p:cNvSpPr>
            <p:nvPr/>
          </p:nvSpPr>
          <p:spPr bwMode="auto">
            <a:xfrm>
              <a:off x="5135" y="2850"/>
              <a:ext cx="1" cy="0"/>
            </a:xfrm>
            <a:custGeom>
              <a:avLst/>
              <a:gdLst>
                <a:gd name="T0" fmla="*/ 0 w 1"/>
                <a:gd name="T1" fmla="*/ 1 w 1"/>
                <a:gd name="T2" fmla="*/ 0 w 1"/>
                <a:gd name="T3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62" name="Freeform 8226"/>
            <p:cNvSpPr>
              <a:spLocks/>
            </p:cNvSpPr>
            <p:nvPr/>
          </p:nvSpPr>
          <p:spPr bwMode="auto">
            <a:xfrm>
              <a:off x="5136" y="2849"/>
              <a:ext cx="1" cy="1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1 h 1"/>
                <a:gd name="T4" fmla="*/ 1 w 1"/>
                <a:gd name="T5" fmla="*/ 0 h 1"/>
                <a:gd name="T6" fmla="*/ 1 w 1"/>
                <a:gd name="T7" fmla="*/ 0 h 1"/>
                <a:gd name="T8" fmla="*/ 0 w 1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1" y="1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63" name="Freeform 8227"/>
            <p:cNvSpPr>
              <a:spLocks/>
            </p:cNvSpPr>
            <p:nvPr/>
          </p:nvSpPr>
          <p:spPr bwMode="auto">
            <a:xfrm>
              <a:off x="5135" y="2849"/>
              <a:ext cx="1" cy="1"/>
            </a:xfrm>
            <a:custGeom>
              <a:avLst/>
              <a:gdLst>
                <a:gd name="T0" fmla="*/ 0 w 1"/>
                <a:gd name="T1" fmla="*/ 1 h 1"/>
                <a:gd name="T2" fmla="*/ 0 w 1"/>
                <a:gd name="T3" fmla="*/ 1 h 1"/>
                <a:gd name="T4" fmla="*/ 1 w 1"/>
                <a:gd name="T5" fmla="*/ 1 h 1"/>
                <a:gd name="T6" fmla="*/ 1 w 1"/>
                <a:gd name="T7" fmla="*/ 0 h 1"/>
                <a:gd name="T8" fmla="*/ 0 w 1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1"/>
                    <a:pt x="1" y="1"/>
                  </a:cubicBezTo>
                  <a:cubicBezTo>
                    <a:pt x="1" y="1"/>
                    <a:pt x="1" y="0"/>
                    <a:pt x="1" y="0"/>
                  </a:cubicBezTo>
                  <a:cubicBezTo>
                    <a:pt x="1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43A5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64" name="Rectangle 8228"/>
            <p:cNvSpPr>
              <a:spLocks noChangeArrowheads="1"/>
            </p:cNvSpPr>
            <p:nvPr/>
          </p:nvSpPr>
          <p:spPr bwMode="auto">
            <a:xfrm>
              <a:off x="5069" y="2783"/>
              <a:ext cx="562" cy="5"/>
            </a:xfrm>
            <a:prstGeom prst="rect">
              <a:avLst/>
            </a:prstGeom>
            <a:solidFill>
              <a:srgbClr val="A6A8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65" name="Rectangle 8229"/>
            <p:cNvSpPr>
              <a:spLocks noChangeArrowheads="1"/>
            </p:cNvSpPr>
            <p:nvPr/>
          </p:nvSpPr>
          <p:spPr bwMode="auto">
            <a:xfrm>
              <a:off x="5069" y="2830"/>
              <a:ext cx="562" cy="5"/>
            </a:xfrm>
            <a:prstGeom prst="rect">
              <a:avLst/>
            </a:prstGeom>
            <a:solidFill>
              <a:srgbClr val="A6A8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66" name="Freeform 8230"/>
            <p:cNvSpPr>
              <a:spLocks/>
            </p:cNvSpPr>
            <p:nvPr/>
          </p:nvSpPr>
          <p:spPr bwMode="auto">
            <a:xfrm>
              <a:off x="5075" y="2762"/>
              <a:ext cx="16" cy="101"/>
            </a:xfrm>
            <a:custGeom>
              <a:avLst/>
              <a:gdLst>
                <a:gd name="T0" fmla="*/ 7 w 13"/>
                <a:gd name="T1" fmla="*/ 0 h 83"/>
                <a:gd name="T2" fmla="*/ 0 w 13"/>
                <a:gd name="T3" fmla="*/ 5 h 83"/>
                <a:gd name="T4" fmla="*/ 0 w 13"/>
                <a:gd name="T5" fmla="*/ 78 h 83"/>
                <a:gd name="T6" fmla="*/ 7 w 13"/>
                <a:gd name="T7" fmla="*/ 83 h 83"/>
                <a:gd name="T8" fmla="*/ 13 w 13"/>
                <a:gd name="T9" fmla="*/ 78 h 83"/>
                <a:gd name="T10" fmla="*/ 13 w 13"/>
                <a:gd name="T11" fmla="*/ 5 h 83"/>
                <a:gd name="T12" fmla="*/ 7 w 13"/>
                <a:gd name="T13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83">
                  <a:moveTo>
                    <a:pt x="7" y="0"/>
                  </a:moveTo>
                  <a:cubicBezTo>
                    <a:pt x="3" y="0"/>
                    <a:pt x="0" y="2"/>
                    <a:pt x="0" y="5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80"/>
                    <a:pt x="3" y="83"/>
                    <a:pt x="7" y="83"/>
                  </a:cubicBezTo>
                  <a:cubicBezTo>
                    <a:pt x="10" y="83"/>
                    <a:pt x="13" y="80"/>
                    <a:pt x="13" y="78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2"/>
                    <a:pt x="10" y="0"/>
                    <a:pt x="7" y="0"/>
                  </a:cubicBezTo>
                  <a:close/>
                </a:path>
              </a:pathLst>
            </a:custGeom>
            <a:solidFill>
              <a:srgbClr val="A6A8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67" name="Freeform 8231"/>
            <p:cNvSpPr>
              <a:spLocks/>
            </p:cNvSpPr>
            <p:nvPr/>
          </p:nvSpPr>
          <p:spPr bwMode="auto">
            <a:xfrm>
              <a:off x="5129" y="2762"/>
              <a:ext cx="15" cy="101"/>
            </a:xfrm>
            <a:custGeom>
              <a:avLst/>
              <a:gdLst>
                <a:gd name="T0" fmla="*/ 7 w 13"/>
                <a:gd name="T1" fmla="*/ 0 h 83"/>
                <a:gd name="T2" fmla="*/ 0 w 13"/>
                <a:gd name="T3" fmla="*/ 5 h 83"/>
                <a:gd name="T4" fmla="*/ 0 w 13"/>
                <a:gd name="T5" fmla="*/ 78 h 83"/>
                <a:gd name="T6" fmla="*/ 7 w 13"/>
                <a:gd name="T7" fmla="*/ 83 h 83"/>
                <a:gd name="T8" fmla="*/ 13 w 13"/>
                <a:gd name="T9" fmla="*/ 78 h 83"/>
                <a:gd name="T10" fmla="*/ 13 w 13"/>
                <a:gd name="T11" fmla="*/ 5 h 83"/>
                <a:gd name="T12" fmla="*/ 7 w 13"/>
                <a:gd name="T13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83">
                  <a:moveTo>
                    <a:pt x="7" y="0"/>
                  </a:moveTo>
                  <a:cubicBezTo>
                    <a:pt x="3" y="0"/>
                    <a:pt x="0" y="2"/>
                    <a:pt x="0" y="5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80"/>
                    <a:pt x="3" y="83"/>
                    <a:pt x="7" y="83"/>
                  </a:cubicBezTo>
                  <a:cubicBezTo>
                    <a:pt x="10" y="83"/>
                    <a:pt x="13" y="80"/>
                    <a:pt x="13" y="78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2"/>
                    <a:pt x="10" y="0"/>
                    <a:pt x="7" y="0"/>
                  </a:cubicBezTo>
                  <a:close/>
                </a:path>
              </a:pathLst>
            </a:custGeom>
            <a:solidFill>
              <a:srgbClr val="A6A8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68" name="Freeform 8232"/>
            <p:cNvSpPr>
              <a:spLocks/>
            </p:cNvSpPr>
            <p:nvPr/>
          </p:nvSpPr>
          <p:spPr bwMode="auto">
            <a:xfrm>
              <a:off x="5182" y="2762"/>
              <a:ext cx="16" cy="101"/>
            </a:xfrm>
            <a:custGeom>
              <a:avLst/>
              <a:gdLst>
                <a:gd name="T0" fmla="*/ 7 w 13"/>
                <a:gd name="T1" fmla="*/ 0 h 83"/>
                <a:gd name="T2" fmla="*/ 0 w 13"/>
                <a:gd name="T3" fmla="*/ 5 h 83"/>
                <a:gd name="T4" fmla="*/ 0 w 13"/>
                <a:gd name="T5" fmla="*/ 78 h 83"/>
                <a:gd name="T6" fmla="*/ 7 w 13"/>
                <a:gd name="T7" fmla="*/ 83 h 83"/>
                <a:gd name="T8" fmla="*/ 13 w 13"/>
                <a:gd name="T9" fmla="*/ 78 h 83"/>
                <a:gd name="T10" fmla="*/ 13 w 13"/>
                <a:gd name="T11" fmla="*/ 5 h 83"/>
                <a:gd name="T12" fmla="*/ 7 w 13"/>
                <a:gd name="T13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83">
                  <a:moveTo>
                    <a:pt x="7" y="0"/>
                  </a:moveTo>
                  <a:cubicBezTo>
                    <a:pt x="3" y="0"/>
                    <a:pt x="0" y="2"/>
                    <a:pt x="0" y="5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80"/>
                    <a:pt x="3" y="83"/>
                    <a:pt x="7" y="83"/>
                  </a:cubicBezTo>
                  <a:cubicBezTo>
                    <a:pt x="10" y="83"/>
                    <a:pt x="13" y="80"/>
                    <a:pt x="13" y="78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2"/>
                    <a:pt x="10" y="0"/>
                    <a:pt x="7" y="0"/>
                  </a:cubicBezTo>
                  <a:close/>
                </a:path>
              </a:pathLst>
            </a:custGeom>
            <a:solidFill>
              <a:srgbClr val="A6A8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69" name="Freeform 8233"/>
            <p:cNvSpPr>
              <a:spLocks/>
            </p:cNvSpPr>
            <p:nvPr/>
          </p:nvSpPr>
          <p:spPr bwMode="auto">
            <a:xfrm>
              <a:off x="5236" y="2762"/>
              <a:ext cx="15" cy="101"/>
            </a:xfrm>
            <a:custGeom>
              <a:avLst/>
              <a:gdLst>
                <a:gd name="T0" fmla="*/ 7 w 13"/>
                <a:gd name="T1" fmla="*/ 0 h 83"/>
                <a:gd name="T2" fmla="*/ 0 w 13"/>
                <a:gd name="T3" fmla="*/ 5 h 83"/>
                <a:gd name="T4" fmla="*/ 0 w 13"/>
                <a:gd name="T5" fmla="*/ 78 h 83"/>
                <a:gd name="T6" fmla="*/ 7 w 13"/>
                <a:gd name="T7" fmla="*/ 83 h 83"/>
                <a:gd name="T8" fmla="*/ 13 w 13"/>
                <a:gd name="T9" fmla="*/ 78 h 83"/>
                <a:gd name="T10" fmla="*/ 13 w 13"/>
                <a:gd name="T11" fmla="*/ 5 h 83"/>
                <a:gd name="T12" fmla="*/ 7 w 13"/>
                <a:gd name="T13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83">
                  <a:moveTo>
                    <a:pt x="7" y="0"/>
                  </a:moveTo>
                  <a:cubicBezTo>
                    <a:pt x="3" y="0"/>
                    <a:pt x="0" y="2"/>
                    <a:pt x="0" y="5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80"/>
                    <a:pt x="3" y="83"/>
                    <a:pt x="7" y="83"/>
                  </a:cubicBezTo>
                  <a:cubicBezTo>
                    <a:pt x="10" y="83"/>
                    <a:pt x="13" y="80"/>
                    <a:pt x="13" y="78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2"/>
                    <a:pt x="10" y="0"/>
                    <a:pt x="7" y="0"/>
                  </a:cubicBezTo>
                  <a:close/>
                </a:path>
              </a:pathLst>
            </a:custGeom>
            <a:solidFill>
              <a:srgbClr val="A6A8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70" name="Freeform 8234"/>
            <p:cNvSpPr>
              <a:spLocks/>
            </p:cNvSpPr>
            <p:nvPr/>
          </p:nvSpPr>
          <p:spPr bwMode="auto">
            <a:xfrm>
              <a:off x="5289" y="2762"/>
              <a:ext cx="16" cy="101"/>
            </a:xfrm>
            <a:custGeom>
              <a:avLst/>
              <a:gdLst>
                <a:gd name="T0" fmla="*/ 7 w 13"/>
                <a:gd name="T1" fmla="*/ 0 h 83"/>
                <a:gd name="T2" fmla="*/ 0 w 13"/>
                <a:gd name="T3" fmla="*/ 5 h 83"/>
                <a:gd name="T4" fmla="*/ 0 w 13"/>
                <a:gd name="T5" fmla="*/ 78 h 83"/>
                <a:gd name="T6" fmla="*/ 7 w 13"/>
                <a:gd name="T7" fmla="*/ 83 h 83"/>
                <a:gd name="T8" fmla="*/ 13 w 13"/>
                <a:gd name="T9" fmla="*/ 78 h 83"/>
                <a:gd name="T10" fmla="*/ 13 w 13"/>
                <a:gd name="T11" fmla="*/ 5 h 83"/>
                <a:gd name="T12" fmla="*/ 7 w 13"/>
                <a:gd name="T13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83">
                  <a:moveTo>
                    <a:pt x="7" y="0"/>
                  </a:moveTo>
                  <a:cubicBezTo>
                    <a:pt x="3" y="0"/>
                    <a:pt x="0" y="2"/>
                    <a:pt x="0" y="5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80"/>
                    <a:pt x="3" y="83"/>
                    <a:pt x="7" y="83"/>
                  </a:cubicBezTo>
                  <a:cubicBezTo>
                    <a:pt x="10" y="83"/>
                    <a:pt x="13" y="80"/>
                    <a:pt x="13" y="78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2"/>
                    <a:pt x="10" y="0"/>
                    <a:pt x="7" y="0"/>
                  </a:cubicBezTo>
                  <a:close/>
                </a:path>
              </a:pathLst>
            </a:custGeom>
            <a:solidFill>
              <a:srgbClr val="A6A8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71" name="Freeform 8235"/>
            <p:cNvSpPr>
              <a:spLocks/>
            </p:cNvSpPr>
            <p:nvPr/>
          </p:nvSpPr>
          <p:spPr bwMode="auto">
            <a:xfrm>
              <a:off x="5343" y="2762"/>
              <a:ext cx="15" cy="101"/>
            </a:xfrm>
            <a:custGeom>
              <a:avLst/>
              <a:gdLst>
                <a:gd name="T0" fmla="*/ 7 w 13"/>
                <a:gd name="T1" fmla="*/ 0 h 83"/>
                <a:gd name="T2" fmla="*/ 0 w 13"/>
                <a:gd name="T3" fmla="*/ 5 h 83"/>
                <a:gd name="T4" fmla="*/ 0 w 13"/>
                <a:gd name="T5" fmla="*/ 78 h 83"/>
                <a:gd name="T6" fmla="*/ 7 w 13"/>
                <a:gd name="T7" fmla="*/ 83 h 83"/>
                <a:gd name="T8" fmla="*/ 13 w 13"/>
                <a:gd name="T9" fmla="*/ 78 h 83"/>
                <a:gd name="T10" fmla="*/ 13 w 13"/>
                <a:gd name="T11" fmla="*/ 5 h 83"/>
                <a:gd name="T12" fmla="*/ 7 w 13"/>
                <a:gd name="T13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83">
                  <a:moveTo>
                    <a:pt x="7" y="0"/>
                  </a:moveTo>
                  <a:cubicBezTo>
                    <a:pt x="3" y="0"/>
                    <a:pt x="0" y="2"/>
                    <a:pt x="0" y="5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80"/>
                    <a:pt x="3" y="83"/>
                    <a:pt x="7" y="83"/>
                  </a:cubicBezTo>
                  <a:cubicBezTo>
                    <a:pt x="10" y="83"/>
                    <a:pt x="13" y="80"/>
                    <a:pt x="13" y="78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2"/>
                    <a:pt x="10" y="0"/>
                    <a:pt x="7" y="0"/>
                  </a:cubicBezTo>
                  <a:close/>
                </a:path>
              </a:pathLst>
            </a:custGeom>
            <a:solidFill>
              <a:srgbClr val="A6A8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72" name="Freeform 8236"/>
            <p:cNvSpPr>
              <a:spLocks/>
            </p:cNvSpPr>
            <p:nvPr/>
          </p:nvSpPr>
          <p:spPr bwMode="auto">
            <a:xfrm>
              <a:off x="5396" y="2762"/>
              <a:ext cx="16" cy="101"/>
            </a:xfrm>
            <a:custGeom>
              <a:avLst/>
              <a:gdLst>
                <a:gd name="T0" fmla="*/ 7 w 13"/>
                <a:gd name="T1" fmla="*/ 0 h 83"/>
                <a:gd name="T2" fmla="*/ 0 w 13"/>
                <a:gd name="T3" fmla="*/ 5 h 83"/>
                <a:gd name="T4" fmla="*/ 0 w 13"/>
                <a:gd name="T5" fmla="*/ 78 h 83"/>
                <a:gd name="T6" fmla="*/ 7 w 13"/>
                <a:gd name="T7" fmla="*/ 83 h 83"/>
                <a:gd name="T8" fmla="*/ 13 w 13"/>
                <a:gd name="T9" fmla="*/ 78 h 83"/>
                <a:gd name="T10" fmla="*/ 13 w 13"/>
                <a:gd name="T11" fmla="*/ 5 h 83"/>
                <a:gd name="T12" fmla="*/ 7 w 13"/>
                <a:gd name="T13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83">
                  <a:moveTo>
                    <a:pt x="7" y="0"/>
                  </a:moveTo>
                  <a:cubicBezTo>
                    <a:pt x="3" y="0"/>
                    <a:pt x="0" y="2"/>
                    <a:pt x="0" y="5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80"/>
                    <a:pt x="3" y="83"/>
                    <a:pt x="7" y="83"/>
                  </a:cubicBezTo>
                  <a:cubicBezTo>
                    <a:pt x="10" y="83"/>
                    <a:pt x="13" y="80"/>
                    <a:pt x="13" y="78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2"/>
                    <a:pt x="10" y="0"/>
                    <a:pt x="7" y="0"/>
                  </a:cubicBezTo>
                  <a:close/>
                </a:path>
              </a:pathLst>
            </a:custGeom>
            <a:solidFill>
              <a:srgbClr val="A6A8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73" name="Freeform 8237"/>
            <p:cNvSpPr>
              <a:spLocks/>
            </p:cNvSpPr>
            <p:nvPr/>
          </p:nvSpPr>
          <p:spPr bwMode="auto">
            <a:xfrm>
              <a:off x="5450" y="2762"/>
              <a:ext cx="16" cy="101"/>
            </a:xfrm>
            <a:custGeom>
              <a:avLst/>
              <a:gdLst>
                <a:gd name="T0" fmla="*/ 7 w 13"/>
                <a:gd name="T1" fmla="*/ 0 h 83"/>
                <a:gd name="T2" fmla="*/ 0 w 13"/>
                <a:gd name="T3" fmla="*/ 5 h 83"/>
                <a:gd name="T4" fmla="*/ 0 w 13"/>
                <a:gd name="T5" fmla="*/ 78 h 83"/>
                <a:gd name="T6" fmla="*/ 7 w 13"/>
                <a:gd name="T7" fmla="*/ 83 h 83"/>
                <a:gd name="T8" fmla="*/ 13 w 13"/>
                <a:gd name="T9" fmla="*/ 78 h 83"/>
                <a:gd name="T10" fmla="*/ 13 w 13"/>
                <a:gd name="T11" fmla="*/ 5 h 83"/>
                <a:gd name="T12" fmla="*/ 7 w 13"/>
                <a:gd name="T13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83">
                  <a:moveTo>
                    <a:pt x="7" y="0"/>
                  </a:moveTo>
                  <a:cubicBezTo>
                    <a:pt x="3" y="0"/>
                    <a:pt x="0" y="2"/>
                    <a:pt x="0" y="5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80"/>
                    <a:pt x="3" y="83"/>
                    <a:pt x="7" y="83"/>
                  </a:cubicBezTo>
                  <a:cubicBezTo>
                    <a:pt x="10" y="83"/>
                    <a:pt x="13" y="80"/>
                    <a:pt x="13" y="78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2"/>
                    <a:pt x="10" y="0"/>
                    <a:pt x="7" y="0"/>
                  </a:cubicBezTo>
                  <a:close/>
                </a:path>
              </a:pathLst>
            </a:custGeom>
            <a:solidFill>
              <a:srgbClr val="A6A8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9317" name="Group 8439"/>
          <p:cNvGrpSpPr>
            <a:grpSpLocks/>
          </p:cNvGrpSpPr>
          <p:nvPr/>
        </p:nvGrpSpPr>
        <p:grpSpPr bwMode="auto">
          <a:xfrm>
            <a:off x="8047038" y="4384675"/>
            <a:ext cx="928688" cy="249238"/>
            <a:chOff x="5069" y="2762"/>
            <a:chExt cx="585" cy="157"/>
          </a:xfrm>
        </p:grpSpPr>
        <p:sp>
          <p:nvSpPr>
            <p:cNvPr id="9474" name="Freeform 8239"/>
            <p:cNvSpPr>
              <a:spLocks/>
            </p:cNvSpPr>
            <p:nvPr/>
          </p:nvSpPr>
          <p:spPr bwMode="auto">
            <a:xfrm>
              <a:off x="5503" y="2762"/>
              <a:ext cx="16" cy="101"/>
            </a:xfrm>
            <a:custGeom>
              <a:avLst/>
              <a:gdLst>
                <a:gd name="T0" fmla="*/ 7 w 13"/>
                <a:gd name="T1" fmla="*/ 0 h 83"/>
                <a:gd name="T2" fmla="*/ 0 w 13"/>
                <a:gd name="T3" fmla="*/ 5 h 83"/>
                <a:gd name="T4" fmla="*/ 0 w 13"/>
                <a:gd name="T5" fmla="*/ 78 h 83"/>
                <a:gd name="T6" fmla="*/ 7 w 13"/>
                <a:gd name="T7" fmla="*/ 83 h 83"/>
                <a:gd name="T8" fmla="*/ 13 w 13"/>
                <a:gd name="T9" fmla="*/ 78 h 83"/>
                <a:gd name="T10" fmla="*/ 13 w 13"/>
                <a:gd name="T11" fmla="*/ 5 h 83"/>
                <a:gd name="T12" fmla="*/ 7 w 13"/>
                <a:gd name="T13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83">
                  <a:moveTo>
                    <a:pt x="7" y="0"/>
                  </a:moveTo>
                  <a:cubicBezTo>
                    <a:pt x="3" y="0"/>
                    <a:pt x="0" y="2"/>
                    <a:pt x="0" y="5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80"/>
                    <a:pt x="3" y="83"/>
                    <a:pt x="7" y="83"/>
                  </a:cubicBezTo>
                  <a:cubicBezTo>
                    <a:pt x="10" y="83"/>
                    <a:pt x="13" y="80"/>
                    <a:pt x="13" y="78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2"/>
                    <a:pt x="10" y="0"/>
                    <a:pt x="7" y="0"/>
                  </a:cubicBezTo>
                  <a:close/>
                </a:path>
              </a:pathLst>
            </a:custGeom>
            <a:solidFill>
              <a:srgbClr val="A6A8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475" name="Freeform 8240"/>
            <p:cNvSpPr>
              <a:spLocks/>
            </p:cNvSpPr>
            <p:nvPr/>
          </p:nvSpPr>
          <p:spPr bwMode="auto">
            <a:xfrm>
              <a:off x="5557" y="2762"/>
              <a:ext cx="16" cy="101"/>
            </a:xfrm>
            <a:custGeom>
              <a:avLst/>
              <a:gdLst>
                <a:gd name="T0" fmla="*/ 7 w 13"/>
                <a:gd name="T1" fmla="*/ 0 h 83"/>
                <a:gd name="T2" fmla="*/ 0 w 13"/>
                <a:gd name="T3" fmla="*/ 5 h 83"/>
                <a:gd name="T4" fmla="*/ 0 w 13"/>
                <a:gd name="T5" fmla="*/ 78 h 83"/>
                <a:gd name="T6" fmla="*/ 7 w 13"/>
                <a:gd name="T7" fmla="*/ 83 h 83"/>
                <a:gd name="T8" fmla="*/ 13 w 13"/>
                <a:gd name="T9" fmla="*/ 78 h 83"/>
                <a:gd name="T10" fmla="*/ 13 w 13"/>
                <a:gd name="T11" fmla="*/ 5 h 83"/>
                <a:gd name="T12" fmla="*/ 7 w 13"/>
                <a:gd name="T13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83">
                  <a:moveTo>
                    <a:pt x="7" y="0"/>
                  </a:moveTo>
                  <a:cubicBezTo>
                    <a:pt x="3" y="0"/>
                    <a:pt x="0" y="2"/>
                    <a:pt x="0" y="5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80"/>
                    <a:pt x="3" y="83"/>
                    <a:pt x="7" y="83"/>
                  </a:cubicBezTo>
                  <a:cubicBezTo>
                    <a:pt x="10" y="83"/>
                    <a:pt x="13" y="80"/>
                    <a:pt x="13" y="78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2"/>
                    <a:pt x="10" y="0"/>
                    <a:pt x="7" y="0"/>
                  </a:cubicBezTo>
                  <a:close/>
                </a:path>
              </a:pathLst>
            </a:custGeom>
            <a:solidFill>
              <a:srgbClr val="A6A8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476" name="Freeform 8241"/>
            <p:cNvSpPr>
              <a:spLocks/>
            </p:cNvSpPr>
            <p:nvPr/>
          </p:nvSpPr>
          <p:spPr bwMode="auto">
            <a:xfrm>
              <a:off x="5610" y="2762"/>
              <a:ext cx="16" cy="101"/>
            </a:xfrm>
            <a:custGeom>
              <a:avLst/>
              <a:gdLst>
                <a:gd name="T0" fmla="*/ 7 w 13"/>
                <a:gd name="T1" fmla="*/ 0 h 83"/>
                <a:gd name="T2" fmla="*/ 0 w 13"/>
                <a:gd name="T3" fmla="*/ 5 h 83"/>
                <a:gd name="T4" fmla="*/ 0 w 13"/>
                <a:gd name="T5" fmla="*/ 78 h 83"/>
                <a:gd name="T6" fmla="*/ 7 w 13"/>
                <a:gd name="T7" fmla="*/ 83 h 83"/>
                <a:gd name="T8" fmla="*/ 13 w 13"/>
                <a:gd name="T9" fmla="*/ 78 h 83"/>
                <a:gd name="T10" fmla="*/ 13 w 13"/>
                <a:gd name="T11" fmla="*/ 5 h 83"/>
                <a:gd name="T12" fmla="*/ 7 w 13"/>
                <a:gd name="T13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83">
                  <a:moveTo>
                    <a:pt x="7" y="0"/>
                  </a:moveTo>
                  <a:cubicBezTo>
                    <a:pt x="3" y="0"/>
                    <a:pt x="0" y="2"/>
                    <a:pt x="0" y="5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80"/>
                    <a:pt x="3" y="83"/>
                    <a:pt x="7" y="83"/>
                  </a:cubicBezTo>
                  <a:cubicBezTo>
                    <a:pt x="10" y="83"/>
                    <a:pt x="13" y="80"/>
                    <a:pt x="13" y="78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2"/>
                    <a:pt x="10" y="0"/>
                    <a:pt x="7" y="0"/>
                  </a:cubicBezTo>
                  <a:close/>
                </a:path>
              </a:pathLst>
            </a:custGeom>
            <a:solidFill>
              <a:srgbClr val="A6A8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477" name="Freeform 8242"/>
            <p:cNvSpPr>
              <a:spLocks/>
            </p:cNvSpPr>
            <p:nvPr/>
          </p:nvSpPr>
          <p:spPr bwMode="auto">
            <a:xfrm>
              <a:off x="5071" y="2765"/>
              <a:ext cx="16" cy="101"/>
            </a:xfrm>
            <a:custGeom>
              <a:avLst/>
              <a:gdLst>
                <a:gd name="T0" fmla="*/ 6 w 13"/>
                <a:gd name="T1" fmla="*/ 0 h 83"/>
                <a:gd name="T2" fmla="*/ 0 w 13"/>
                <a:gd name="T3" fmla="*/ 5 h 83"/>
                <a:gd name="T4" fmla="*/ 0 w 13"/>
                <a:gd name="T5" fmla="*/ 77 h 83"/>
                <a:gd name="T6" fmla="*/ 6 w 13"/>
                <a:gd name="T7" fmla="*/ 83 h 83"/>
                <a:gd name="T8" fmla="*/ 13 w 13"/>
                <a:gd name="T9" fmla="*/ 77 h 83"/>
                <a:gd name="T10" fmla="*/ 13 w 13"/>
                <a:gd name="T11" fmla="*/ 5 h 83"/>
                <a:gd name="T12" fmla="*/ 6 w 13"/>
                <a:gd name="T13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83">
                  <a:moveTo>
                    <a:pt x="6" y="0"/>
                  </a:moveTo>
                  <a:cubicBezTo>
                    <a:pt x="3" y="0"/>
                    <a:pt x="0" y="2"/>
                    <a:pt x="0" y="5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0" y="80"/>
                    <a:pt x="3" y="83"/>
                    <a:pt x="6" y="83"/>
                  </a:cubicBezTo>
                  <a:cubicBezTo>
                    <a:pt x="10" y="83"/>
                    <a:pt x="13" y="80"/>
                    <a:pt x="13" y="77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2"/>
                    <a:pt x="10" y="0"/>
                    <a:pt x="6" y="0"/>
                  </a:cubicBezTo>
                  <a:close/>
                </a:path>
              </a:pathLst>
            </a:custGeom>
            <a:solidFill>
              <a:srgbClr val="AE7B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478" name="Freeform 8243"/>
            <p:cNvSpPr>
              <a:spLocks/>
            </p:cNvSpPr>
            <p:nvPr/>
          </p:nvSpPr>
          <p:spPr bwMode="auto">
            <a:xfrm>
              <a:off x="5125" y="2765"/>
              <a:ext cx="16" cy="101"/>
            </a:xfrm>
            <a:custGeom>
              <a:avLst/>
              <a:gdLst>
                <a:gd name="T0" fmla="*/ 6 w 13"/>
                <a:gd name="T1" fmla="*/ 0 h 83"/>
                <a:gd name="T2" fmla="*/ 0 w 13"/>
                <a:gd name="T3" fmla="*/ 5 h 83"/>
                <a:gd name="T4" fmla="*/ 0 w 13"/>
                <a:gd name="T5" fmla="*/ 77 h 83"/>
                <a:gd name="T6" fmla="*/ 6 w 13"/>
                <a:gd name="T7" fmla="*/ 83 h 83"/>
                <a:gd name="T8" fmla="*/ 13 w 13"/>
                <a:gd name="T9" fmla="*/ 77 h 83"/>
                <a:gd name="T10" fmla="*/ 13 w 13"/>
                <a:gd name="T11" fmla="*/ 5 h 83"/>
                <a:gd name="T12" fmla="*/ 6 w 13"/>
                <a:gd name="T13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83">
                  <a:moveTo>
                    <a:pt x="6" y="0"/>
                  </a:moveTo>
                  <a:cubicBezTo>
                    <a:pt x="3" y="0"/>
                    <a:pt x="0" y="2"/>
                    <a:pt x="0" y="5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0" y="80"/>
                    <a:pt x="3" y="83"/>
                    <a:pt x="6" y="83"/>
                  </a:cubicBezTo>
                  <a:cubicBezTo>
                    <a:pt x="10" y="83"/>
                    <a:pt x="13" y="80"/>
                    <a:pt x="13" y="77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2"/>
                    <a:pt x="10" y="0"/>
                    <a:pt x="6" y="0"/>
                  </a:cubicBezTo>
                  <a:close/>
                </a:path>
              </a:pathLst>
            </a:custGeom>
            <a:solidFill>
              <a:srgbClr val="AE7B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479" name="Freeform 8244"/>
            <p:cNvSpPr>
              <a:spLocks/>
            </p:cNvSpPr>
            <p:nvPr/>
          </p:nvSpPr>
          <p:spPr bwMode="auto">
            <a:xfrm>
              <a:off x="5178" y="2765"/>
              <a:ext cx="16" cy="101"/>
            </a:xfrm>
            <a:custGeom>
              <a:avLst/>
              <a:gdLst>
                <a:gd name="T0" fmla="*/ 6 w 13"/>
                <a:gd name="T1" fmla="*/ 0 h 83"/>
                <a:gd name="T2" fmla="*/ 0 w 13"/>
                <a:gd name="T3" fmla="*/ 5 h 83"/>
                <a:gd name="T4" fmla="*/ 0 w 13"/>
                <a:gd name="T5" fmla="*/ 77 h 83"/>
                <a:gd name="T6" fmla="*/ 6 w 13"/>
                <a:gd name="T7" fmla="*/ 83 h 83"/>
                <a:gd name="T8" fmla="*/ 13 w 13"/>
                <a:gd name="T9" fmla="*/ 77 h 83"/>
                <a:gd name="T10" fmla="*/ 13 w 13"/>
                <a:gd name="T11" fmla="*/ 5 h 83"/>
                <a:gd name="T12" fmla="*/ 6 w 13"/>
                <a:gd name="T13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83">
                  <a:moveTo>
                    <a:pt x="6" y="0"/>
                  </a:moveTo>
                  <a:cubicBezTo>
                    <a:pt x="3" y="0"/>
                    <a:pt x="0" y="2"/>
                    <a:pt x="0" y="5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0" y="80"/>
                    <a:pt x="3" y="83"/>
                    <a:pt x="6" y="83"/>
                  </a:cubicBezTo>
                  <a:cubicBezTo>
                    <a:pt x="10" y="83"/>
                    <a:pt x="13" y="80"/>
                    <a:pt x="13" y="77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2"/>
                    <a:pt x="10" y="0"/>
                    <a:pt x="6" y="0"/>
                  </a:cubicBezTo>
                  <a:close/>
                </a:path>
              </a:pathLst>
            </a:custGeom>
            <a:solidFill>
              <a:srgbClr val="AE7B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480" name="Freeform 8245"/>
            <p:cNvSpPr>
              <a:spLocks/>
            </p:cNvSpPr>
            <p:nvPr/>
          </p:nvSpPr>
          <p:spPr bwMode="auto">
            <a:xfrm>
              <a:off x="5232" y="2765"/>
              <a:ext cx="16" cy="101"/>
            </a:xfrm>
            <a:custGeom>
              <a:avLst/>
              <a:gdLst>
                <a:gd name="T0" fmla="*/ 6 w 13"/>
                <a:gd name="T1" fmla="*/ 0 h 83"/>
                <a:gd name="T2" fmla="*/ 0 w 13"/>
                <a:gd name="T3" fmla="*/ 5 h 83"/>
                <a:gd name="T4" fmla="*/ 0 w 13"/>
                <a:gd name="T5" fmla="*/ 77 h 83"/>
                <a:gd name="T6" fmla="*/ 6 w 13"/>
                <a:gd name="T7" fmla="*/ 83 h 83"/>
                <a:gd name="T8" fmla="*/ 13 w 13"/>
                <a:gd name="T9" fmla="*/ 77 h 83"/>
                <a:gd name="T10" fmla="*/ 13 w 13"/>
                <a:gd name="T11" fmla="*/ 5 h 83"/>
                <a:gd name="T12" fmla="*/ 6 w 13"/>
                <a:gd name="T13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83">
                  <a:moveTo>
                    <a:pt x="6" y="0"/>
                  </a:moveTo>
                  <a:cubicBezTo>
                    <a:pt x="3" y="0"/>
                    <a:pt x="0" y="2"/>
                    <a:pt x="0" y="5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0" y="80"/>
                    <a:pt x="3" y="83"/>
                    <a:pt x="6" y="83"/>
                  </a:cubicBezTo>
                  <a:cubicBezTo>
                    <a:pt x="10" y="83"/>
                    <a:pt x="13" y="80"/>
                    <a:pt x="13" y="77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2"/>
                    <a:pt x="10" y="0"/>
                    <a:pt x="6" y="0"/>
                  </a:cubicBezTo>
                  <a:close/>
                </a:path>
              </a:pathLst>
            </a:custGeom>
            <a:solidFill>
              <a:srgbClr val="AE7B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481" name="Freeform 8246"/>
            <p:cNvSpPr>
              <a:spLocks/>
            </p:cNvSpPr>
            <p:nvPr/>
          </p:nvSpPr>
          <p:spPr bwMode="auto">
            <a:xfrm>
              <a:off x="5285" y="2765"/>
              <a:ext cx="16" cy="101"/>
            </a:xfrm>
            <a:custGeom>
              <a:avLst/>
              <a:gdLst>
                <a:gd name="T0" fmla="*/ 6 w 13"/>
                <a:gd name="T1" fmla="*/ 0 h 83"/>
                <a:gd name="T2" fmla="*/ 0 w 13"/>
                <a:gd name="T3" fmla="*/ 5 h 83"/>
                <a:gd name="T4" fmla="*/ 0 w 13"/>
                <a:gd name="T5" fmla="*/ 77 h 83"/>
                <a:gd name="T6" fmla="*/ 6 w 13"/>
                <a:gd name="T7" fmla="*/ 83 h 83"/>
                <a:gd name="T8" fmla="*/ 13 w 13"/>
                <a:gd name="T9" fmla="*/ 77 h 83"/>
                <a:gd name="T10" fmla="*/ 13 w 13"/>
                <a:gd name="T11" fmla="*/ 5 h 83"/>
                <a:gd name="T12" fmla="*/ 6 w 13"/>
                <a:gd name="T13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83">
                  <a:moveTo>
                    <a:pt x="6" y="0"/>
                  </a:moveTo>
                  <a:cubicBezTo>
                    <a:pt x="3" y="0"/>
                    <a:pt x="0" y="2"/>
                    <a:pt x="0" y="5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0" y="80"/>
                    <a:pt x="3" y="83"/>
                    <a:pt x="6" y="83"/>
                  </a:cubicBezTo>
                  <a:cubicBezTo>
                    <a:pt x="10" y="83"/>
                    <a:pt x="13" y="80"/>
                    <a:pt x="13" y="77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2"/>
                    <a:pt x="10" y="0"/>
                    <a:pt x="6" y="0"/>
                  </a:cubicBezTo>
                  <a:close/>
                </a:path>
              </a:pathLst>
            </a:custGeom>
            <a:solidFill>
              <a:srgbClr val="AE7B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482" name="Freeform 8247"/>
            <p:cNvSpPr>
              <a:spLocks/>
            </p:cNvSpPr>
            <p:nvPr/>
          </p:nvSpPr>
          <p:spPr bwMode="auto">
            <a:xfrm>
              <a:off x="5339" y="2765"/>
              <a:ext cx="16" cy="101"/>
            </a:xfrm>
            <a:custGeom>
              <a:avLst/>
              <a:gdLst>
                <a:gd name="T0" fmla="*/ 6 w 13"/>
                <a:gd name="T1" fmla="*/ 0 h 83"/>
                <a:gd name="T2" fmla="*/ 0 w 13"/>
                <a:gd name="T3" fmla="*/ 5 h 83"/>
                <a:gd name="T4" fmla="*/ 0 w 13"/>
                <a:gd name="T5" fmla="*/ 77 h 83"/>
                <a:gd name="T6" fmla="*/ 6 w 13"/>
                <a:gd name="T7" fmla="*/ 83 h 83"/>
                <a:gd name="T8" fmla="*/ 13 w 13"/>
                <a:gd name="T9" fmla="*/ 77 h 83"/>
                <a:gd name="T10" fmla="*/ 13 w 13"/>
                <a:gd name="T11" fmla="*/ 5 h 83"/>
                <a:gd name="T12" fmla="*/ 6 w 13"/>
                <a:gd name="T13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83">
                  <a:moveTo>
                    <a:pt x="6" y="0"/>
                  </a:moveTo>
                  <a:cubicBezTo>
                    <a:pt x="3" y="0"/>
                    <a:pt x="0" y="2"/>
                    <a:pt x="0" y="5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0" y="80"/>
                    <a:pt x="3" y="83"/>
                    <a:pt x="6" y="83"/>
                  </a:cubicBezTo>
                  <a:cubicBezTo>
                    <a:pt x="10" y="83"/>
                    <a:pt x="13" y="80"/>
                    <a:pt x="13" y="77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2"/>
                    <a:pt x="10" y="0"/>
                    <a:pt x="6" y="0"/>
                  </a:cubicBezTo>
                  <a:close/>
                </a:path>
              </a:pathLst>
            </a:custGeom>
            <a:solidFill>
              <a:srgbClr val="AE7B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483" name="Freeform 8248"/>
            <p:cNvSpPr>
              <a:spLocks/>
            </p:cNvSpPr>
            <p:nvPr/>
          </p:nvSpPr>
          <p:spPr bwMode="auto">
            <a:xfrm>
              <a:off x="5393" y="2765"/>
              <a:ext cx="15" cy="101"/>
            </a:xfrm>
            <a:custGeom>
              <a:avLst/>
              <a:gdLst>
                <a:gd name="T0" fmla="*/ 6 w 13"/>
                <a:gd name="T1" fmla="*/ 0 h 83"/>
                <a:gd name="T2" fmla="*/ 0 w 13"/>
                <a:gd name="T3" fmla="*/ 5 h 83"/>
                <a:gd name="T4" fmla="*/ 0 w 13"/>
                <a:gd name="T5" fmla="*/ 77 h 83"/>
                <a:gd name="T6" fmla="*/ 6 w 13"/>
                <a:gd name="T7" fmla="*/ 83 h 83"/>
                <a:gd name="T8" fmla="*/ 13 w 13"/>
                <a:gd name="T9" fmla="*/ 77 h 83"/>
                <a:gd name="T10" fmla="*/ 13 w 13"/>
                <a:gd name="T11" fmla="*/ 5 h 83"/>
                <a:gd name="T12" fmla="*/ 6 w 13"/>
                <a:gd name="T13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83">
                  <a:moveTo>
                    <a:pt x="6" y="0"/>
                  </a:moveTo>
                  <a:cubicBezTo>
                    <a:pt x="3" y="0"/>
                    <a:pt x="0" y="2"/>
                    <a:pt x="0" y="5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0" y="80"/>
                    <a:pt x="3" y="83"/>
                    <a:pt x="6" y="83"/>
                  </a:cubicBezTo>
                  <a:cubicBezTo>
                    <a:pt x="10" y="83"/>
                    <a:pt x="13" y="80"/>
                    <a:pt x="13" y="77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2"/>
                    <a:pt x="10" y="0"/>
                    <a:pt x="6" y="0"/>
                  </a:cubicBezTo>
                  <a:close/>
                </a:path>
              </a:pathLst>
            </a:custGeom>
            <a:solidFill>
              <a:srgbClr val="AE7B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484" name="Freeform 8249"/>
            <p:cNvSpPr>
              <a:spLocks/>
            </p:cNvSpPr>
            <p:nvPr/>
          </p:nvSpPr>
          <p:spPr bwMode="auto">
            <a:xfrm>
              <a:off x="5446" y="2765"/>
              <a:ext cx="16" cy="101"/>
            </a:xfrm>
            <a:custGeom>
              <a:avLst/>
              <a:gdLst>
                <a:gd name="T0" fmla="*/ 6 w 13"/>
                <a:gd name="T1" fmla="*/ 0 h 83"/>
                <a:gd name="T2" fmla="*/ 0 w 13"/>
                <a:gd name="T3" fmla="*/ 5 h 83"/>
                <a:gd name="T4" fmla="*/ 0 w 13"/>
                <a:gd name="T5" fmla="*/ 77 h 83"/>
                <a:gd name="T6" fmla="*/ 6 w 13"/>
                <a:gd name="T7" fmla="*/ 83 h 83"/>
                <a:gd name="T8" fmla="*/ 13 w 13"/>
                <a:gd name="T9" fmla="*/ 77 h 83"/>
                <a:gd name="T10" fmla="*/ 13 w 13"/>
                <a:gd name="T11" fmla="*/ 5 h 83"/>
                <a:gd name="T12" fmla="*/ 6 w 13"/>
                <a:gd name="T13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83">
                  <a:moveTo>
                    <a:pt x="6" y="0"/>
                  </a:moveTo>
                  <a:cubicBezTo>
                    <a:pt x="3" y="0"/>
                    <a:pt x="0" y="2"/>
                    <a:pt x="0" y="5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0" y="80"/>
                    <a:pt x="3" y="83"/>
                    <a:pt x="6" y="83"/>
                  </a:cubicBezTo>
                  <a:cubicBezTo>
                    <a:pt x="10" y="83"/>
                    <a:pt x="13" y="80"/>
                    <a:pt x="13" y="77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2"/>
                    <a:pt x="10" y="0"/>
                    <a:pt x="6" y="0"/>
                  </a:cubicBezTo>
                  <a:close/>
                </a:path>
              </a:pathLst>
            </a:custGeom>
            <a:solidFill>
              <a:srgbClr val="AE7B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485" name="Freeform 8250"/>
            <p:cNvSpPr>
              <a:spLocks/>
            </p:cNvSpPr>
            <p:nvPr/>
          </p:nvSpPr>
          <p:spPr bwMode="auto">
            <a:xfrm>
              <a:off x="5500" y="2765"/>
              <a:ext cx="15" cy="101"/>
            </a:xfrm>
            <a:custGeom>
              <a:avLst/>
              <a:gdLst>
                <a:gd name="T0" fmla="*/ 6 w 13"/>
                <a:gd name="T1" fmla="*/ 0 h 83"/>
                <a:gd name="T2" fmla="*/ 0 w 13"/>
                <a:gd name="T3" fmla="*/ 5 h 83"/>
                <a:gd name="T4" fmla="*/ 0 w 13"/>
                <a:gd name="T5" fmla="*/ 77 h 83"/>
                <a:gd name="T6" fmla="*/ 6 w 13"/>
                <a:gd name="T7" fmla="*/ 83 h 83"/>
                <a:gd name="T8" fmla="*/ 13 w 13"/>
                <a:gd name="T9" fmla="*/ 77 h 83"/>
                <a:gd name="T10" fmla="*/ 13 w 13"/>
                <a:gd name="T11" fmla="*/ 5 h 83"/>
                <a:gd name="T12" fmla="*/ 6 w 13"/>
                <a:gd name="T13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83">
                  <a:moveTo>
                    <a:pt x="6" y="0"/>
                  </a:moveTo>
                  <a:cubicBezTo>
                    <a:pt x="3" y="0"/>
                    <a:pt x="0" y="2"/>
                    <a:pt x="0" y="5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0" y="80"/>
                    <a:pt x="3" y="83"/>
                    <a:pt x="6" y="83"/>
                  </a:cubicBezTo>
                  <a:cubicBezTo>
                    <a:pt x="10" y="83"/>
                    <a:pt x="13" y="80"/>
                    <a:pt x="13" y="77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2"/>
                    <a:pt x="10" y="0"/>
                    <a:pt x="6" y="0"/>
                  </a:cubicBezTo>
                  <a:close/>
                </a:path>
              </a:pathLst>
            </a:custGeom>
            <a:solidFill>
              <a:srgbClr val="AE7B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486" name="Freeform 8251"/>
            <p:cNvSpPr>
              <a:spLocks/>
            </p:cNvSpPr>
            <p:nvPr/>
          </p:nvSpPr>
          <p:spPr bwMode="auto">
            <a:xfrm>
              <a:off x="5553" y="2765"/>
              <a:ext cx="16" cy="101"/>
            </a:xfrm>
            <a:custGeom>
              <a:avLst/>
              <a:gdLst>
                <a:gd name="T0" fmla="*/ 6 w 13"/>
                <a:gd name="T1" fmla="*/ 0 h 83"/>
                <a:gd name="T2" fmla="*/ 0 w 13"/>
                <a:gd name="T3" fmla="*/ 5 h 83"/>
                <a:gd name="T4" fmla="*/ 0 w 13"/>
                <a:gd name="T5" fmla="*/ 77 h 83"/>
                <a:gd name="T6" fmla="*/ 6 w 13"/>
                <a:gd name="T7" fmla="*/ 83 h 83"/>
                <a:gd name="T8" fmla="*/ 13 w 13"/>
                <a:gd name="T9" fmla="*/ 77 h 83"/>
                <a:gd name="T10" fmla="*/ 13 w 13"/>
                <a:gd name="T11" fmla="*/ 5 h 83"/>
                <a:gd name="T12" fmla="*/ 6 w 13"/>
                <a:gd name="T13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83">
                  <a:moveTo>
                    <a:pt x="6" y="0"/>
                  </a:moveTo>
                  <a:cubicBezTo>
                    <a:pt x="3" y="0"/>
                    <a:pt x="0" y="2"/>
                    <a:pt x="0" y="5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0" y="80"/>
                    <a:pt x="3" y="83"/>
                    <a:pt x="6" y="83"/>
                  </a:cubicBezTo>
                  <a:cubicBezTo>
                    <a:pt x="10" y="83"/>
                    <a:pt x="13" y="80"/>
                    <a:pt x="13" y="77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2"/>
                    <a:pt x="10" y="0"/>
                    <a:pt x="6" y="0"/>
                  </a:cubicBezTo>
                  <a:close/>
                </a:path>
              </a:pathLst>
            </a:custGeom>
            <a:solidFill>
              <a:srgbClr val="AE7B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487" name="Freeform 8252"/>
            <p:cNvSpPr>
              <a:spLocks/>
            </p:cNvSpPr>
            <p:nvPr/>
          </p:nvSpPr>
          <p:spPr bwMode="auto">
            <a:xfrm>
              <a:off x="5607" y="2765"/>
              <a:ext cx="16" cy="101"/>
            </a:xfrm>
            <a:custGeom>
              <a:avLst/>
              <a:gdLst>
                <a:gd name="T0" fmla="*/ 6 w 13"/>
                <a:gd name="T1" fmla="*/ 0 h 83"/>
                <a:gd name="T2" fmla="*/ 0 w 13"/>
                <a:gd name="T3" fmla="*/ 5 h 83"/>
                <a:gd name="T4" fmla="*/ 0 w 13"/>
                <a:gd name="T5" fmla="*/ 77 h 83"/>
                <a:gd name="T6" fmla="*/ 6 w 13"/>
                <a:gd name="T7" fmla="*/ 83 h 83"/>
                <a:gd name="T8" fmla="*/ 13 w 13"/>
                <a:gd name="T9" fmla="*/ 77 h 83"/>
                <a:gd name="T10" fmla="*/ 13 w 13"/>
                <a:gd name="T11" fmla="*/ 5 h 83"/>
                <a:gd name="T12" fmla="*/ 6 w 13"/>
                <a:gd name="T13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83">
                  <a:moveTo>
                    <a:pt x="6" y="0"/>
                  </a:moveTo>
                  <a:cubicBezTo>
                    <a:pt x="3" y="0"/>
                    <a:pt x="0" y="2"/>
                    <a:pt x="0" y="5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0" y="80"/>
                    <a:pt x="3" y="83"/>
                    <a:pt x="6" y="83"/>
                  </a:cubicBezTo>
                  <a:cubicBezTo>
                    <a:pt x="10" y="83"/>
                    <a:pt x="13" y="80"/>
                    <a:pt x="13" y="77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2"/>
                    <a:pt x="10" y="0"/>
                    <a:pt x="6" y="0"/>
                  </a:cubicBezTo>
                  <a:close/>
                </a:path>
              </a:pathLst>
            </a:custGeom>
            <a:solidFill>
              <a:srgbClr val="AE7B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488" name="Rectangle 8253"/>
            <p:cNvSpPr>
              <a:spLocks noChangeArrowheads="1"/>
            </p:cNvSpPr>
            <p:nvPr/>
          </p:nvSpPr>
          <p:spPr bwMode="auto">
            <a:xfrm>
              <a:off x="5069" y="2784"/>
              <a:ext cx="562" cy="6"/>
            </a:xfrm>
            <a:prstGeom prst="rect">
              <a:avLst/>
            </a:prstGeom>
            <a:solidFill>
              <a:srgbClr val="8247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489" name="Rectangle 8254"/>
            <p:cNvSpPr>
              <a:spLocks noChangeArrowheads="1"/>
            </p:cNvSpPr>
            <p:nvPr/>
          </p:nvSpPr>
          <p:spPr bwMode="auto">
            <a:xfrm>
              <a:off x="5069" y="2832"/>
              <a:ext cx="562" cy="6"/>
            </a:xfrm>
            <a:prstGeom prst="rect">
              <a:avLst/>
            </a:prstGeom>
            <a:solidFill>
              <a:srgbClr val="8247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490" name="Freeform 8255"/>
            <p:cNvSpPr>
              <a:spLocks/>
            </p:cNvSpPr>
            <p:nvPr/>
          </p:nvSpPr>
          <p:spPr bwMode="auto">
            <a:xfrm>
              <a:off x="5463" y="2894"/>
              <a:ext cx="21" cy="20"/>
            </a:xfrm>
            <a:custGeom>
              <a:avLst/>
              <a:gdLst>
                <a:gd name="T0" fmla="*/ 8 w 17"/>
                <a:gd name="T1" fmla="*/ 0 h 17"/>
                <a:gd name="T2" fmla="*/ 9 w 17"/>
                <a:gd name="T3" fmla="*/ 17 h 17"/>
                <a:gd name="T4" fmla="*/ 8 w 17"/>
                <a:gd name="T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17">
                  <a:moveTo>
                    <a:pt x="8" y="0"/>
                  </a:moveTo>
                  <a:cubicBezTo>
                    <a:pt x="0" y="8"/>
                    <a:pt x="9" y="17"/>
                    <a:pt x="9" y="17"/>
                  </a:cubicBezTo>
                  <a:cubicBezTo>
                    <a:pt x="9" y="17"/>
                    <a:pt x="17" y="8"/>
                    <a:pt x="8" y="0"/>
                  </a:cubicBezTo>
                  <a:close/>
                </a:path>
              </a:pathLst>
            </a:custGeom>
            <a:solidFill>
              <a:srgbClr val="6FA5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491" name="Freeform 8256"/>
            <p:cNvSpPr>
              <a:spLocks/>
            </p:cNvSpPr>
            <p:nvPr/>
          </p:nvSpPr>
          <p:spPr bwMode="auto">
            <a:xfrm>
              <a:off x="5467" y="2894"/>
              <a:ext cx="12" cy="13"/>
            </a:xfrm>
            <a:custGeom>
              <a:avLst/>
              <a:gdLst>
                <a:gd name="T0" fmla="*/ 6 w 10"/>
                <a:gd name="T1" fmla="*/ 11 h 11"/>
                <a:gd name="T2" fmla="*/ 5 w 10"/>
                <a:gd name="T3" fmla="*/ 0 h 11"/>
                <a:gd name="T4" fmla="*/ 6 w 10"/>
                <a:gd name="T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1">
                  <a:moveTo>
                    <a:pt x="6" y="11"/>
                  </a:moveTo>
                  <a:cubicBezTo>
                    <a:pt x="6" y="11"/>
                    <a:pt x="10" y="5"/>
                    <a:pt x="5" y="0"/>
                  </a:cubicBezTo>
                  <a:cubicBezTo>
                    <a:pt x="0" y="5"/>
                    <a:pt x="6" y="11"/>
                    <a:pt x="6" y="11"/>
                  </a:cubicBezTo>
                  <a:close/>
                </a:path>
              </a:pathLst>
            </a:custGeom>
            <a:solidFill>
              <a:srgbClr val="84C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492" name="Freeform 8257"/>
            <p:cNvSpPr>
              <a:spLocks/>
            </p:cNvSpPr>
            <p:nvPr/>
          </p:nvSpPr>
          <p:spPr bwMode="auto">
            <a:xfrm>
              <a:off x="5399" y="2856"/>
              <a:ext cx="15" cy="15"/>
            </a:xfrm>
            <a:custGeom>
              <a:avLst/>
              <a:gdLst>
                <a:gd name="T0" fmla="*/ 0 w 13"/>
                <a:gd name="T1" fmla="*/ 0 h 12"/>
                <a:gd name="T2" fmla="*/ 12 w 13"/>
                <a:gd name="T3" fmla="*/ 12 h 12"/>
                <a:gd name="T4" fmla="*/ 0 w 13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2">
                  <a:moveTo>
                    <a:pt x="0" y="0"/>
                  </a:moveTo>
                  <a:cubicBezTo>
                    <a:pt x="0" y="0"/>
                    <a:pt x="1" y="12"/>
                    <a:pt x="12" y="12"/>
                  </a:cubicBezTo>
                  <a:cubicBezTo>
                    <a:pt x="13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FA5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493" name="Freeform 8258"/>
            <p:cNvSpPr>
              <a:spLocks/>
            </p:cNvSpPr>
            <p:nvPr/>
          </p:nvSpPr>
          <p:spPr bwMode="auto">
            <a:xfrm>
              <a:off x="5405" y="2861"/>
              <a:ext cx="8" cy="10"/>
            </a:xfrm>
            <a:custGeom>
              <a:avLst/>
              <a:gdLst>
                <a:gd name="T0" fmla="*/ 0 w 7"/>
                <a:gd name="T1" fmla="*/ 0 h 8"/>
                <a:gd name="T2" fmla="*/ 7 w 7"/>
                <a:gd name="T3" fmla="*/ 8 h 8"/>
                <a:gd name="T4" fmla="*/ 0 w 7"/>
                <a:gd name="T5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8">
                  <a:moveTo>
                    <a:pt x="0" y="0"/>
                  </a:moveTo>
                  <a:cubicBezTo>
                    <a:pt x="0" y="0"/>
                    <a:pt x="0" y="7"/>
                    <a:pt x="7" y="8"/>
                  </a:cubicBezTo>
                  <a:cubicBezTo>
                    <a:pt x="7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84C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494" name="Freeform 8259"/>
            <p:cNvSpPr>
              <a:spLocks/>
            </p:cNvSpPr>
            <p:nvPr/>
          </p:nvSpPr>
          <p:spPr bwMode="auto">
            <a:xfrm>
              <a:off x="5402" y="2849"/>
              <a:ext cx="21" cy="19"/>
            </a:xfrm>
            <a:custGeom>
              <a:avLst/>
              <a:gdLst>
                <a:gd name="T0" fmla="*/ 6 w 17"/>
                <a:gd name="T1" fmla="*/ 0 h 16"/>
                <a:gd name="T2" fmla="*/ 10 w 17"/>
                <a:gd name="T3" fmla="*/ 16 h 16"/>
                <a:gd name="T4" fmla="*/ 6 w 17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16">
                  <a:moveTo>
                    <a:pt x="6" y="0"/>
                  </a:moveTo>
                  <a:cubicBezTo>
                    <a:pt x="6" y="0"/>
                    <a:pt x="0" y="10"/>
                    <a:pt x="10" y="16"/>
                  </a:cubicBezTo>
                  <a:cubicBezTo>
                    <a:pt x="17" y="6"/>
                    <a:pt x="6" y="0"/>
                    <a:pt x="6" y="0"/>
                  </a:cubicBezTo>
                  <a:close/>
                </a:path>
              </a:pathLst>
            </a:custGeom>
            <a:solidFill>
              <a:srgbClr val="6FA5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495" name="Freeform 8260"/>
            <p:cNvSpPr>
              <a:spLocks/>
            </p:cNvSpPr>
            <p:nvPr/>
          </p:nvSpPr>
          <p:spPr bwMode="auto">
            <a:xfrm>
              <a:off x="5407" y="2855"/>
              <a:ext cx="11" cy="13"/>
            </a:xfrm>
            <a:custGeom>
              <a:avLst/>
              <a:gdLst>
                <a:gd name="T0" fmla="*/ 3 w 9"/>
                <a:gd name="T1" fmla="*/ 0 h 11"/>
                <a:gd name="T2" fmla="*/ 6 w 9"/>
                <a:gd name="T3" fmla="*/ 11 h 11"/>
                <a:gd name="T4" fmla="*/ 3 w 9"/>
                <a:gd name="T5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1">
                  <a:moveTo>
                    <a:pt x="3" y="0"/>
                  </a:moveTo>
                  <a:cubicBezTo>
                    <a:pt x="3" y="0"/>
                    <a:pt x="0" y="7"/>
                    <a:pt x="6" y="11"/>
                  </a:cubicBezTo>
                  <a:cubicBezTo>
                    <a:pt x="9" y="5"/>
                    <a:pt x="3" y="0"/>
                    <a:pt x="3" y="0"/>
                  </a:cubicBezTo>
                  <a:close/>
                </a:path>
              </a:pathLst>
            </a:custGeom>
            <a:solidFill>
              <a:srgbClr val="84C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496" name="Freeform 8261"/>
            <p:cNvSpPr>
              <a:spLocks/>
            </p:cNvSpPr>
            <p:nvPr/>
          </p:nvSpPr>
          <p:spPr bwMode="auto">
            <a:xfrm>
              <a:off x="5477" y="2860"/>
              <a:ext cx="15" cy="17"/>
            </a:xfrm>
            <a:custGeom>
              <a:avLst/>
              <a:gdLst>
                <a:gd name="T0" fmla="*/ 1 w 13"/>
                <a:gd name="T1" fmla="*/ 14 h 14"/>
                <a:gd name="T2" fmla="*/ 11 w 13"/>
                <a:gd name="T3" fmla="*/ 0 h 14"/>
                <a:gd name="T4" fmla="*/ 1 w 13"/>
                <a:gd name="T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4">
                  <a:moveTo>
                    <a:pt x="1" y="14"/>
                  </a:moveTo>
                  <a:cubicBezTo>
                    <a:pt x="13" y="13"/>
                    <a:pt x="11" y="0"/>
                    <a:pt x="11" y="0"/>
                  </a:cubicBezTo>
                  <a:cubicBezTo>
                    <a:pt x="11" y="0"/>
                    <a:pt x="0" y="2"/>
                    <a:pt x="1" y="14"/>
                  </a:cubicBezTo>
                  <a:close/>
                </a:path>
              </a:pathLst>
            </a:custGeom>
            <a:solidFill>
              <a:srgbClr val="6FA5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497" name="Freeform 8262"/>
            <p:cNvSpPr>
              <a:spLocks/>
            </p:cNvSpPr>
            <p:nvPr/>
          </p:nvSpPr>
          <p:spPr bwMode="auto">
            <a:xfrm>
              <a:off x="5478" y="2866"/>
              <a:ext cx="8" cy="11"/>
            </a:xfrm>
            <a:custGeom>
              <a:avLst/>
              <a:gdLst>
                <a:gd name="T0" fmla="*/ 1 w 7"/>
                <a:gd name="T1" fmla="*/ 9 h 9"/>
                <a:gd name="T2" fmla="*/ 7 w 7"/>
                <a:gd name="T3" fmla="*/ 0 h 9"/>
                <a:gd name="T4" fmla="*/ 1 w 7"/>
                <a:gd name="T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9">
                  <a:moveTo>
                    <a:pt x="1" y="9"/>
                  </a:moveTo>
                  <a:cubicBezTo>
                    <a:pt x="7" y="8"/>
                    <a:pt x="7" y="0"/>
                    <a:pt x="7" y="0"/>
                  </a:cubicBezTo>
                  <a:cubicBezTo>
                    <a:pt x="7" y="0"/>
                    <a:pt x="0" y="2"/>
                    <a:pt x="1" y="9"/>
                  </a:cubicBezTo>
                  <a:close/>
                </a:path>
              </a:pathLst>
            </a:custGeom>
            <a:solidFill>
              <a:srgbClr val="84C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498" name="Freeform 8263"/>
            <p:cNvSpPr>
              <a:spLocks/>
            </p:cNvSpPr>
            <p:nvPr/>
          </p:nvSpPr>
          <p:spPr bwMode="auto">
            <a:xfrm>
              <a:off x="5481" y="2863"/>
              <a:ext cx="19" cy="20"/>
            </a:xfrm>
            <a:custGeom>
              <a:avLst/>
              <a:gdLst>
                <a:gd name="T0" fmla="*/ 0 w 15"/>
                <a:gd name="T1" fmla="*/ 11 h 16"/>
                <a:gd name="T2" fmla="*/ 15 w 15"/>
                <a:gd name="T3" fmla="*/ 4 h 16"/>
                <a:gd name="T4" fmla="*/ 0 w 15"/>
                <a:gd name="T5" fmla="*/ 1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6">
                  <a:moveTo>
                    <a:pt x="0" y="11"/>
                  </a:moveTo>
                  <a:cubicBezTo>
                    <a:pt x="10" y="16"/>
                    <a:pt x="15" y="4"/>
                    <a:pt x="15" y="4"/>
                  </a:cubicBezTo>
                  <a:cubicBezTo>
                    <a:pt x="15" y="4"/>
                    <a:pt x="4" y="0"/>
                    <a:pt x="0" y="11"/>
                  </a:cubicBezTo>
                  <a:close/>
                </a:path>
              </a:pathLst>
            </a:custGeom>
            <a:solidFill>
              <a:srgbClr val="6FA5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499" name="Freeform 8264"/>
            <p:cNvSpPr>
              <a:spLocks/>
            </p:cNvSpPr>
            <p:nvPr/>
          </p:nvSpPr>
          <p:spPr bwMode="auto">
            <a:xfrm>
              <a:off x="5481" y="2869"/>
              <a:ext cx="13" cy="11"/>
            </a:xfrm>
            <a:custGeom>
              <a:avLst/>
              <a:gdLst>
                <a:gd name="T0" fmla="*/ 0 w 10"/>
                <a:gd name="T1" fmla="*/ 6 h 9"/>
                <a:gd name="T2" fmla="*/ 10 w 10"/>
                <a:gd name="T3" fmla="*/ 2 h 9"/>
                <a:gd name="T4" fmla="*/ 0 w 10"/>
                <a:gd name="T5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9">
                  <a:moveTo>
                    <a:pt x="0" y="6"/>
                  </a:moveTo>
                  <a:cubicBezTo>
                    <a:pt x="6" y="9"/>
                    <a:pt x="10" y="2"/>
                    <a:pt x="10" y="2"/>
                  </a:cubicBezTo>
                  <a:cubicBezTo>
                    <a:pt x="10" y="2"/>
                    <a:pt x="3" y="0"/>
                    <a:pt x="0" y="6"/>
                  </a:cubicBezTo>
                  <a:close/>
                </a:path>
              </a:pathLst>
            </a:custGeom>
            <a:solidFill>
              <a:srgbClr val="84C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00" name="Freeform 8265"/>
            <p:cNvSpPr>
              <a:spLocks/>
            </p:cNvSpPr>
            <p:nvPr/>
          </p:nvSpPr>
          <p:spPr bwMode="auto">
            <a:xfrm>
              <a:off x="5417" y="2858"/>
              <a:ext cx="21" cy="20"/>
            </a:xfrm>
            <a:custGeom>
              <a:avLst/>
              <a:gdLst>
                <a:gd name="T0" fmla="*/ 6 w 17"/>
                <a:gd name="T1" fmla="*/ 16 h 16"/>
                <a:gd name="T2" fmla="*/ 11 w 17"/>
                <a:gd name="T3" fmla="*/ 0 h 16"/>
                <a:gd name="T4" fmla="*/ 6 w 17"/>
                <a:gd name="T5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16">
                  <a:moveTo>
                    <a:pt x="6" y="16"/>
                  </a:moveTo>
                  <a:cubicBezTo>
                    <a:pt x="17" y="12"/>
                    <a:pt x="11" y="0"/>
                    <a:pt x="11" y="0"/>
                  </a:cubicBezTo>
                  <a:cubicBezTo>
                    <a:pt x="11" y="0"/>
                    <a:pt x="0" y="6"/>
                    <a:pt x="6" y="16"/>
                  </a:cubicBezTo>
                  <a:close/>
                </a:path>
              </a:pathLst>
            </a:custGeom>
            <a:solidFill>
              <a:srgbClr val="6FA5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01" name="Freeform 8266"/>
            <p:cNvSpPr>
              <a:spLocks/>
            </p:cNvSpPr>
            <p:nvPr/>
          </p:nvSpPr>
          <p:spPr bwMode="auto">
            <a:xfrm>
              <a:off x="5421" y="2866"/>
              <a:ext cx="10" cy="12"/>
            </a:xfrm>
            <a:custGeom>
              <a:avLst/>
              <a:gdLst>
                <a:gd name="T0" fmla="*/ 3 w 9"/>
                <a:gd name="T1" fmla="*/ 10 h 10"/>
                <a:gd name="T2" fmla="*/ 6 w 9"/>
                <a:gd name="T3" fmla="*/ 0 h 10"/>
                <a:gd name="T4" fmla="*/ 3 w 9"/>
                <a:gd name="T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0">
                  <a:moveTo>
                    <a:pt x="3" y="10"/>
                  </a:moveTo>
                  <a:cubicBezTo>
                    <a:pt x="9" y="7"/>
                    <a:pt x="6" y="0"/>
                    <a:pt x="6" y="0"/>
                  </a:cubicBezTo>
                  <a:cubicBezTo>
                    <a:pt x="6" y="0"/>
                    <a:pt x="0" y="4"/>
                    <a:pt x="3" y="10"/>
                  </a:cubicBezTo>
                  <a:close/>
                </a:path>
              </a:pathLst>
            </a:custGeom>
            <a:solidFill>
              <a:srgbClr val="84C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02" name="Freeform 8267"/>
            <p:cNvSpPr>
              <a:spLocks/>
            </p:cNvSpPr>
            <p:nvPr/>
          </p:nvSpPr>
          <p:spPr bwMode="auto">
            <a:xfrm>
              <a:off x="5411" y="2896"/>
              <a:ext cx="22" cy="20"/>
            </a:xfrm>
            <a:custGeom>
              <a:avLst/>
              <a:gdLst>
                <a:gd name="T0" fmla="*/ 8 w 18"/>
                <a:gd name="T1" fmla="*/ 0 h 16"/>
                <a:gd name="T2" fmla="*/ 11 w 18"/>
                <a:gd name="T3" fmla="*/ 16 h 16"/>
                <a:gd name="T4" fmla="*/ 8 w 18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6">
                  <a:moveTo>
                    <a:pt x="8" y="0"/>
                  </a:moveTo>
                  <a:cubicBezTo>
                    <a:pt x="0" y="9"/>
                    <a:pt x="11" y="16"/>
                    <a:pt x="11" y="16"/>
                  </a:cubicBezTo>
                  <a:cubicBezTo>
                    <a:pt x="11" y="16"/>
                    <a:pt x="18" y="7"/>
                    <a:pt x="8" y="0"/>
                  </a:cubicBezTo>
                  <a:close/>
                </a:path>
              </a:pathLst>
            </a:custGeom>
            <a:solidFill>
              <a:srgbClr val="6FA5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03" name="Freeform 8268"/>
            <p:cNvSpPr>
              <a:spLocks/>
            </p:cNvSpPr>
            <p:nvPr/>
          </p:nvSpPr>
          <p:spPr bwMode="auto">
            <a:xfrm>
              <a:off x="5416" y="2896"/>
              <a:ext cx="11" cy="13"/>
            </a:xfrm>
            <a:custGeom>
              <a:avLst/>
              <a:gdLst>
                <a:gd name="T0" fmla="*/ 6 w 9"/>
                <a:gd name="T1" fmla="*/ 11 h 11"/>
                <a:gd name="T2" fmla="*/ 4 w 9"/>
                <a:gd name="T3" fmla="*/ 0 h 11"/>
                <a:gd name="T4" fmla="*/ 6 w 9"/>
                <a:gd name="T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1">
                  <a:moveTo>
                    <a:pt x="6" y="11"/>
                  </a:moveTo>
                  <a:cubicBezTo>
                    <a:pt x="6" y="11"/>
                    <a:pt x="9" y="5"/>
                    <a:pt x="4" y="0"/>
                  </a:cubicBezTo>
                  <a:cubicBezTo>
                    <a:pt x="0" y="6"/>
                    <a:pt x="6" y="11"/>
                    <a:pt x="6" y="11"/>
                  </a:cubicBezTo>
                  <a:close/>
                </a:path>
              </a:pathLst>
            </a:custGeom>
            <a:solidFill>
              <a:srgbClr val="84C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04" name="Freeform 8269"/>
            <p:cNvSpPr>
              <a:spLocks/>
            </p:cNvSpPr>
            <p:nvPr/>
          </p:nvSpPr>
          <p:spPr bwMode="auto">
            <a:xfrm>
              <a:off x="5422" y="2896"/>
              <a:ext cx="16" cy="15"/>
            </a:xfrm>
            <a:custGeom>
              <a:avLst/>
              <a:gdLst>
                <a:gd name="T0" fmla="*/ 2 w 13"/>
                <a:gd name="T1" fmla="*/ 0 h 12"/>
                <a:gd name="T2" fmla="*/ 13 w 13"/>
                <a:gd name="T3" fmla="*/ 12 h 12"/>
                <a:gd name="T4" fmla="*/ 2 w 13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2">
                  <a:moveTo>
                    <a:pt x="2" y="0"/>
                  </a:moveTo>
                  <a:cubicBezTo>
                    <a:pt x="0" y="11"/>
                    <a:pt x="13" y="12"/>
                    <a:pt x="13" y="12"/>
                  </a:cubicBezTo>
                  <a:cubicBezTo>
                    <a:pt x="13" y="12"/>
                    <a:pt x="13" y="0"/>
                    <a:pt x="2" y="0"/>
                  </a:cubicBezTo>
                  <a:close/>
                </a:path>
              </a:pathLst>
            </a:custGeom>
            <a:solidFill>
              <a:srgbClr val="6FA5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05" name="Freeform 8270"/>
            <p:cNvSpPr>
              <a:spLocks/>
            </p:cNvSpPr>
            <p:nvPr/>
          </p:nvSpPr>
          <p:spPr bwMode="auto">
            <a:xfrm>
              <a:off x="5424" y="2896"/>
              <a:ext cx="9" cy="10"/>
            </a:xfrm>
            <a:custGeom>
              <a:avLst/>
              <a:gdLst>
                <a:gd name="T0" fmla="*/ 0 w 7"/>
                <a:gd name="T1" fmla="*/ 0 h 8"/>
                <a:gd name="T2" fmla="*/ 7 w 7"/>
                <a:gd name="T3" fmla="*/ 8 h 8"/>
                <a:gd name="T4" fmla="*/ 0 w 7"/>
                <a:gd name="T5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8">
                  <a:moveTo>
                    <a:pt x="0" y="0"/>
                  </a:moveTo>
                  <a:cubicBezTo>
                    <a:pt x="0" y="7"/>
                    <a:pt x="7" y="8"/>
                    <a:pt x="7" y="8"/>
                  </a:cubicBezTo>
                  <a:cubicBezTo>
                    <a:pt x="7" y="8"/>
                    <a:pt x="7" y="1"/>
                    <a:pt x="0" y="0"/>
                  </a:cubicBezTo>
                  <a:close/>
                </a:path>
              </a:pathLst>
            </a:custGeom>
            <a:solidFill>
              <a:srgbClr val="84C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06" name="Freeform 8271"/>
            <p:cNvSpPr>
              <a:spLocks/>
            </p:cNvSpPr>
            <p:nvPr/>
          </p:nvSpPr>
          <p:spPr bwMode="auto">
            <a:xfrm>
              <a:off x="5435" y="2882"/>
              <a:ext cx="17" cy="17"/>
            </a:xfrm>
            <a:custGeom>
              <a:avLst/>
              <a:gdLst>
                <a:gd name="T0" fmla="*/ 3 w 14"/>
                <a:gd name="T1" fmla="*/ 14 h 14"/>
                <a:gd name="T2" fmla="*/ 12 w 14"/>
                <a:gd name="T3" fmla="*/ 0 h 14"/>
                <a:gd name="T4" fmla="*/ 3 w 14"/>
                <a:gd name="T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14">
                  <a:moveTo>
                    <a:pt x="3" y="14"/>
                  </a:moveTo>
                  <a:cubicBezTo>
                    <a:pt x="3" y="14"/>
                    <a:pt x="14" y="12"/>
                    <a:pt x="12" y="0"/>
                  </a:cubicBezTo>
                  <a:cubicBezTo>
                    <a:pt x="0" y="2"/>
                    <a:pt x="3" y="14"/>
                    <a:pt x="3" y="14"/>
                  </a:cubicBezTo>
                  <a:close/>
                </a:path>
              </a:pathLst>
            </a:custGeom>
            <a:solidFill>
              <a:srgbClr val="6FA5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07" name="Freeform 8272"/>
            <p:cNvSpPr>
              <a:spLocks/>
            </p:cNvSpPr>
            <p:nvPr/>
          </p:nvSpPr>
          <p:spPr bwMode="auto">
            <a:xfrm>
              <a:off x="5441" y="2883"/>
              <a:ext cx="9" cy="9"/>
            </a:xfrm>
            <a:custGeom>
              <a:avLst/>
              <a:gdLst>
                <a:gd name="T0" fmla="*/ 1 w 7"/>
                <a:gd name="T1" fmla="*/ 8 h 8"/>
                <a:gd name="T2" fmla="*/ 6 w 7"/>
                <a:gd name="T3" fmla="*/ 0 h 8"/>
                <a:gd name="T4" fmla="*/ 1 w 7"/>
                <a:gd name="T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8">
                  <a:moveTo>
                    <a:pt x="1" y="8"/>
                  </a:moveTo>
                  <a:cubicBezTo>
                    <a:pt x="1" y="8"/>
                    <a:pt x="7" y="6"/>
                    <a:pt x="6" y="0"/>
                  </a:cubicBezTo>
                  <a:cubicBezTo>
                    <a:pt x="0" y="1"/>
                    <a:pt x="1" y="8"/>
                    <a:pt x="1" y="8"/>
                  </a:cubicBezTo>
                  <a:close/>
                </a:path>
              </a:pathLst>
            </a:custGeom>
            <a:solidFill>
              <a:srgbClr val="84C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08" name="Freeform 8273"/>
            <p:cNvSpPr>
              <a:spLocks/>
            </p:cNvSpPr>
            <p:nvPr/>
          </p:nvSpPr>
          <p:spPr bwMode="auto">
            <a:xfrm>
              <a:off x="5442" y="2884"/>
              <a:ext cx="20" cy="19"/>
            </a:xfrm>
            <a:custGeom>
              <a:avLst/>
              <a:gdLst>
                <a:gd name="T0" fmla="*/ 6 w 16"/>
                <a:gd name="T1" fmla="*/ 0 h 16"/>
                <a:gd name="T2" fmla="*/ 11 w 16"/>
                <a:gd name="T3" fmla="*/ 16 h 16"/>
                <a:gd name="T4" fmla="*/ 6 w 16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6">
                  <a:moveTo>
                    <a:pt x="6" y="0"/>
                  </a:moveTo>
                  <a:cubicBezTo>
                    <a:pt x="0" y="10"/>
                    <a:pt x="11" y="16"/>
                    <a:pt x="11" y="16"/>
                  </a:cubicBezTo>
                  <a:cubicBezTo>
                    <a:pt x="11" y="16"/>
                    <a:pt x="16" y="5"/>
                    <a:pt x="6" y="0"/>
                  </a:cubicBezTo>
                  <a:close/>
                </a:path>
              </a:pathLst>
            </a:custGeom>
            <a:solidFill>
              <a:srgbClr val="6FA5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09" name="Freeform 8274"/>
            <p:cNvSpPr>
              <a:spLocks/>
            </p:cNvSpPr>
            <p:nvPr/>
          </p:nvSpPr>
          <p:spPr bwMode="auto">
            <a:xfrm>
              <a:off x="5446" y="2884"/>
              <a:ext cx="11" cy="12"/>
            </a:xfrm>
            <a:custGeom>
              <a:avLst/>
              <a:gdLst>
                <a:gd name="T0" fmla="*/ 3 w 9"/>
                <a:gd name="T1" fmla="*/ 0 h 10"/>
                <a:gd name="T2" fmla="*/ 6 w 9"/>
                <a:gd name="T3" fmla="*/ 10 h 10"/>
                <a:gd name="T4" fmla="*/ 3 w 9"/>
                <a:gd name="T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0">
                  <a:moveTo>
                    <a:pt x="3" y="0"/>
                  </a:moveTo>
                  <a:cubicBezTo>
                    <a:pt x="0" y="7"/>
                    <a:pt x="6" y="10"/>
                    <a:pt x="6" y="10"/>
                  </a:cubicBezTo>
                  <a:cubicBezTo>
                    <a:pt x="6" y="10"/>
                    <a:pt x="9" y="4"/>
                    <a:pt x="3" y="0"/>
                  </a:cubicBezTo>
                  <a:close/>
                </a:path>
              </a:pathLst>
            </a:custGeom>
            <a:solidFill>
              <a:srgbClr val="84C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10" name="Freeform 8275"/>
            <p:cNvSpPr>
              <a:spLocks/>
            </p:cNvSpPr>
            <p:nvPr/>
          </p:nvSpPr>
          <p:spPr bwMode="auto">
            <a:xfrm>
              <a:off x="5374" y="2851"/>
              <a:ext cx="19" cy="17"/>
            </a:xfrm>
            <a:custGeom>
              <a:avLst/>
              <a:gdLst>
                <a:gd name="T0" fmla="*/ 2 w 15"/>
                <a:gd name="T1" fmla="*/ 0 h 14"/>
                <a:gd name="T2" fmla="*/ 12 w 15"/>
                <a:gd name="T3" fmla="*/ 14 h 14"/>
                <a:gd name="T4" fmla="*/ 2 w 15"/>
                <a:gd name="T5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4">
                  <a:moveTo>
                    <a:pt x="2" y="0"/>
                  </a:moveTo>
                  <a:cubicBezTo>
                    <a:pt x="2" y="0"/>
                    <a:pt x="0" y="12"/>
                    <a:pt x="12" y="14"/>
                  </a:cubicBezTo>
                  <a:cubicBezTo>
                    <a:pt x="15" y="3"/>
                    <a:pt x="2" y="0"/>
                    <a:pt x="2" y="0"/>
                  </a:cubicBezTo>
                  <a:close/>
                </a:path>
              </a:pathLst>
            </a:custGeom>
            <a:solidFill>
              <a:srgbClr val="6FA5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11" name="Freeform 8276"/>
            <p:cNvSpPr>
              <a:spLocks/>
            </p:cNvSpPr>
            <p:nvPr/>
          </p:nvSpPr>
          <p:spPr bwMode="auto">
            <a:xfrm>
              <a:off x="5380" y="2857"/>
              <a:ext cx="10" cy="11"/>
            </a:xfrm>
            <a:custGeom>
              <a:avLst/>
              <a:gdLst>
                <a:gd name="T0" fmla="*/ 1 w 8"/>
                <a:gd name="T1" fmla="*/ 0 h 9"/>
                <a:gd name="T2" fmla="*/ 7 w 8"/>
                <a:gd name="T3" fmla="*/ 9 h 9"/>
                <a:gd name="T4" fmla="*/ 1 w 8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9">
                  <a:moveTo>
                    <a:pt x="1" y="0"/>
                  </a:moveTo>
                  <a:cubicBezTo>
                    <a:pt x="1" y="0"/>
                    <a:pt x="0" y="7"/>
                    <a:pt x="7" y="9"/>
                  </a:cubicBezTo>
                  <a:cubicBezTo>
                    <a:pt x="8" y="2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84C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12" name="Freeform 8277"/>
            <p:cNvSpPr>
              <a:spLocks/>
            </p:cNvSpPr>
            <p:nvPr/>
          </p:nvSpPr>
          <p:spPr bwMode="auto">
            <a:xfrm>
              <a:off x="5379" y="2845"/>
              <a:ext cx="21" cy="21"/>
            </a:xfrm>
            <a:custGeom>
              <a:avLst/>
              <a:gdLst>
                <a:gd name="T0" fmla="*/ 8 w 17"/>
                <a:gd name="T1" fmla="*/ 0 h 17"/>
                <a:gd name="T2" fmla="*/ 9 w 17"/>
                <a:gd name="T3" fmla="*/ 17 h 17"/>
                <a:gd name="T4" fmla="*/ 8 w 17"/>
                <a:gd name="T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17">
                  <a:moveTo>
                    <a:pt x="8" y="0"/>
                  </a:moveTo>
                  <a:cubicBezTo>
                    <a:pt x="8" y="0"/>
                    <a:pt x="0" y="9"/>
                    <a:pt x="9" y="17"/>
                  </a:cubicBezTo>
                  <a:cubicBezTo>
                    <a:pt x="17" y="9"/>
                    <a:pt x="8" y="0"/>
                    <a:pt x="8" y="0"/>
                  </a:cubicBezTo>
                  <a:close/>
                </a:path>
              </a:pathLst>
            </a:custGeom>
            <a:solidFill>
              <a:srgbClr val="6FA5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13" name="Freeform 8278"/>
            <p:cNvSpPr>
              <a:spLocks/>
            </p:cNvSpPr>
            <p:nvPr/>
          </p:nvSpPr>
          <p:spPr bwMode="auto">
            <a:xfrm>
              <a:off x="5384" y="2852"/>
              <a:ext cx="11" cy="14"/>
            </a:xfrm>
            <a:custGeom>
              <a:avLst/>
              <a:gdLst>
                <a:gd name="T0" fmla="*/ 5 w 9"/>
                <a:gd name="T1" fmla="*/ 11 h 11"/>
                <a:gd name="T2" fmla="*/ 4 w 9"/>
                <a:gd name="T3" fmla="*/ 0 h 11"/>
                <a:gd name="T4" fmla="*/ 5 w 9"/>
                <a:gd name="T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1">
                  <a:moveTo>
                    <a:pt x="5" y="11"/>
                  </a:moveTo>
                  <a:cubicBezTo>
                    <a:pt x="9" y="6"/>
                    <a:pt x="4" y="0"/>
                    <a:pt x="4" y="0"/>
                  </a:cubicBezTo>
                  <a:cubicBezTo>
                    <a:pt x="4" y="0"/>
                    <a:pt x="0" y="6"/>
                    <a:pt x="5" y="11"/>
                  </a:cubicBezTo>
                  <a:close/>
                </a:path>
              </a:pathLst>
            </a:custGeom>
            <a:solidFill>
              <a:srgbClr val="84C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14" name="Freeform 8279"/>
            <p:cNvSpPr>
              <a:spLocks/>
            </p:cNvSpPr>
            <p:nvPr/>
          </p:nvSpPr>
          <p:spPr bwMode="auto">
            <a:xfrm>
              <a:off x="5452" y="2850"/>
              <a:ext cx="17" cy="17"/>
            </a:xfrm>
            <a:custGeom>
              <a:avLst/>
              <a:gdLst>
                <a:gd name="T0" fmla="*/ 2 w 14"/>
                <a:gd name="T1" fmla="*/ 14 h 14"/>
                <a:gd name="T2" fmla="*/ 12 w 14"/>
                <a:gd name="T3" fmla="*/ 0 h 14"/>
                <a:gd name="T4" fmla="*/ 2 w 14"/>
                <a:gd name="T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14">
                  <a:moveTo>
                    <a:pt x="2" y="14"/>
                  </a:moveTo>
                  <a:cubicBezTo>
                    <a:pt x="14" y="13"/>
                    <a:pt x="12" y="0"/>
                    <a:pt x="12" y="0"/>
                  </a:cubicBezTo>
                  <a:cubicBezTo>
                    <a:pt x="12" y="0"/>
                    <a:pt x="0" y="2"/>
                    <a:pt x="2" y="14"/>
                  </a:cubicBezTo>
                  <a:close/>
                </a:path>
              </a:pathLst>
            </a:custGeom>
            <a:solidFill>
              <a:srgbClr val="6FA5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15" name="Freeform 8280"/>
            <p:cNvSpPr>
              <a:spLocks/>
            </p:cNvSpPr>
            <p:nvPr/>
          </p:nvSpPr>
          <p:spPr bwMode="auto">
            <a:xfrm>
              <a:off x="5455" y="2856"/>
              <a:ext cx="8" cy="10"/>
            </a:xfrm>
            <a:custGeom>
              <a:avLst/>
              <a:gdLst>
                <a:gd name="T0" fmla="*/ 0 w 7"/>
                <a:gd name="T1" fmla="*/ 8 h 8"/>
                <a:gd name="T2" fmla="*/ 6 w 7"/>
                <a:gd name="T3" fmla="*/ 0 h 8"/>
                <a:gd name="T4" fmla="*/ 0 w 7"/>
                <a:gd name="T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8">
                  <a:moveTo>
                    <a:pt x="0" y="8"/>
                  </a:moveTo>
                  <a:cubicBezTo>
                    <a:pt x="7" y="7"/>
                    <a:pt x="6" y="0"/>
                    <a:pt x="6" y="0"/>
                  </a:cubicBezTo>
                  <a:cubicBezTo>
                    <a:pt x="6" y="0"/>
                    <a:pt x="0" y="2"/>
                    <a:pt x="0" y="8"/>
                  </a:cubicBezTo>
                  <a:close/>
                </a:path>
              </a:pathLst>
            </a:custGeom>
            <a:solidFill>
              <a:srgbClr val="84C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16" name="Freeform 8281"/>
            <p:cNvSpPr>
              <a:spLocks/>
            </p:cNvSpPr>
            <p:nvPr/>
          </p:nvSpPr>
          <p:spPr bwMode="auto">
            <a:xfrm>
              <a:off x="5369" y="2886"/>
              <a:ext cx="16" cy="17"/>
            </a:xfrm>
            <a:custGeom>
              <a:avLst/>
              <a:gdLst>
                <a:gd name="T0" fmla="*/ 2 w 13"/>
                <a:gd name="T1" fmla="*/ 14 h 14"/>
                <a:gd name="T2" fmla="*/ 11 w 13"/>
                <a:gd name="T3" fmla="*/ 0 h 14"/>
                <a:gd name="T4" fmla="*/ 2 w 13"/>
                <a:gd name="T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4">
                  <a:moveTo>
                    <a:pt x="2" y="14"/>
                  </a:moveTo>
                  <a:cubicBezTo>
                    <a:pt x="2" y="14"/>
                    <a:pt x="13" y="11"/>
                    <a:pt x="11" y="0"/>
                  </a:cubicBezTo>
                  <a:cubicBezTo>
                    <a:pt x="0" y="1"/>
                    <a:pt x="2" y="14"/>
                    <a:pt x="2" y="14"/>
                  </a:cubicBezTo>
                  <a:close/>
                </a:path>
              </a:pathLst>
            </a:custGeom>
            <a:solidFill>
              <a:srgbClr val="6FA5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17" name="Freeform 8282"/>
            <p:cNvSpPr>
              <a:spLocks/>
            </p:cNvSpPr>
            <p:nvPr/>
          </p:nvSpPr>
          <p:spPr bwMode="auto">
            <a:xfrm>
              <a:off x="5374" y="2886"/>
              <a:ext cx="10" cy="11"/>
            </a:xfrm>
            <a:custGeom>
              <a:avLst/>
              <a:gdLst>
                <a:gd name="T0" fmla="*/ 1 w 8"/>
                <a:gd name="T1" fmla="*/ 9 h 9"/>
                <a:gd name="T2" fmla="*/ 7 w 8"/>
                <a:gd name="T3" fmla="*/ 0 h 9"/>
                <a:gd name="T4" fmla="*/ 1 w 8"/>
                <a:gd name="T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9">
                  <a:moveTo>
                    <a:pt x="1" y="9"/>
                  </a:moveTo>
                  <a:cubicBezTo>
                    <a:pt x="1" y="9"/>
                    <a:pt x="8" y="7"/>
                    <a:pt x="7" y="0"/>
                  </a:cubicBezTo>
                  <a:cubicBezTo>
                    <a:pt x="0" y="1"/>
                    <a:pt x="1" y="9"/>
                    <a:pt x="1" y="9"/>
                  </a:cubicBezTo>
                  <a:close/>
                </a:path>
              </a:pathLst>
            </a:custGeom>
            <a:solidFill>
              <a:srgbClr val="84C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18" name="Freeform 8283"/>
            <p:cNvSpPr>
              <a:spLocks/>
            </p:cNvSpPr>
            <p:nvPr/>
          </p:nvSpPr>
          <p:spPr bwMode="auto">
            <a:xfrm>
              <a:off x="5349" y="2882"/>
              <a:ext cx="22" cy="20"/>
            </a:xfrm>
            <a:custGeom>
              <a:avLst/>
              <a:gdLst>
                <a:gd name="T0" fmla="*/ 7 w 18"/>
                <a:gd name="T1" fmla="*/ 17 h 17"/>
                <a:gd name="T2" fmla="*/ 12 w 18"/>
                <a:gd name="T3" fmla="*/ 0 h 17"/>
                <a:gd name="T4" fmla="*/ 7 w 18"/>
                <a:gd name="T5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7">
                  <a:moveTo>
                    <a:pt x="7" y="17"/>
                  </a:moveTo>
                  <a:cubicBezTo>
                    <a:pt x="7" y="17"/>
                    <a:pt x="18" y="10"/>
                    <a:pt x="12" y="0"/>
                  </a:cubicBezTo>
                  <a:cubicBezTo>
                    <a:pt x="0" y="5"/>
                    <a:pt x="7" y="17"/>
                    <a:pt x="7" y="17"/>
                  </a:cubicBezTo>
                  <a:close/>
                </a:path>
              </a:pathLst>
            </a:custGeom>
            <a:solidFill>
              <a:srgbClr val="6FA5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19" name="Freeform 8284"/>
            <p:cNvSpPr>
              <a:spLocks/>
            </p:cNvSpPr>
            <p:nvPr/>
          </p:nvSpPr>
          <p:spPr bwMode="auto">
            <a:xfrm>
              <a:off x="5355" y="2882"/>
              <a:ext cx="12" cy="13"/>
            </a:xfrm>
            <a:custGeom>
              <a:avLst/>
              <a:gdLst>
                <a:gd name="T0" fmla="*/ 4 w 10"/>
                <a:gd name="T1" fmla="*/ 11 h 11"/>
                <a:gd name="T2" fmla="*/ 6 w 10"/>
                <a:gd name="T3" fmla="*/ 0 h 11"/>
                <a:gd name="T4" fmla="*/ 4 w 10"/>
                <a:gd name="T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1">
                  <a:moveTo>
                    <a:pt x="4" y="11"/>
                  </a:moveTo>
                  <a:cubicBezTo>
                    <a:pt x="4" y="11"/>
                    <a:pt x="10" y="6"/>
                    <a:pt x="6" y="0"/>
                  </a:cubicBezTo>
                  <a:cubicBezTo>
                    <a:pt x="0" y="4"/>
                    <a:pt x="4" y="11"/>
                    <a:pt x="4" y="11"/>
                  </a:cubicBezTo>
                  <a:close/>
                </a:path>
              </a:pathLst>
            </a:custGeom>
            <a:solidFill>
              <a:srgbClr val="84C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20" name="Freeform 8285"/>
            <p:cNvSpPr>
              <a:spLocks/>
            </p:cNvSpPr>
            <p:nvPr/>
          </p:nvSpPr>
          <p:spPr bwMode="auto">
            <a:xfrm>
              <a:off x="5464" y="2863"/>
              <a:ext cx="21" cy="21"/>
            </a:xfrm>
            <a:custGeom>
              <a:avLst/>
              <a:gdLst>
                <a:gd name="T0" fmla="*/ 7 w 17"/>
                <a:gd name="T1" fmla="*/ 17 h 17"/>
                <a:gd name="T2" fmla="*/ 9 w 17"/>
                <a:gd name="T3" fmla="*/ 0 h 17"/>
                <a:gd name="T4" fmla="*/ 7 w 17"/>
                <a:gd name="T5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17">
                  <a:moveTo>
                    <a:pt x="7" y="17"/>
                  </a:moveTo>
                  <a:cubicBezTo>
                    <a:pt x="17" y="10"/>
                    <a:pt x="9" y="0"/>
                    <a:pt x="9" y="0"/>
                  </a:cubicBezTo>
                  <a:cubicBezTo>
                    <a:pt x="9" y="0"/>
                    <a:pt x="0" y="8"/>
                    <a:pt x="7" y="17"/>
                  </a:cubicBezTo>
                  <a:close/>
                </a:path>
              </a:pathLst>
            </a:custGeom>
            <a:solidFill>
              <a:srgbClr val="E79B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21" name="Freeform 8286"/>
            <p:cNvSpPr>
              <a:spLocks/>
            </p:cNvSpPr>
            <p:nvPr/>
          </p:nvSpPr>
          <p:spPr bwMode="auto">
            <a:xfrm>
              <a:off x="5455" y="2871"/>
              <a:ext cx="18" cy="18"/>
            </a:xfrm>
            <a:custGeom>
              <a:avLst/>
              <a:gdLst>
                <a:gd name="T0" fmla="*/ 0 w 15"/>
                <a:gd name="T1" fmla="*/ 5 h 15"/>
                <a:gd name="T2" fmla="*/ 15 w 15"/>
                <a:gd name="T3" fmla="*/ 11 h 15"/>
                <a:gd name="T4" fmla="*/ 0 w 15"/>
                <a:gd name="T5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5">
                  <a:moveTo>
                    <a:pt x="0" y="5"/>
                  </a:moveTo>
                  <a:cubicBezTo>
                    <a:pt x="0" y="5"/>
                    <a:pt x="4" y="15"/>
                    <a:pt x="15" y="11"/>
                  </a:cubicBezTo>
                  <a:cubicBezTo>
                    <a:pt x="12" y="0"/>
                    <a:pt x="0" y="5"/>
                    <a:pt x="0" y="5"/>
                  </a:cubicBezTo>
                  <a:close/>
                </a:path>
              </a:pathLst>
            </a:custGeom>
            <a:solidFill>
              <a:srgbClr val="E79B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22" name="Freeform 8287"/>
            <p:cNvSpPr>
              <a:spLocks/>
            </p:cNvSpPr>
            <p:nvPr/>
          </p:nvSpPr>
          <p:spPr bwMode="auto">
            <a:xfrm>
              <a:off x="5459" y="2884"/>
              <a:ext cx="15" cy="16"/>
            </a:xfrm>
            <a:custGeom>
              <a:avLst/>
              <a:gdLst>
                <a:gd name="T0" fmla="*/ 0 w 12"/>
                <a:gd name="T1" fmla="*/ 13 h 13"/>
                <a:gd name="T2" fmla="*/ 11 w 12"/>
                <a:gd name="T3" fmla="*/ 0 h 13"/>
                <a:gd name="T4" fmla="*/ 0 w 12"/>
                <a:gd name="T5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3">
                  <a:moveTo>
                    <a:pt x="0" y="13"/>
                  </a:moveTo>
                  <a:cubicBezTo>
                    <a:pt x="0" y="13"/>
                    <a:pt x="12" y="12"/>
                    <a:pt x="11" y="0"/>
                  </a:cubicBezTo>
                  <a:cubicBezTo>
                    <a:pt x="0" y="0"/>
                    <a:pt x="0" y="13"/>
                    <a:pt x="0" y="13"/>
                  </a:cubicBezTo>
                  <a:close/>
                </a:path>
              </a:pathLst>
            </a:custGeom>
            <a:solidFill>
              <a:srgbClr val="E79B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23" name="Freeform 8288"/>
            <p:cNvSpPr>
              <a:spLocks/>
            </p:cNvSpPr>
            <p:nvPr/>
          </p:nvSpPr>
          <p:spPr bwMode="auto">
            <a:xfrm>
              <a:off x="5468" y="2884"/>
              <a:ext cx="19" cy="17"/>
            </a:xfrm>
            <a:custGeom>
              <a:avLst/>
              <a:gdLst>
                <a:gd name="T0" fmla="*/ 4 w 16"/>
                <a:gd name="T1" fmla="*/ 0 h 14"/>
                <a:gd name="T2" fmla="*/ 13 w 16"/>
                <a:gd name="T3" fmla="*/ 14 h 14"/>
                <a:gd name="T4" fmla="*/ 4 w 16"/>
                <a:gd name="T5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4">
                  <a:moveTo>
                    <a:pt x="4" y="0"/>
                  </a:moveTo>
                  <a:cubicBezTo>
                    <a:pt x="0" y="11"/>
                    <a:pt x="13" y="14"/>
                    <a:pt x="13" y="14"/>
                  </a:cubicBezTo>
                  <a:cubicBezTo>
                    <a:pt x="13" y="14"/>
                    <a:pt x="16" y="3"/>
                    <a:pt x="4" y="0"/>
                  </a:cubicBezTo>
                  <a:close/>
                </a:path>
              </a:pathLst>
            </a:custGeom>
            <a:solidFill>
              <a:srgbClr val="E79B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24" name="Freeform 8289"/>
            <p:cNvSpPr>
              <a:spLocks/>
            </p:cNvSpPr>
            <p:nvPr/>
          </p:nvSpPr>
          <p:spPr bwMode="auto">
            <a:xfrm>
              <a:off x="5473" y="2872"/>
              <a:ext cx="21" cy="20"/>
            </a:xfrm>
            <a:custGeom>
              <a:avLst/>
              <a:gdLst>
                <a:gd name="T0" fmla="*/ 0 w 17"/>
                <a:gd name="T1" fmla="*/ 10 h 17"/>
                <a:gd name="T2" fmla="*/ 17 w 17"/>
                <a:gd name="T3" fmla="*/ 6 h 17"/>
                <a:gd name="T4" fmla="*/ 0 w 17"/>
                <a:gd name="T5" fmla="*/ 1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17">
                  <a:moveTo>
                    <a:pt x="0" y="10"/>
                  </a:moveTo>
                  <a:cubicBezTo>
                    <a:pt x="10" y="17"/>
                    <a:pt x="17" y="6"/>
                    <a:pt x="17" y="6"/>
                  </a:cubicBezTo>
                  <a:cubicBezTo>
                    <a:pt x="17" y="6"/>
                    <a:pt x="7" y="0"/>
                    <a:pt x="0" y="10"/>
                  </a:cubicBezTo>
                  <a:close/>
                </a:path>
              </a:pathLst>
            </a:custGeom>
            <a:solidFill>
              <a:srgbClr val="E79B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25" name="Freeform 8290"/>
            <p:cNvSpPr>
              <a:spLocks/>
            </p:cNvSpPr>
            <p:nvPr/>
          </p:nvSpPr>
          <p:spPr bwMode="auto">
            <a:xfrm>
              <a:off x="5472" y="2877"/>
              <a:ext cx="5" cy="2"/>
            </a:xfrm>
            <a:custGeom>
              <a:avLst/>
              <a:gdLst>
                <a:gd name="T0" fmla="*/ 2 w 4"/>
                <a:gd name="T1" fmla="*/ 0 h 2"/>
                <a:gd name="T2" fmla="*/ 0 w 4"/>
                <a:gd name="T3" fmla="*/ 1 h 2"/>
                <a:gd name="T4" fmla="*/ 2 w 4"/>
                <a:gd name="T5" fmla="*/ 2 h 2"/>
                <a:gd name="T6" fmla="*/ 4 w 4"/>
                <a:gd name="T7" fmla="*/ 1 h 2"/>
                <a:gd name="T8" fmla="*/ 2 w 4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2" y="0"/>
                  </a:moveTo>
                  <a:cubicBezTo>
                    <a:pt x="1" y="0"/>
                    <a:pt x="0" y="0"/>
                    <a:pt x="0" y="1"/>
                  </a:cubicBezTo>
                  <a:cubicBezTo>
                    <a:pt x="0" y="1"/>
                    <a:pt x="1" y="2"/>
                    <a:pt x="2" y="2"/>
                  </a:cubicBezTo>
                  <a:cubicBezTo>
                    <a:pt x="3" y="2"/>
                    <a:pt x="4" y="2"/>
                    <a:pt x="4" y="1"/>
                  </a:cubicBezTo>
                  <a:cubicBezTo>
                    <a:pt x="4" y="1"/>
                    <a:pt x="3" y="0"/>
                    <a:pt x="2" y="0"/>
                  </a:cubicBezTo>
                  <a:close/>
                </a:path>
              </a:pathLst>
            </a:custGeom>
            <a:solidFill>
              <a:srgbClr val="B751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26" name="Freeform 8291"/>
            <p:cNvSpPr>
              <a:spLocks/>
            </p:cNvSpPr>
            <p:nvPr/>
          </p:nvSpPr>
          <p:spPr bwMode="auto">
            <a:xfrm>
              <a:off x="5466" y="2879"/>
              <a:ext cx="3" cy="5"/>
            </a:xfrm>
            <a:custGeom>
              <a:avLst/>
              <a:gdLst>
                <a:gd name="T0" fmla="*/ 2 w 3"/>
                <a:gd name="T1" fmla="*/ 0 h 4"/>
                <a:gd name="T2" fmla="*/ 1 w 3"/>
                <a:gd name="T3" fmla="*/ 2 h 4"/>
                <a:gd name="T4" fmla="*/ 1 w 3"/>
                <a:gd name="T5" fmla="*/ 3 h 4"/>
                <a:gd name="T6" fmla="*/ 3 w 3"/>
                <a:gd name="T7" fmla="*/ 2 h 4"/>
                <a:gd name="T8" fmla="*/ 2 w 3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2" y="0"/>
                  </a:moveTo>
                  <a:cubicBezTo>
                    <a:pt x="2" y="0"/>
                    <a:pt x="1" y="1"/>
                    <a:pt x="1" y="2"/>
                  </a:cubicBezTo>
                  <a:cubicBezTo>
                    <a:pt x="0" y="2"/>
                    <a:pt x="1" y="3"/>
                    <a:pt x="1" y="3"/>
                  </a:cubicBezTo>
                  <a:cubicBezTo>
                    <a:pt x="2" y="4"/>
                    <a:pt x="2" y="3"/>
                    <a:pt x="3" y="2"/>
                  </a:cubicBezTo>
                  <a:cubicBezTo>
                    <a:pt x="3" y="1"/>
                    <a:pt x="3" y="1"/>
                    <a:pt x="2" y="0"/>
                  </a:cubicBezTo>
                  <a:close/>
                </a:path>
              </a:pathLst>
            </a:custGeom>
            <a:solidFill>
              <a:srgbClr val="B751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27" name="Freeform 8292"/>
            <p:cNvSpPr>
              <a:spLocks/>
            </p:cNvSpPr>
            <p:nvPr/>
          </p:nvSpPr>
          <p:spPr bwMode="auto">
            <a:xfrm>
              <a:off x="5467" y="2886"/>
              <a:ext cx="3" cy="4"/>
            </a:xfrm>
            <a:custGeom>
              <a:avLst/>
              <a:gdLst>
                <a:gd name="T0" fmla="*/ 0 w 3"/>
                <a:gd name="T1" fmla="*/ 1 h 3"/>
                <a:gd name="T2" fmla="*/ 1 w 3"/>
                <a:gd name="T3" fmla="*/ 3 h 3"/>
                <a:gd name="T4" fmla="*/ 3 w 3"/>
                <a:gd name="T5" fmla="*/ 3 h 3"/>
                <a:gd name="T6" fmla="*/ 2 w 3"/>
                <a:gd name="T7" fmla="*/ 1 h 3"/>
                <a:gd name="T8" fmla="*/ 0 w 3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0" y="1"/>
                  </a:moveTo>
                  <a:cubicBezTo>
                    <a:pt x="0" y="1"/>
                    <a:pt x="0" y="2"/>
                    <a:pt x="1" y="3"/>
                  </a:cubicBezTo>
                  <a:cubicBezTo>
                    <a:pt x="2" y="3"/>
                    <a:pt x="3" y="3"/>
                    <a:pt x="3" y="3"/>
                  </a:cubicBezTo>
                  <a:cubicBezTo>
                    <a:pt x="3" y="3"/>
                    <a:pt x="3" y="2"/>
                    <a:pt x="2" y="1"/>
                  </a:cubicBezTo>
                  <a:cubicBezTo>
                    <a:pt x="2" y="1"/>
                    <a:pt x="1" y="0"/>
                    <a:pt x="0" y="1"/>
                  </a:cubicBezTo>
                  <a:close/>
                </a:path>
              </a:pathLst>
            </a:custGeom>
            <a:solidFill>
              <a:srgbClr val="B751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28" name="Freeform 8293"/>
            <p:cNvSpPr>
              <a:spLocks/>
            </p:cNvSpPr>
            <p:nvPr/>
          </p:nvSpPr>
          <p:spPr bwMode="auto">
            <a:xfrm>
              <a:off x="5474" y="2888"/>
              <a:ext cx="4" cy="3"/>
            </a:xfrm>
            <a:custGeom>
              <a:avLst/>
              <a:gdLst>
                <a:gd name="T0" fmla="*/ 1 w 3"/>
                <a:gd name="T1" fmla="*/ 1 h 3"/>
                <a:gd name="T2" fmla="*/ 0 w 3"/>
                <a:gd name="T3" fmla="*/ 3 h 3"/>
                <a:gd name="T4" fmla="*/ 2 w 3"/>
                <a:gd name="T5" fmla="*/ 2 h 3"/>
                <a:gd name="T6" fmla="*/ 3 w 3"/>
                <a:gd name="T7" fmla="*/ 1 h 3"/>
                <a:gd name="T8" fmla="*/ 1 w 3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1" y="1"/>
                  </a:moveTo>
                  <a:cubicBezTo>
                    <a:pt x="1" y="1"/>
                    <a:pt x="0" y="2"/>
                    <a:pt x="0" y="3"/>
                  </a:cubicBezTo>
                  <a:cubicBezTo>
                    <a:pt x="1" y="3"/>
                    <a:pt x="2" y="3"/>
                    <a:pt x="2" y="2"/>
                  </a:cubicBezTo>
                  <a:cubicBezTo>
                    <a:pt x="3" y="2"/>
                    <a:pt x="3" y="1"/>
                    <a:pt x="3" y="1"/>
                  </a:cubicBezTo>
                  <a:cubicBezTo>
                    <a:pt x="3" y="0"/>
                    <a:pt x="2" y="0"/>
                    <a:pt x="1" y="1"/>
                  </a:cubicBezTo>
                  <a:close/>
                </a:path>
              </a:pathLst>
            </a:custGeom>
            <a:solidFill>
              <a:srgbClr val="B751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29" name="Freeform 8294"/>
            <p:cNvSpPr>
              <a:spLocks/>
            </p:cNvSpPr>
            <p:nvPr/>
          </p:nvSpPr>
          <p:spPr bwMode="auto">
            <a:xfrm>
              <a:off x="5478" y="2882"/>
              <a:ext cx="3" cy="3"/>
            </a:xfrm>
            <a:custGeom>
              <a:avLst/>
              <a:gdLst>
                <a:gd name="T0" fmla="*/ 1 w 3"/>
                <a:gd name="T1" fmla="*/ 0 h 3"/>
                <a:gd name="T2" fmla="*/ 1 w 3"/>
                <a:gd name="T3" fmla="*/ 1 h 3"/>
                <a:gd name="T4" fmla="*/ 2 w 3"/>
                <a:gd name="T5" fmla="*/ 3 h 3"/>
                <a:gd name="T6" fmla="*/ 2 w 3"/>
                <a:gd name="T7" fmla="*/ 1 h 3"/>
                <a:gd name="T8" fmla="*/ 1 w 3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1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1" y="2"/>
                    <a:pt x="1" y="3"/>
                    <a:pt x="2" y="3"/>
                  </a:cubicBezTo>
                  <a:cubicBezTo>
                    <a:pt x="2" y="3"/>
                    <a:pt x="3" y="2"/>
                    <a:pt x="2" y="1"/>
                  </a:cubicBezTo>
                  <a:cubicBezTo>
                    <a:pt x="2" y="0"/>
                    <a:pt x="2" y="0"/>
                    <a:pt x="1" y="0"/>
                  </a:cubicBezTo>
                  <a:close/>
                </a:path>
              </a:pathLst>
            </a:custGeom>
            <a:solidFill>
              <a:srgbClr val="B751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30" name="Oval 8295"/>
            <p:cNvSpPr>
              <a:spLocks noChangeArrowheads="1"/>
            </p:cNvSpPr>
            <p:nvPr/>
          </p:nvSpPr>
          <p:spPr bwMode="auto">
            <a:xfrm>
              <a:off x="5472" y="2883"/>
              <a:ext cx="2" cy="2"/>
            </a:xfrm>
            <a:prstGeom prst="ellipse">
              <a:avLst/>
            </a:prstGeom>
            <a:solidFill>
              <a:srgbClr val="B751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31" name="Freeform 8296"/>
            <p:cNvSpPr>
              <a:spLocks/>
            </p:cNvSpPr>
            <p:nvPr/>
          </p:nvSpPr>
          <p:spPr bwMode="auto">
            <a:xfrm>
              <a:off x="5440" y="2851"/>
              <a:ext cx="22" cy="20"/>
            </a:xfrm>
            <a:custGeom>
              <a:avLst/>
              <a:gdLst>
                <a:gd name="T0" fmla="*/ 8 w 18"/>
                <a:gd name="T1" fmla="*/ 16 h 16"/>
                <a:gd name="T2" fmla="*/ 9 w 18"/>
                <a:gd name="T3" fmla="*/ 0 h 16"/>
                <a:gd name="T4" fmla="*/ 8 w 18"/>
                <a:gd name="T5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6">
                  <a:moveTo>
                    <a:pt x="8" y="16"/>
                  </a:moveTo>
                  <a:cubicBezTo>
                    <a:pt x="18" y="10"/>
                    <a:pt x="9" y="0"/>
                    <a:pt x="9" y="0"/>
                  </a:cubicBezTo>
                  <a:cubicBezTo>
                    <a:pt x="9" y="0"/>
                    <a:pt x="0" y="7"/>
                    <a:pt x="8" y="16"/>
                  </a:cubicBezTo>
                  <a:close/>
                </a:path>
              </a:pathLst>
            </a:custGeom>
            <a:solidFill>
              <a:srgbClr val="B751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32" name="Freeform 8297"/>
            <p:cNvSpPr>
              <a:spLocks/>
            </p:cNvSpPr>
            <p:nvPr/>
          </p:nvSpPr>
          <p:spPr bwMode="auto">
            <a:xfrm>
              <a:off x="5430" y="2857"/>
              <a:ext cx="20" cy="20"/>
            </a:xfrm>
            <a:custGeom>
              <a:avLst/>
              <a:gdLst>
                <a:gd name="T0" fmla="*/ 0 w 16"/>
                <a:gd name="T1" fmla="*/ 5 h 16"/>
                <a:gd name="T2" fmla="*/ 16 w 16"/>
                <a:gd name="T3" fmla="*/ 11 h 16"/>
                <a:gd name="T4" fmla="*/ 0 w 16"/>
                <a:gd name="T5" fmla="*/ 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6">
                  <a:moveTo>
                    <a:pt x="0" y="5"/>
                  </a:moveTo>
                  <a:cubicBezTo>
                    <a:pt x="0" y="5"/>
                    <a:pt x="5" y="16"/>
                    <a:pt x="16" y="11"/>
                  </a:cubicBezTo>
                  <a:cubicBezTo>
                    <a:pt x="13" y="0"/>
                    <a:pt x="0" y="5"/>
                    <a:pt x="0" y="5"/>
                  </a:cubicBezTo>
                  <a:close/>
                </a:path>
              </a:pathLst>
            </a:custGeom>
            <a:solidFill>
              <a:srgbClr val="B751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33" name="Freeform 8298"/>
            <p:cNvSpPr>
              <a:spLocks/>
            </p:cNvSpPr>
            <p:nvPr/>
          </p:nvSpPr>
          <p:spPr bwMode="auto">
            <a:xfrm>
              <a:off x="5435" y="2871"/>
              <a:ext cx="16" cy="15"/>
            </a:xfrm>
            <a:custGeom>
              <a:avLst/>
              <a:gdLst>
                <a:gd name="T0" fmla="*/ 1 w 13"/>
                <a:gd name="T1" fmla="*/ 13 h 13"/>
                <a:gd name="T2" fmla="*/ 12 w 13"/>
                <a:gd name="T3" fmla="*/ 0 h 13"/>
                <a:gd name="T4" fmla="*/ 1 w 13"/>
                <a:gd name="T5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3">
                  <a:moveTo>
                    <a:pt x="1" y="13"/>
                  </a:moveTo>
                  <a:cubicBezTo>
                    <a:pt x="1" y="13"/>
                    <a:pt x="13" y="12"/>
                    <a:pt x="12" y="0"/>
                  </a:cubicBezTo>
                  <a:cubicBezTo>
                    <a:pt x="0" y="0"/>
                    <a:pt x="1" y="13"/>
                    <a:pt x="1" y="13"/>
                  </a:cubicBezTo>
                  <a:close/>
                </a:path>
              </a:pathLst>
            </a:custGeom>
            <a:solidFill>
              <a:srgbClr val="B751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34" name="Freeform 8299"/>
            <p:cNvSpPr>
              <a:spLocks/>
            </p:cNvSpPr>
            <p:nvPr/>
          </p:nvSpPr>
          <p:spPr bwMode="auto">
            <a:xfrm>
              <a:off x="5445" y="2871"/>
              <a:ext cx="18" cy="18"/>
            </a:xfrm>
            <a:custGeom>
              <a:avLst/>
              <a:gdLst>
                <a:gd name="T0" fmla="*/ 4 w 15"/>
                <a:gd name="T1" fmla="*/ 0 h 15"/>
                <a:gd name="T2" fmla="*/ 13 w 15"/>
                <a:gd name="T3" fmla="*/ 15 h 15"/>
                <a:gd name="T4" fmla="*/ 4 w 15"/>
                <a:gd name="T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5">
                  <a:moveTo>
                    <a:pt x="4" y="0"/>
                  </a:moveTo>
                  <a:cubicBezTo>
                    <a:pt x="0" y="11"/>
                    <a:pt x="13" y="15"/>
                    <a:pt x="13" y="15"/>
                  </a:cubicBezTo>
                  <a:cubicBezTo>
                    <a:pt x="13" y="15"/>
                    <a:pt x="15" y="3"/>
                    <a:pt x="4" y="0"/>
                  </a:cubicBezTo>
                  <a:close/>
                </a:path>
              </a:pathLst>
            </a:custGeom>
            <a:solidFill>
              <a:srgbClr val="B751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35" name="Freeform 8300"/>
            <p:cNvSpPr>
              <a:spLocks/>
            </p:cNvSpPr>
            <p:nvPr/>
          </p:nvSpPr>
          <p:spPr bwMode="auto">
            <a:xfrm>
              <a:off x="5450" y="2860"/>
              <a:ext cx="19" cy="20"/>
            </a:xfrm>
            <a:custGeom>
              <a:avLst/>
              <a:gdLst>
                <a:gd name="T0" fmla="*/ 0 w 16"/>
                <a:gd name="T1" fmla="*/ 9 h 17"/>
                <a:gd name="T2" fmla="*/ 16 w 16"/>
                <a:gd name="T3" fmla="*/ 6 h 17"/>
                <a:gd name="T4" fmla="*/ 0 w 16"/>
                <a:gd name="T5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7">
                  <a:moveTo>
                    <a:pt x="0" y="9"/>
                  </a:moveTo>
                  <a:cubicBezTo>
                    <a:pt x="9" y="17"/>
                    <a:pt x="16" y="6"/>
                    <a:pt x="16" y="6"/>
                  </a:cubicBezTo>
                  <a:cubicBezTo>
                    <a:pt x="16" y="6"/>
                    <a:pt x="6" y="0"/>
                    <a:pt x="0" y="9"/>
                  </a:cubicBezTo>
                  <a:close/>
                </a:path>
              </a:pathLst>
            </a:custGeom>
            <a:solidFill>
              <a:srgbClr val="B751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36" name="Freeform 8301"/>
            <p:cNvSpPr>
              <a:spLocks/>
            </p:cNvSpPr>
            <p:nvPr/>
          </p:nvSpPr>
          <p:spPr bwMode="auto">
            <a:xfrm>
              <a:off x="5449" y="2863"/>
              <a:ext cx="3" cy="3"/>
            </a:xfrm>
            <a:custGeom>
              <a:avLst/>
              <a:gdLst>
                <a:gd name="T0" fmla="*/ 2 w 3"/>
                <a:gd name="T1" fmla="*/ 0 h 2"/>
                <a:gd name="T2" fmla="*/ 0 w 3"/>
                <a:gd name="T3" fmla="*/ 1 h 2"/>
                <a:gd name="T4" fmla="*/ 2 w 3"/>
                <a:gd name="T5" fmla="*/ 2 h 2"/>
                <a:gd name="T6" fmla="*/ 3 w 3"/>
                <a:gd name="T7" fmla="*/ 1 h 2"/>
                <a:gd name="T8" fmla="*/ 2 w 3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2">
                  <a:moveTo>
                    <a:pt x="2" y="0"/>
                  </a:moveTo>
                  <a:cubicBezTo>
                    <a:pt x="1" y="0"/>
                    <a:pt x="0" y="1"/>
                    <a:pt x="0" y="1"/>
                  </a:cubicBezTo>
                  <a:cubicBezTo>
                    <a:pt x="0" y="2"/>
                    <a:pt x="1" y="2"/>
                    <a:pt x="2" y="2"/>
                  </a:cubicBezTo>
                  <a:cubicBezTo>
                    <a:pt x="2" y="2"/>
                    <a:pt x="3" y="2"/>
                    <a:pt x="3" y="1"/>
                  </a:cubicBezTo>
                  <a:cubicBezTo>
                    <a:pt x="3" y="1"/>
                    <a:pt x="3" y="0"/>
                    <a:pt x="2" y="0"/>
                  </a:cubicBezTo>
                  <a:close/>
                </a:path>
              </a:pathLst>
            </a:custGeom>
            <a:solidFill>
              <a:srgbClr val="E79B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37" name="Freeform 8302"/>
            <p:cNvSpPr>
              <a:spLocks/>
            </p:cNvSpPr>
            <p:nvPr/>
          </p:nvSpPr>
          <p:spPr bwMode="auto">
            <a:xfrm>
              <a:off x="5442" y="2866"/>
              <a:ext cx="3" cy="5"/>
            </a:xfrm>
            <a:custGeom>
              <a:avLst/>
              <a:gdLst>
                <a:gd name="T0" fmla="*/ 2 w 2"/>
                <a:gd name="T1" fmla="*/ 1 h 4"/>
                <a:gd name="T2" fmla="*/ 0 w 2"/>
                <a:gd name="T3" fmla="*/ 2 h 4"/>
                <a:gd name="T4" fmla="*/ 1 w 2"/>
                <a:gd name="T5" fmla="*/ 4 h 4"/>
                <a:gd name="T6" fmla="*/ 2 w 2"/>
                <a:gd name="T7" fmla="*/ 3 h 4"/>
                <a:gd name="T8" fmla="*/ 2 w 2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2" y="1"/>
                  </a:moveTo>
                  <a:cubicBezTo>
                    <a:pt x="1" y="0"/>
                    <a:pt x="1" y="1"/>
                    <a:pt x="0" y="2"/>
                  </a:cubicBezTo>
                  <a:cubicBezTo>
                    <a:pt x="0" y="3"/>
                    <a:pt x="0" y="3"/>
                    <a:pt x="1" y="4"/>
                  </a:cubicBezTo>
                  <a:cubicBezTo>
                    <a:pt x="1" y="4"/>
                    <a:pt x="2" y="3"/>
                    <a:pt x="2" y="3"/>
                  </a:cubicBezTo>
                  <a:cubicBezTo>
                    <a:pt x="2" y="2"/>
                    <a:pt x="2" y="1"/>
                    <a:pt x="2" y="1"/>
                  </a:cubicBezTo>
                  <a:close/>
                </a:path>
              </a:pathLst>
            </a:custGeom>
            <a:solidFill>
              <a:srgbClr val="E79B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38" name="Freeform 8303"/>
            <p:cNvSpPr>
              <a:spLocks/>
            </p:cNvSpPr>
            <p:nvPr/>
          </p:nvSpPr>
          <p:spPr bwMode="auto">
            <a:xfrm>
              <a:off x="5444" y="2874"/>
              <a:ext cx="3" cy="4"/>
            </a:xfrm>
            <a:custGeom>
              <a:avLst/>
              <a:gdLst>
                <a:gd name="T0" fmla="*/ 0 w 3"/>
                <a:gd name="T1" fmla="*/ 0 h 3"/>
                <a:gd name="T2" fmla="*/ 1 w 3"/>
                <a:gd name="T3" fmla="*/ 2 h 3"/>
                <a:gd name="T4" fmla="*/ 3 w 3"/>
                <a:gd name="T5" fmla="*/ 2 h 3"/>
                <a:gd name="T6" fmla="*/ 2 w 3"/>
                <a:gd name="T7" fmla="*/ 0 h 3"/>
                <a:gd name="T8" fmla="*/ 0 w 3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cubicBezTo>
                    <a:pt x="0" y="1"/>
                    <a:pt x="0" y="1"/>
                    <a:pt x="1" y="2"/>
                  </a:cubicBezTo>
                  <a:cubicBezTo>
                    <a:pt x="1" y="2"/>
                    <a:pt x="2" y="3"/>
                    <a:pt x="3" y="2"/>
                  </a:cubicBezTo>
                  <a:cubicBezTo>
                    <a:pt x="3" y="2"/>
                    <a:pt x="3" y="1"/>
                    <a:pt x="2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E79B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39" name="Freeform 8304"/>
            <p:cNvSpPr>
              <a:spLocks/>
            </p:cNvSpPr>
            <p:nvPr/>
          </p:nvSpPr>
          <p:spPr bwMode="auto">
            <a:xfrm>
              <a:off x="5451" y="2875"/>
              <a:ext cx="4" cy="3"/>
            </a:xfrm>
            <a:custGeom>
              <a:avLst/>
              <a:gdLst>
                <a:gd name="T0" fmla="*/ 1 w 3"/>
                <a:gd name="T1" fmla="*/ 0 h 2"/>
                <a:gd name="T2" fmla="*/ 0 w 3"/>
                <a:gd name="T3" fmla="*/ 2 h 2"/>
                <a:gd name="T4" fmla="*/ 2 w 3"/>
                <a:gd name="T5" fmla="*/ 2 h 2"/>
                <a:gd name="T6" fmla="*/ 3 w 3"/>
                <a:gd name="T7" fmla="*/ 0 h 2"/>
                <a:gd name="T8" fmla="*/ 1 w 3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2">
                  <a:moveTo>
                    <a:pt x="1" y="0"/>
                  </a:moveTo>
                  <a:cubicBezTo>
                    <a:pt x="0" y="1"/>
                    <a:pt x="0" y="1"/>
                    <a:pt x="0" y="2"/>
                  </a:cubicBezTo>
                  <a:cubicBezTo>
                    <a:pt x="0" y="2"/>
                    <a:pt x="1" y="2"/>
                    <a:pt x="2" y="2"/>
                  </a:cubicBezTo>
                  <a:cubicBezTo>
                    <a:pt x="3" y="1"/>
                    <a:pt x="3" y="1"/>
                    <a:pt x="3" y="0"/>
                  </a:cubicBezTo>
                  <a:cubicBezTo>
                    <a:pt x="2" y="0"/>
                    <a:pt x="2" y="0"/>
                    <a:pt x="1" y="0"/>
                  </a:cubicBezTo>
                  <a:close/>
                </a:path>
              </a:pathLst>
            </a:custGeom>
            <a:solidFill>
              <a:srgbClr val="E79B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40" name="Freeform 8305"/>
            <p:cNvSpPr>
              <a:spLocks/>
            </p:cNvSpPr>
            <p:nvPr/>
          </p:nvSpPr>
          <p:spPr bwMode="auto">
            <a:xfrm>
              <a:off x="5455" y="2868"/>
              <a:ext cx="2" cy="4"/>
            </a:xfrm>
            <a:custGeom>
              <a:avLst/>
              <a:gdLst>
                <a:gd name="T0" fmla="*/ 1 w 2"/>
                <a:gd name="T1" fmla="*/ 0 h 3"/>
                <a:gd name="T2" fmla="*/ 0 w 2"/>
                <a:gd name="T3" fmla="*/ 2 h 3"/>
                <a:gd name="T4" fmla="*/ 1 w 2"/>
                <a:gd name="T5" fmla="*/ 3 h 3"/>
                <a:gd name="T6" fmla="*/ 2 w 2"/>
                <a:gd name="T7" fmla="*/ 1 h 3"/>
                <a:gd name="T8" fmla="*/ 1 w 2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3">
                  <a:moveTo>
                    <a:pt x="1" y="0"/>
                  </a:moveTo>
                  <a:cubicBezTo>
                    <a:pt x="0" y="0"/>
                    <a:pt x="0" y="1"/>
                    <a:pt x="0" y="2"/>
                  </a:cubicBezTo>
                  <a:cubicBezTo>
                    <a:pt x="0" y="3"/>
                    <a:pt x="1" y="3"/>
                    <a:pt x="1" y="3"/>
                  </a:cubicBezTo>
                  <a:cubicBezTo>
                    <a:pt x="2" y="3"/>
                    <a:pt x="2" y="2"/>
                    <a:pt x="2" y="1"/>
                  </a:cubicBezTo>
                  <a:cubicBezTo>
                    <a:pt x="2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E79B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41" name="Freeform 8306"/>
            <p:cNvSpPr>
              <a:spLocks/>
            </p:cNvSpPr>
            <p:nvPr/>
          </p:nvSpPr>
          <p:spPr bwMode="auto">
            <a:xfrm>
              <a:off x="5449" y="2869"/>
              <a:ext cx="2" cy="3"/>
            </a:xfrm>
            <a:custGeom>
              <a:avLst/>
              <a:gdLst>
                <a:gd name="T0" fmla="*/ 1 w 2"/>
                <a:gd name="T1" fmla="*/ 0 h 2"/>
                <a:gd name="T2" fmla="*/ 0 w 2"/>
                <a:gd name="T3" fmla="*/ 1 h 2"/>
                <a:gd name="T4" fmla="*/ 1 w 2"/>
                <a:gd name="T5" fmla="*/ 2 h 2"/>
                <a:gd name="T6" fmla="*/ 2 w 2"/>
                <a:gd name="T7" fmla="*/ 1 h 2"/>
                <a:gd name="T8" fmla="*/ 1 w 2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1" y="0"/>
                  </a:moveTo>
                  <a:cubicBezTo>
                    <a:pt x="0" y="0"/>
                    <a:pt x="0" y="1"/>
                    <a:pt x="0" y="1"/>
                  </a:cubicBezTo>
                  <a:cubicBezTo>
                    <a:pt x="0" y="2"/>
                    <a:pt x="0" y="2"/>
                    <a:pt x="1" y="2"/>
                  </a:cubicBezTo>
                  <a:cubicBezTo>
                    <a:pt x="1" y="2"/>
                    <a:pt x="2" y="2"/>
                    <a:pt x="2" y="1"/>
                  </a:cubicBezTo>
                  <a:cubicBezTo>
                    <a:pt x="2" y="1"/>
                    <a:pt x="1" y="1"/>
                    <a:pt x="1" y="0"/>
                  </a:cubicBezTo>
                  <a:close/>
                </a:path>
              </a:pathLst>
            </a:custGeom>
            <a:solidFill>
              <a:srgbClr val="E79B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42" name="Freeform 8307"/>
            <p:cNvSpPr>
              <a:spLocks/>
            </p:cNvSpPr>
            <p:nvPr/>
          </p:nvSpPr>
          <p:spPr bwMode="auto">
            <a:xfrm>
              <a:off x="5407" y="2866"/>
              <a:ext cx="21" cy="20"/>
            </a:xfrm>
            <a:custGeom>
              <a:avLst/>
              <a:gdLst>
                <a:gd name="T0" fmla="*/ 7 w 17"/>
                <a:gd name="T1" fmla="*/ 0 h 17"/>
                <a:gd name="T2" fmla="*/ 10 w 17"/>
                <a:gd name="T3" fmla="*/ 17 h 17"/>
                <a:gd name="T4" fmla="*/ 7 w 17"/>
                <a:gd name="T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17">
                  <a:moveTo>
                    <a:pt x="7" y="0"/>
                  </a:moveTo>
                  <a:cubicBezTo>
                    <a:pt x="7" y="0"/>
                    <a:pt x="0" y="10"/>
                    <a:pt x="10" y="17"/>
                  </a:cubicBezTo>
                  <a:cubicBezTo>
                    <a:pt x="17" y="8"/>
                    <a:pt x="7" y="0"/>
                    <a:pt x="7" y="0"/>
                  </a:cubicBezTo>
                  <a:close/>
                </a:path>
              </a:pathLst>
            </a:custGeom>
            <a:solidFill>
              <a:srgbClr val="CC62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43" name="Freeform 8308"/>
            <p:cNvSpPr>
              <a:spLocks/>
            </p:cNvSpPr>
            <p:nvPr/>
          </p:nvSpPr>
          <p:spPr bwMode="auto">
            <a:xfrm>
              <a:off x="5399" y="2874"/>
              <a:ext cx="20" cy="21"/>
            </a:xfrm>
            <a:custGeom>
              <a:avLst/>
              <a:gdLst>
                <a:gd name="T0" fmla="*/ 0 w 17"/>
                <a:gd name="T1" fmla="*/ 8 h 17"/>
                <a:gd name="T2" fmla="*/ 17 w 17"/>
                <a:gd name="T3" fmla="*/ 10 h 17"/>
                <a:gd name="T4" fmla="*/ 0 w 17"/>
                <a:gd name="T5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17">
                  <a:moveTo>
                    <a:pt x="0" y="8"/>
                  </a:moveTo>
                  <a:cubicBezTo>
                    <a:pt x="0" y="8"/>
                    <a:pt x="7" y="17"/>
                    <a:pt x="17" y="10"/>
                  </a:cubicBezTo>
                  <a:cubicBezTo>
                    <a:pt x="10" y="0"/>
                    <a:pt x="0" y="8"/>
                    <a:pt x="0" y="8"/>
                  </a:cubicBezTo>
                  <a:close/>
                </a:path>
              </a:pathLst>
            </a:custGeom>
            <a:solidFill>
              <a:srgbClr val="CC62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44" name="Freeform 8309"/>
            <p:cNvSpPr>
              <a:spLocks/>
            </p:cNvSpPr>
            <p:nvPr/>
          </p:nvSpPr>
          <p:spPr bwMode="auto">
            <a:xfrm>
              <a:off x="5405" y="2886"/>
              <a:ext cx="18" cy="19"/>
            </a:xfrm>
            <a:custGeom>
              <a:avLst/>
              <a:gdLst>
                <a:gd name="T0" fmla="*/ 4 w 15"/>
                <a:gd name="T1" fmla="*/ 15 h 15"/>
                <a:gd name="T2" fmla="*/ 12 w 15"/>
                <a:gd name="T3" fmla="*/ 0 h 15"/>
                <a:gd name="T4" fmla="*/ 4 w 15"/>
                <a:gd name="T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5">
                  <a:moveTo>
                    <a:pt x="4" y="15"/>
                  </a:moveTo>
                  <a:cubicBezTo>
                    <a:pt x="4" y="15"/>
                    <a:pt x="15" y="11"/>
                    <a:pt x="12" y="0"/>
                  </a:cubicBezTo>
                  <a:cubicBezTo>
                    <a:pt x="0" y="3"/>
                    <a:pt x="4" y="15"/>
                    <a:pt x="4" y="15"/>
                  </a:cubicBezTo>
                  <a:close/>
                </a:path>
              </a:pathLst>
            </a:custGeom>
            <a:solidFill>
              <a:srgbClr val="CC62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45" name="Freeform 8310"/>
            <p:cNvSpPr>
              <a:spLocks/>
            </p:cNvSpPr>
            <p:nvPr/>
          </p:nvSpPr>
          <p:spPr bwMode="auto">
            <a:xfrm>
              <a:off x="5418" y="2886"/>
              <a:ext cx="16" cy="15"/>
            </a:xfrm>
            <a:custGeom>
              <a:avLst/>
              <a:gdLst>
                <a:gd name="T0" fmla="*/ 1 w 13"/>
                <a:gd name="T1" fmla="*/ 0 h 12"/>
                <a:gd name="T2" fmla="*/ 13 w 13"/>
                <a:gd name="T3" fmla="*/ 12 h 12"/>
                <a:gd name="T4" fmla="*/ 1 w 13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2">
                  <a:moveTo>
                    <a:pt x="1" y="0"/>
                  </a:moveTo>
                  <a:cubicBezTo>
                    <a:pt x="0" y="12"/>
                    <a:pt x="13" y="12"/>
                    <a:pt x="13" y="12"/>
                  </a:cubicBezTo>
                  <a:cubicBezTo>
                    <a:pt x="13" y="12"/>
                    <a:pt x="12" y="0"/>
                    <a:pt x="1" y="0"/>
                  </a:cubicBezTo>
                  <a:close/>
                </a:path>
              </a:pathLst>
            </a:custGeom>
            <a:solidFill>
              <a:srgbClr val="CC62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46" name="Freeform 8311"/>
            <p:cNvSpPr>
              <a:spLocks/>
            </p:cNvSpPr>
            <p:nvPr/>
          </p:nvSpPr>
          <p:spPr bwMode="auto">
            <a:xfrm>
              <a:off x="5419" y="2873"/>
              <a:ext cx="17" cy="18"/>
            </a:xfrm>
            <a:custGeom>
              <a:avLst/>
              <a:gdLst>
                <a:gd name="T0" fmla="*/ 0 w 14"/>
                <a:gd name="T1" fmla="*/ 11 h 15"/>
                <a:gd name="T2" fmla="*/ 14 w 14"/>
                <a:gd name="T3" fmla="*/ 3 h 15"/>
                <a:gd name="T4" fmla="*/ 0 w 14"/>
                <a:gd name="T5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15">
                  <a:moveTo>
                    <a:pt x="0" y="11"/>
                  </a:moveTo>
                  <a:cubicBezTo>
                    <a:pt x="10" y="15"/>
                    <a:pt x="14" y="3"/>
                    <a:pt x="14" y="3"/>
                  </a:cubicBezTo>
                  <a:cubicBezTo>
                    <a:pt x="14" y="3"/>
                    <a:pt x="3" y="0"/>
                    <a:pt x="0" y="11"/>
                  </a:cubicBezTo>
                  <a:close/>
                </a:path>
              </a:pathLst>
            </a:custGeom>
            <a:solidFill>
              <a:srgbClr val="CC62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47" name="Freeform 8312"/>
            <p:cNvSpPr>
              <a:spLocks/>
            </p:cNvSpPr>
            <p:nvPr/>
          </p:nvSpPr>
          <p:spPr bwMode="auto">
            <a:xfrm>
              <a:off x="5416" y="2879"/>
              <a:ext cx="5" cy="3"/>
            </a:xfrm>
            <a:custGeom>
              <a:avLst/>
              <a:gdLst>
                <a:gd name="T0" fmla="*/ 2 w 4"/>
                <a:gd name="T1" fmla="*/ 0 h 2"/>
                <a:gd name="T2" fmla="*/ 0 w 4"/>
                <a:gd name="T3" fmla="*/ 1 h 2"/>
                <a:gd name="T4" fmla="*/ 2 w 4"/>
                <a:gd name="T5" fmla="*/ 2 h 2"/>
                <a:gd name="T6" fmla="*/ 3 w 4"/>
                <a:gd name="T7" fmla="*/ 0 h 2"/>
                <a:gd name="T8" fmla="*/ 2 w 4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2" y="0"/>
                  </a:moveTo>
                  <a:cubicBezTo>
                    <a:pt x="1" y="0"/>
                    <a:pt x="0" y="1"/>
                    <a:pt x="0" y="1"/>
                  </a:cubicBezTo>
                  <a:cubicBezTo>
                    <a:pt x="0" y="2"/>
                    <a:pt x="1" y="2"/>
                    <a:pt x="2" y="2"/>
                  </a:cubicBezTo>
                  <a:cubicBezTo>
                    <a:pt x="3" y="2"/>
                    <a:pt x="4" y="1"/>
                    <a:pt x="3" y="0"/>
                  </a:cubicBezTo>
                  <a:cubicBezTo>
                    <a:pt x="3" y="0"/>
                    <a:pt x="3" y="0"/>
                    <a:pt x="2" y="0"/>
                  </a:cubicBezTo>
                  <a:close/>
                </a:path>
              </a:pathLst>
            </a:custGeom>
            <a:solidFill>
              <a:srgbClr val="E782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48" name="Freeform 8313"/>
            <p:cNvSpPr>
              <a:spLocks/>
            </p:cNvSpPr>
            <p:nvPr/>
          </p:nvSpPr>
          <p:spPr bwMode="auto">
            <a:xfrm>
              <a:off x="5411" y="2883"/>
              <a:ext cx="2" cy="5"/>
            </a:xfrm>
            <a:custGeom>
              <a:avLst/>
              <a:gdLst>
                <a:gd name="T0" fmla="*/ 2 w 2"/>
                <a:gd name="T1" fmla="*/ 0 h 4"/>
                <a:gd name="T2" fmla="*/ 1 w 2"/>
                <a:gd name="T3" fmla="*/ 2 h 4"/>
                <a:gd name="T4" fmla="*/ 1 w 2"/>
                <a:gd name="T5" fmla="*/ 4 h 4"/>
                <a:gd name="T6" fmla="*/ 2 w 2"/>
                <a:gd name="T7" fmla="*/ 2 h 4"/>
                <a:gd name="T8" fmla="*/ 2 w 2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2" y="0"/>
                  </a:moveTo>
                  <a:cubicBezTo>
                    <a:pt x="1" y="0"/>
                    <a:pt x="1" y="1"/>
                    <a:pt x="1" y="2"/>
                  </a:cubicBezTo>
                  <a:cubicBezTo>
                    <a:pt x="0" y="3"/>
                    <a:pt x="1" y="4"/>
                    <a:pt x="1" y="4"/>
                  </a:cubicBezTo>
                  <a:cubicBezTo>
                    <a:pt x="2" y="4"/>
                    <a:pt x="2" y="3"/>
                    <a:pt x="2" y="2"/>
                  </a:cubicBezTo>
                  <a:cubicBezTo>
                    <a:pt x="2" y="1"/>
                    <a:pt x="2" y="0"/>
                    <a:pt x="2" y="0"/>
                  </a:cubicBezTo>
                  <a:close/>
                </a:path>
              </a:pathLst>
            </a:custGeom>
            <a:solidFill>
              <a:srgbClr val="E782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49" name="Freeform 8314"/>
            <p:cNvSpPr>
              <a:spLocks/>
            </p:cNvSpPr>
            <p:nvPr/>
          </p:nvSpPr>
          <p:spPr bwMode="auto">
            <a:xfrm>
              <a:off x="5413" y="2890"/>
              <a:ext cx="5" cy="4"/>
            </a:xfrm>
            <a:custGeom>
              <a:avLst/>
              <a:gdLst>
                <a:gd name="T0" fmla="*/ 2 w 4"/>
                <a:gd name="T1" fmla="*/ 1 h 3"/>
                <a:gd name="T2" fmla="*/ 1 w 4"/>
                <a:gd name="T3" fmla="*/ 1 h 3"/>
                <a:gd name="T4" fmla="*/ 2 w 4"/>
                <a:gd name="T5" fmla="*/ 2 h 3"/>
                <a:gd name="T6" fmla="*/ 4 w 4"/>
                <a:gd name="T7" fmla="*/ 2 h 3"/>
                <a:gd name="T8" fmla="*/ 2 w 4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3">
                  <a:moveTo>
                    <a:pt x="2" y="1"/>
                  </a:moveTo>
                  <a:cubicBezTo>
                    <a:pt x="2" y="0"/>
                    <a:pt x="1" y="0"/>
                    <a:pt x="1" y="1"/>
                  </a:cubicBezTo>
                  <a:cubicBezTo>
                    <a:pt x="0" y="1"/>
                    <a:pt x="1" y="2"/>
                    <a:pt x="2" y="2"/>
                  </a:cubicBezTo>
                  <a:cubicBezTo>
                    <a:pt x="2" y="3"/>
                    <a:pt x="3" y="3"/>
                    <a:pt x="4" y="2"/>
                  </a:cubicBezTo>
                  <a:cubicBezTo>
                    <a:pt x="4" y="2"/>
                    <a:pt x="3" y="1"/>
                    <a:pt x="2" y="1"/>
                  </a:cubicBezTo>
                  <a:close/>
                </a:path>
              </a:pathLst>
            </a:custGeom>
            <a:solidFill>
              <a:srgbClr val="E782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50" name="Freeform 8315"/>
            <p:cNvSpPr>
              <a:spLocks/>
            </p:cNvSpPr>
            <p:nvPr/>
          </p:nvSpPr>
          <p:spPr bwMode="auto">
            <a:xfrm>
              <a:off x="5422" y="2889"/>
              <a:ext cx="3" cy="3"/>
            </a:xfrm>
            <a:custGeom>
              <a:avLst/>
              <a:gdLst>
                <a:gd name="T0" fmla="*/ 0 w 3"/>
                <a:gd name="T1" fmla="*/ 1 h 3"/>
                <a:gd name="T2" fmla="*/ 0 w 3"/>
                <a:gd name="T3" fmla="*/ 3 h 3"/>
                <a:gd name="T4" fmla="*/ 2 w 3"/>
                <a:gd name="T5" fmla="*/ 2 h 3"/>
                <a:gd name="T6" fmla="*/ 2 w 3"/>
                <a:gd name="T7" fmla="*/ 1 h 3"/>
                <a:gd name="T8" fmla="*/ 0 w 3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0" y="1"/>
                  </a:move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1" y="3"/>
                    <a:pt x="2" y="2"/>
                  </a:cubicBezTo>
                  <a:cubicBezTo>
                    <a:pt x="2" y="2"/>
                    <a:pt x="3" y="1"/>
                    <a:pt x="2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solidFill>
              <a:srgbClr val="E782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51" name="Freeform 8316"/>
            <p:cNvSpPr>
              <a:spLocks/>
            </p:cNvSpPr>
            <p:nvPr/>
          </p:nvSpPr>
          <p:spPr bwMode="auto">
            <a:xfrm>
              <a:off x="5423" y="2882"/>
              <a:ext cx="2" cy="3"/>
            </a:xfrm>
            <a:custGeom>
              <a:avLst/>
              <a:gdLst>
                <a:gd name="T0" fmla="*/ 0 w 2"/>
                <a:gd name="T1" fmla="*/ 0 h 3"/>
                <a:gd name="T2" fmla="*/ 0 w 2"/>
                <a:gd name="T3" fmla="*/ 2 h 3"/>
                <a:gd name="T4" fmla="*/ 2 w 2"/>
                <a:gd name="T5" fmla="*/ 3 h 3"/>
                <a:gd name="T6" fmla="*/ 2 w 2"/>
                <a:gd name="T7" fmla="*/ 1 h 3"/>
                <a:gd name="T8" fmla="*/ 0 w 2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3">
                  <a:moveTo>
                    <a:pt x="0" y="0"/>
                  </a:moveTo>
                  <a:cubicBezTo>
                    <a:pt x="0" y="1"/>
                    <a:pt x="0" y="1"/>
                    <a:pt x="0" y="2"/>
                  </a:cubicBezTo>
                  <a:cubicBezTo>
                    <a:pt x="1" y="3"/>
                    <a:pt x="2" y="3"/>
                    <a:pt x="2" y="3"/>
                  </a:cubicBezTo>
                  <a:cubicBezTo>
                    <a:pt x="2" y="3"/>
                    <a:pt x="2" y="2"/>
                    <a:pt x="2" y="1"/>
                  </a:cubicBezTo>
                  <a:cubicBezTo>
                    <a:pt x="2" y="1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E782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52" name="Freeform 8317"/>
            <p:cNvSpPr>
              <a:spLocks/>
            </p:cNvSpPr>
            <p:nvPr/>
          </p:nvSpPr>
          <p:spPr bwMode="auto">
            <a:xfrm>
              <a:off x="5418" y="2885"/>
              <a:ext cx="3" cy="3"/>
            </a:xfrm>
            <a:custGeom>
              <a:avLst/>
              <a:gdLst>
                <a:gd name="T0" fmla="*/ 0 w 2"/>
                <a:gd name="T1" fmla="*/ 0 h 2"/>
                <a:gd name="T2" fmla="*/ 0 w 2"/>
                <a:gd name="T3" fmla="*/ 1 h 2"/>
                <a:gd name="T4" fmla="*/ 1 w 2"/>
                <a:gd name="T5" fmla="*/ 2 h 2"/>
                <a:gd name="T6" fmla="*/ 1 w 2"/>
                <a:gd name="T7" fmla="*/ 1 h 2"/>
                <a:gd name="T8" fmla="*/ 0 w 2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cubicBezTo>
                    <a:pt x="0" y="0"/>
                    <a:pt x="0" y="1"/>
                    <a:pt x="0" y="1"/>
                  </a:cubicBezTo>
                  <a:cubicBezTo>
                    <a:pt x="0" y="2"/>
                    <a:pt x="0" y="2"/>
                    <a:pt x="1" y="2"/>
                  </a:cubicBezTo>
                  <a:cubicBezTo>
                    <a:pt x="1" y="2"/>
                    <a:pt x="2" y="1"/>
                    <a:pt x="1" y="1"/>
                  </a:cubicBezTo>
                  <a:cubicBezTo>
                    <a:pt x="1" y="0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E782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53" name="Freeform 8318"/>
            <p:cNvSpPr>
              <a:spLocks/>
            </p:cNvSpPr>
            <p:nvPr/>
          </p:nvSpPr>
          <p:spPr bwMode="auto">
            <a:xfrm>
              <a:off x="5355" y="2851"/>
              <a:ext cx="21" cy="20"/>
            </a:xfrm>
            <a:custGeom>
              <a:avLst/>
              <a:gdLst>
                <a:gd name="T0" fmla="*/ 8 w 17"/>
                <a:gd name="T1" fmla="*/ 16 h 16"/>
                <a:gd name="T2" fmla="*/ 9 w 17"/>
                <a:gd name="T3" fmla="*/ 0 h 16"/>
                <a:gd name="T4" fmla="*/ 8 w 17"/>
                <a:gd name="T5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16">
                  <a:moveTo>
                    <a:pt x="8" y="16"/>
                  </a:moveTo>
                  <a:cubicBezTo>
                    <a:pt x="17" y="10"/>
                    <a:pt x="9" y="0"/>
                    <a:pt x="9" y="0"/>
                  </a:cubicBezTo>
                  <a:cubicBezTo>
                    <a:pt x="9" y="0"/>
                    <a:pt x="0" y="7"/>
                    <a:pt x="8" y="16"/>
                  </a:cubicBezTo>
                  <a:close/>
                </a:path>
              </a:pathLst>
            </a:custGeom>
            <a:solidFill>
              <a:srgbClr val="B751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54" name="Freeform 8319"/>
            <p:cNvSpPr>
              <a:spLocks/>
            </p:cNvSpPr>
            <p:nvPr/>
          </p:nvSpPr>
          <p:spPr bwMode="auto">
            <a:xfrm>
              <a:off x="5345" y="2857"/>
              <a:ext cx="20" cy="20"/>
            </a:xfrm>
            <a:custGeom>
              <a:avLst/>
              <a:gdLst>
                <a:gd name="T0" fmla="*/ 0 w 16"/>
                <a:gd name="T1" fmla="*/ 5 h 16"/>
                <a:gd name="T2" fmla="*/ 16 w 16"/>
                <a:gd name="T3" fmla="*/ 11 h 16"/>
                <a:gd name="T4" fmla="*/ 0 w 16"/>
                <a:gd name="T5" fmla="*/ 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6">
                  <a:moveTo>
                    <a:pt x="0" y="5"/>
                  </a:moveTo>
                  <a:cubicBezTo>
                    <a:pt x="0" y="5"/>
                    <a:pt x="5" y="16"/>
                    <a:pt x="16" y="11"/>
                  </a:cubicBezTo>
                  <a:cubicBezTo>
                    <a:pt x="12" y="0"/>
                    <a:pt x="0" y="5"/>
                    <a:pt x="0" y="5"/>
                  </a:cubicBezTo>
                  <a:close/>
                </a:path>
              </a:pathLst>
            </a:custGeom>
            <a:solidFill>
              <a:srgbClr val="B751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55" name="Freeform 8320"/>
            <p:cNvSpPr>
              <a:spLocks/>
            </p:cNvSpPr>
            <p:nvPr/>
          </p:nvSpPr>
          <p:spPr bwMode="auto">
            <a:xfrm>
              <a:off x="5350" y="2871"/>
              <a:ext cx="16" cy="15"/>
            </a:xfrm>
            <a:custGeom>
              <a:avLst/>
              <a:gdLst>
                <a:gd name="T0" fmla="*/ 1 w 13"/>
                <a:gd name="T1" fmla="*/ 13 h 13"/>
                <a:gd name="T2" fmla="*/ 12 w 13"/>
                <a:gd name="T3" fmla="*/ 0 h 13"/>
                <a:gd name="T4" fmla="*/ 1 w 13"/>
                <a:gd name="T5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3">
                  <a:moveTo>
                    <a:pt x="1" y="13"/>
                  </a:moveTo>
                  <a:cubicBezTo>
                    <a:pt x="1" y="13"/>
                    <a:pt x="13" y="12"/>
                    <a:pt x="12" y="0"/>
                  </a:cubicBezTo>
                  <a:cubicBezTo>
                    <a:pt x="0" y="0"/>
                    <a:pt x="1" y="13"/>
                    <a:pt x="1" y="13"/>
                  </a:cubicBezTo>
                  <a:close/>
                </a:path>
              </a:pathLst>
            </a:custGeom>
            <a:solidFill>
              <a:srgbClr val="B751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56" name="Freeform 8321"/>
            <p:cNvSpPr>
              <a:spLocks/>
            </p:cNvSpPr>
            <p:nvPr/>
          </p:nvSpPr>
          <p:spPr bwMode="auto">
            <a:xfrm>
              <a:off x="5360" y="2871"/>
              <a:ext cx="18" cy="18"/>
            </a:xfrm>
            <a:custGeom>
              <a:avLst/>
              <a:gdLst>
                <a:gd name="T0" fmla="*/ 4 w 15"/>
                <a:gd name="T1" fmla="*/ 0 h 15"/>
                <a:gd name="T2" fmla="*/ 12 w 15"/>
                <a:gd name="T3" fmla="*/ 15 h 15"/>
                <a:gd name="T4" fmla="*/ 4 w 15"/>
                <a:gd name="T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5">
                  <a:moveTo>
                    <a:pt x="4" y="0"/>
                  </a:moveTo>
                  <a:cubicBezTo>
                    <a:pt x="0" y="11"/>
                    <a:pt x="12" y="15"/>
                    <a:pt x="12" y="15"/>
                  </a:cubicBezTo>
                  <a:cubicBezTo>
                    <a:pt x="12" y="15"/>
                    <a:pt x="15" y="3"/>
                    <a:pt x="4" y="0"/>
                  </a:cubicBezTo>
                  <a:close/>
                </a:path>
              </a:pathLst>
            </a:custGeom>
            <a:solidFill>
              <a:srgbClr val="B751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57" name="Freeform 8322"/>
            <p:cNvSpPr>
              <a:spLocks/>
            </p:cNvSpPr>
            <p:nvPr/>
          </p:nvSpPr>
          <p:spPr bwMode="auto">
            <a:xfrm>
              <a:off x="5365" y="2858"/>
              <a:ext cx="19" cy="21"/>
            </a:xfrm>
            <a:custGeom>
              <a:avLst/>
              <a:gdLst>
                <a:gd name="T0" fmla="*/ 0 w 16"/>
                <a:gd name="T1" fmla="*/ 10 h 17"/>
                <a:gd name="T2" fmla="*/ 16 w 16"/>
                <a:gd name="T3" fmla="*/ 7 h 17"/>
                <a:gd name="T4" fmla="*/ 0 w 16"/>
                <a:gd name="T5" fmla="*/ 1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7">
                  <a:moveTo>
                    <a:pt x="0" y="10"/>
                  </a:moveTo>
                  <a:cubicBezTo>
                    <a:pt x="9" y="17"/>
                    <a:pt x="16" y="7"/>
                    <a:pt x="16" y="7"/>
                  </a:cubicBezTo>
                  <a:cubicBezTo>
                    <a:pt x="16" y="7"/>
                    <a:pt x="6" y="0"/>
                    <a:pt x="0" y="10"/>
                  </a:cubicBezTo>
                  <a:close/>
                </a:path>
              </a:pathLst>
            </a:custGeom>
            <a:solidFill>
              <a:srgbClr val="B751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58" name="Freeform 8323"/>
            <p:cNvSpPr>
              <a:spLocks/>
            </p:cNvSpPr>
            <p:nvPr/>
          </p:nvSpPr>
          <p:spPr bwMode="auto">
            <a:xfrm>
              <a:off x="5363" y="2863"/>
              <a:ext cx="4" cy="3"/>
            </a:xfrm>
            <a:custGeom>
              <a:avLst/>
              <a:gdLst>
                <a:gd name="T0" fmla="*/ 2 w 3"/>
                <a:gd name="T1" fmla="*/ 0 h 2"/>
                <a:gd name="T2" fmla="*/ 0 w 3"/>
                <a:gd name="T3" fmla="*/ 1 h 2"/>
                <a:gd name="T4" fmla="*/ 1 w 3"/>
                <a:gd name="T5" fmla="*/ 2 h 2"/>
                <a:gd name="T6" fmla="*/ 3 w 3"/>
                <a:gd name="T7" fmla="*/ 1 h 2"/>
                <a:gd name="T8" fmla="*/ 2 w 3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2">
                  <a:moveTo>
                    <a:pt x="2" y="0"/>
                  </a:moveTo>
                  <a:cubicBezTo>
                    <a:pt x="1" y="0"/>
                    <a:pt x="0" y="1"/>
                    <a:pt x="0" y="1"/>
                  </a:cubicBezTo>
                  <a:cubicBezTo>
                    <a:pt x="0" y="2"/>
                    <a:pt x="1" y="2"/>
                    <a:pt x="1" y="2"/>
                  </a:cubicBezTo>
                  <a:cubicBezTo>
                    <a:pt x="2" y="2"/>
                    <a:pt x="3" y="2"/>
                    <a:pt x="3" y="1"/>
                  </a:cubicBezTo>
                  <a:cubicBezTo>
                    <a:pt x="3" y="1"/>
                    <a:pt x="3" y="0"/>
                    <a:pt x="2" y="0"/>
                  </a:cubicBezTo>
                  <a:close/>
                </a:path>
              </a:pathLst>
            </a:custGeom>
            <a:solidFill>
              <a:srgbClr val="E79B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59" name="Freeform 8324"/>
            <p:cNvSpPr>
              <a:spLocks/>
            </p:cNvSpPr>
            <p:nvPr/>
          </p:nvSpPr>
          <p:spPr bwMode="auto">
            <a:xfrm>
              <a:off x="5357" y="2866"/>
              <a:ext cx="3" cy="5"/>
            </a:xfrm>
            <a:custGeom>
              <a:avLst/>
              <a:gdLst>
                <a:gd name="T0" fmla="*/ 2 w 2"/>
                <a:gd name="T1" fmla="*/ 1 h 4"/>
                <a:gd name="T2" fmla="*/ 0 w 2"/>
                <a:gd name="T3" fmla="*/ 2 h 4"/>
                <a:gd name="T4" fmla="*/ 1 w 2"/>
                <a:gd name="T5" fmla="*/ 4 h 4"/>
                <a:gd name="T6" fmla="*/ 2 w 2"/>
                <a:gd name="T7" fmla="*/ 2 h 4"/>
                <a:gd name="T8" fmla="*/ 2 w 2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2" y="1"/>
                  </a:moveTo>
                  <a:cubicBezTo>
                    <a:pt x="1" y="0"/>
                    <a:pt x="1" y="1"/>
                    <a:pt x="0" y="2"/>
                  </a:cubicBezTo>
                  <a:cubicBezTo>
                    <a:pt x="0" y="3"/>
                    <a:pt x="0" y="3"/>
                    <a:pt x="1" y="4"/>
                  </a:cubicBezTo>
                  <a:cubicBezTo>
                    <a:pt x="1" y="4"/>
                    <a:pt x="2" y="3"/>
                    <a:pt x="2" y="2"/>
                  </a:cubicBezTo>
                  <a:cubicBezTo>
                    <a:pt x="2" y="2"/>
                    <a:pt x="2" y="1"/>
                    <a:pt x="2" y="1"/>
                  </a:cubicBezTo>
                  <a:close/>
                </a:path>
              </a:pathLst>
            </a:custGeom>
            <a:solidFill>
              <a:srgbClr val="E79B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60" name="Freeform 8325"/>
            <p:cNvSpPr>
              <a:spLocks/>
            </p:cNvSpPr>
            <p:nvPr/>
          </p:nvSpPr>
          <p:spPr bwMode="auto">
            <a:xfrm>
              <a:off x="5358" y="2874"/>
              <a:ext cx="4" cy="3"/>
            </a:xfrm>
            <a:custGeom>
              <a:avLst/>
              <a:gdLst>
                <a:gd name="T0" fmla="*/ 0 w 3"/>
                <a:gd name="T1" fmla="*/ 0 h 2"/>
                <a:gd name="T2" fmla="*/ 1 w 3"/>
                <a:gd name="T3" fmla="*/ 2 h 2"/>
                <a:gd name="T4" fmla="*/ 2 w 3"/>
                <a:gd name="T5" fmla="*/ 2 h 2"/>
                <a:gd name="T6" fmla="*/ 2 w 3"/>
                <a:gd name="T7" fmla="*/ 0 h 2"/>
                <a:gd name="T8" fmla="*/ 0 w 3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2">
                  <a:moveTo>
                    <a:pt x="0" y="0"/>
                  </a:moveTo>
                  <a:cubicBezTo>
                    <a:pt x="0" y="0"/>
                    <a:pt x="0" y="1"/>
                    <a:pt x="1" y="2"/>
                  </a:cubicBezTo>
                  <a:cubicBezTo>
                    <a:pt x="1" y="2"/>
                    <a:pt x="2" y="2"/>
                    <a:pt x="2" y="2"/>
                  </a:cubicBezTo>
                  <a:cubicBezTo>
                    <a:pt x="3" y="2"/>
                    <a:pt x="3" y="1"/>
                    <a:pt x="2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E79B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61" name="Freeform 8326"/>
            <p:cNvSpPr>
              <a:spLocks/>
            </p:cNvSpPr>
            <p:nvPr/>
          </p:nvSpPr>
          <p:spPr bwMode="auto">
            <a:xfrm>
              <a:off x="5366" y="2875"/>
              <a:ext cx="3" cy="3"/>
            </a:xfrm>
            <a:custGeom>
              <a:avLst/>
              <a:gdLst>
                <a:gd name="T0" fmla="*/ 1 w 3"/>
                <a:gd name="T1" fmla="*/ 0 h 2"/>
                <a:gd name="T2" fmla="*/ 0 w 3"/>
                <a:gd name="T3" fmla="*/ 2 h 2"/>
                <a:gd name="T4" fmla="*/ 2 w 3"/>
                <a:gd name="T5" fmla="*/ 2 h 2"/>
                <a:gd name="T6" fmla="*/ 3 w 3"/>
                <a:gd name="T7" fmla="*/ 0 h 2"/>
                <a:gd name="T8" fmla="*/ 1 w 3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2">
                  <a:moveTo>
                    <a:pt x="1" y="0"/>
                  </a:moveTo>
                  <a:cubicBezTo>
                    <a:pt x="0" y="1"/>
                    <a:pt x="0" y="1"/>
                    <a:pt x="0" y="2"/>
                  </a:cubicBezTo>
                  <a:cubicBezTo>
                    <a:pt x="0" y="2"/>
                    <a:pt x="1" y="2"/>
                    <a:pt x="2" y="2"/>
                  </a:cubicBezTo>
                  <a:cubicBezTo>
                    <a:pt x="3" y="1"/>
                    <a:pt x="3" y="0"/>
                    <a:pt x="3" y="0"/>
                  </a:cubicBezTo>
                  <a:cubicBezTo>
                    <a:pt x="2" y="0"/>
                    <a:pt x="2" y="0"/>
                    <a:pt x="1" y="0"/>
                  </a:cubicBezTo>
                  <a:close/>
                </a:path>
              </a:pathLst>
            </a:custGeom>
            <a:solidFill>
              <a:srgbClr val="E79B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62" name="Freeform 8327"/>
            <p:cNvSpPr>
              <a:spLocks/>
            </p:cNvSpPr>
            <p:nvPr/>
          </p:nvSpPr>
          <p:spPr bwMode="auto">
            <a:xfrm>
              <a:off x="5369" y="2868"/>
              <a:ext cx="3" cy="4"/>
            </a:xfrm>
            <a:custGeom>
              <a:avLst/>
              <a:gdLst>
                <a:gd name="T0" fmla="*/ 1 w 2"/>
                <a:gd name="T1" fmla="*/ 0 h 3"/>
                <a:gd name="T2" fmla="*/ 0 w 2"/>
                <a:gd name="T3" fmla="*/ 2 h 3"/>
                <a:gd name="T4" fmla="*/ 1 w 2"/>
                <a:gd name="T5" fmla="*/ 3 h 3"/>
                <a:gd name="T6" fmla="*/ 2 w 2"/>
                <a:gd name="T7" fmla="*/ 1 h 3"/>
                <a:gd name="T8" fmla="*/ 1 w 2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3">
                  <a:moveTo>
                    <a:pt x="1" y="0"/>
                  </a:moveTo>
                  <a:cubicBezTo>
                    <a:pt x="0" y="0"/>
                    <a:pt x="0" y="1"/>
                    <a:pt x="0" y="2"/>
                  </a:cubicBezTo>
                  <a:cubicBezTo>
                    <a:pt x="0" y="2"/>
                    <a:pt x="1" y="3"/>
                    <a:pt x="1" y="3"/>
                  </a:cubicBezTo>
                  <a:cubicBezTo>
                    <a:pt x="2" y="3"/>
                    <a:pt x="2" y="2"/>
                    <a:pt x="2" y="1"/>
                  </a:cubicBezTo>
                  <a:cubicBezTo>
                    <a:pt x="2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E79B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63" name="Oval 8328"/>
            <p:cNvSpPr>
              <a:spLocks noChangeArrowheads="1"/>
            </p:cNvSpPr>
            <p:nvPr/>
          </p:nvSpPr>
          <p:spPr bwMode="auto">
            <a:xfrm>
              <a:off x="5363" y="2869"/>
              <a:ext cx="3" cy="3"/>
            </a:xfrm>
            <a:prstGeom prst="ellipse">
              <a:avLst/>
            </a:prstGeom>
            <a:solidFill>
              <a:srgbClr val="E79B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64" name="Freeform 8329"/>
            <p:cNvSpPr>
              <a:spLocks/>
            </p:cNvSpPr>
            <p:nvPr/>
          </p:nvSpPr>
          <p:spPr bwMode="auto">
            <a:xfrm>
              <a:off x="5384" y="2860"/>
              <a:ext cx="21" cy="20"/>
            </a:xfrm>
            <a:custGeom>
              <a:avLst/>
              <a:gdLst>
                <a:gd name="T0" fmla="*/ 8 w 17"/>
                <a:gd name="T1" fmla="*/ 17 h 17"/>
                <a:gd name="T2" fmla="*/ 9 w 17"/>
                <a:gd name="T3" fmla="*/ 0 h 17"/>
                <a:gd name="T4" fmla="*/ 8 w 17"/>
                <a:gd name="T5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17">
                  <a:moveTo>
                    <a:pt x="8" y="17"/>
                  </a:moveTo>
                  <a:cubicBezTo>
                    <a:pt x="17" y="10"/>
                    <a:pt x="9" y="0"/>
                    <a:pt x="9" y="0"/>
                  </a:cubicBezTo>
                  <a:cubicBezTo>
                    <a:pt x="9" y="0"/>
                    <a:pt x="0" y="8"/>
                    <a:pt x="8" y="17"/>
                  </a:cubicBezTo>
                  <a:close/>
                </a:path>
              </a:pathLst>
            </a:custGeom>
            <a:solidFill>
              <a:srgbClr val="E79B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65" name="Freeform 8330"/>
            <p:cNvSpPr>
              <a:spLocks/>
            </p:cNvSpPr>
            <p:nvPr/>
          </p:nvSpPr>
          <p:spPr bwMode="auto">
            <a:xfrm>
              <a:off x="5374" y="2866"/>
              <a:ext cx="20" cy="19"/>
            </a:xfrm>
            <a:custGeom>
              <a:avLst/>
              <a:gdLst>
                <a:gd name="T0" fmla="*/ 0 w 16"/>
                <a:gd name="T1" fmla="*/ 5 h 16"/>
                <a:gd name="T2" fmla="*/ 16 w 16"/>
                <a:gd name="T3" fmla="*/ 12 h 16"/>
                <a:gd name="T4" fmla="*/ 0 w 16"/>
                <a:gd name="T5" fmla="*/ 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6">
                  <a:moveTo>
                    <a:pt x="0" y="5"/>
                  </a:moveTo>
                  <a:cubicBezTo>
                    <a:pt x="0" y="5"/>
                    <a:pt x="5" y="16"/>
                    <a:pt x="16" y="12"/>
                  </a:cubicBezTo>
                  <a:cubicBezTo>
                    <a:pt x="12" y="0"/>
                    <a:pt x="0" y="5"/>
                    <a:pt x="0" y="5"/>
                  </a:cubicBezTo>
                  <a:close/>
                </a:path>
              </a:pathLst>
            </a:custGeom>
            <a:solidFill>
              <a:srgbClr val="E79B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66" name="Freeform 8331"/>
            <p:cNvSpPr>
              <a:spLocks/>
            </p:cNvSpPr>
            <p:nvPr/>
          </p:nvSpPr>
          <p:spPr bwMode="auto">
            <a:xfrm>
              <a:off x="5379" y="2879"/>
              <a:ext cx="16" cy="16"/>
            </a:xfrm>
            <a:custGeom>
              <a:avLst/>
              <a:gdLst>
                <a:gd name="T0" fmla="*/ 1 w 13"/>
                <a:gd name="T1" fmla="*/ 13 h 13"/>
                <a:gd name="T2" fmla="*/ 12 w 13"/>
                <a:gd name="T3" fmla="*/ 1 h 13"/>
                <a:gd name="T4" fmla="*/ 1 w 13"/>
                <a:gd name="T5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3">
                  <a:moveTo>
                    <a:pt x="1" y="13"/>
                  </a:moveTo>
                  <a:cubicBezTo>
                    <a:pt x="1" y="13"/>
                    <a:pt x="13" y="12"/>
                    <a:pt x="12" y="1"/>
                  </a:cubicBezTo>
                  <a:cubicBezTo>
                    <a:pt x="0" y="0"/>
                    <a:pt x="1" y="13"/>
                    <a:pt x="1" y="13"/>
                  </a:cubicBezTo>
                  <a:close/>
                </a:path>
              </a:pathLst>
            </a:custGeom>
            <a:solidFill>
              <a:srgbClr val="E79B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67" name="Freeform 8332"/>
            <p:cNvSpPr>
              <a:spLocks/>
            </p:cNvSpPr>
            <p:nvPr/>
          </p:nvSpPr>
          <p:spPr bwMode="auto">
            <a:xfrm>
              <a:off x="5389" y="2880"/>
              <a:ext cx="18" cy="17"/>
            </a:xfrm>
            <a:custGeom>
              <a:avLst/>
              <a:gdLst>
                <a:gd name="T0" fmla="*/ 4 w 15"/>
                <a:gd name="T1" fmla="*/ 0 h 14"/>
                <a:gd name="T2" fmla="*/ 12 w 15"/>
                <a:gd name="T3" fmla="*/ 14 h 14"/>
                <a:gd name="T4" fmla="*/ 4 w 15"/>
                <a:gd name="T5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4">
                  <a:moveTo>
                    <a:pt x="4" y="0"/>
                  </a:moveTo>
                  <a:cubicBezTo>
                    <a:pt x="0" y="11"/>
                    <a:pt x="12" y="14"/>
                    <a:pt x="12" y="14"/>
                  </a:cubicBezTo>
                  <a:cubicBezTo>
                    <a:pt x="12" y="14"/>
                    <a:pt x="15" y="3"/>
                    <a:pt x="4" y="0"/>
                  </a:cubicBezTo>
                  <a:close/>
                </a:path>
              </a:pathLst>
            </a:custGeom>
            <a:solidFill>
              <a:srgbClr val="E79B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68" name="Freeform 8333"/>
            <p:cNvSpPr>
              <a:spLocks/>
            </p:cNvSpPr>
            <p:nvPr/>
          </p:nvSpPr>
          <p:spPr bwMode="auto">
            <a:xfrm>
              <a:off x="5394" y="2868"/>
              <a:ext cx="19" cy="21"/>
            </a:xfrm>
            <a:custGeom>
              <a:avLst/>
              <a:gdLst>
                <a:gd name="T0" fmla="*/ 0 w 16"/>
                <a:gd name="T1" fmla="*/ 10 h 17"/>
                <a:gd name="T2" fmla="*/ 16 w 16"/>
                <a:gd name="T3" fmla="*/ 6 h 17"/>
                <a:gd name="T4" fmla="*/ 0 w 16"/>
                <a:gd name="T5" fmla="*/ 1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7">
                  <a:moveTo>
                    <a:pt x="0" y="10"/>
                  </a:moveTo>
                  <a:cubicBezTo>
                    <a:pt x="9" y="17"/>
                    <a:pt x="16" y="6"/>
                    <a:pt x="16" y="6"/>
                  </a:cubicBezTo>
                  <a:cubicBezTo>
                    <a:pt x="16" y="6"/>
                    <a:pt x="6" y="0"/>
                    <a:pt x="0" y="10"/>
                  </a:cubicBezTo>
                  <a:close/>
                </a:path>
              </a:pathLst>
            </a:custGeom>
            <a:solidFill>
              <a:srgbClr val="E79B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69" name="Freeform 8334"/>
            <p:cNvSpPr>
              <a:spLocks/>
            </p:cNvSpPr>
            <p:nvPr/>
          </p:nvSpPr>
          <p:spPr bwMode="auto">
            <a:xfrm>
              <a:off x="5393" y="2873"/>
              <a:ext cx="3" cy="1"/>
            </a:xfrm>
            <a:custGeom>
              <a:avLst/>
              <a:gdLst>
                <a:gd name="T0" fmla="*/ 2 w 3"/>
                <a:gd name="T1" fmla="*/ 0 h 1"/>
                <a:gd name="T2" fmla="*/ 0 w 3"/>
                <a:gd name="T3" fmla="*/ 0 h 1"/>
                <a:gd name="T4" fmla="*/ 1 w 3"/>
                <a:gd name="T5" fmla="*/ 1 h 1"/>
                <a:gd name="T6" fmla="*/ 3 w 3"/>
                <a:gd name="T7" fmla="*/ 1 h 1"/>
                <a:gd name="T8" fmla="*/ 2 w 3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1">
                  <a:moveTo>
                    <a:pt x="2" y="0"/>
                  </a:moveTo>
                  <a:cubicBezTo>
                    <a:pt x="1" y="0"/>
                    <a:pt x="0" y="0"/>
                    <a:pt x="0" y="0"/>
                  </a:cubicBezTo>
                  <a:cubicBezTo>
                    <a:pt x="0" y="1"/>
                    <a:pt x="1" y="1"/>
                    <a:pt x="1" y="1"/>
                  </a:cubicBezTo>
                  <a:cubicBezTo>
                    <a:pt x="2" y="1"/>
                    <a:pt x="3" y="1"/>
                    <a:pt x="3" y="1"/>
                  </a:cubicBezTo>
                  <a:cubicBezTo>
                    <a:pt x="3" y="0"/>
                    <a:pt x="2" y="0"/>
                    <a:pt x="2" y="0"/>
                  </a:cubicBezTo>
                  <a:close/>
                </a:path>
              </a:pathLst>
            </a:custGeom>
            <a:solidFill>
              <a:srgbClr val="B751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70" name="Freeform 8335"/>
            <p:cNvSpPr>
              <a:spLocks/>
            </p:cNvSpPr>
            <p:nvPr/>
          </p:nvSpPr>
          <p:spPr bwMode="auto">
            <a:xfrm>
              <a:off x="5386" y="2875"/>
              <a:ext cx="3" cy="4"/>
            </a:xfrm>
            <a:custGeom>
              <a:avLst/>
              <a:gdLst>
                <a:gd name="T0" fmla="*/ 2 w 2"/>
                <a:gd name="T1" fmla="*/ 0 h 3"/>
                <a:gd name="T2" fmla="*/ 0 w 2"/>
                <a:gd name="T3" fmla="*/ 1 h 3"/>
                <a:gd name="T4" fmla="*/ 0 w 2"/>
                <a:gd name="T5" fmla="*/ 3 h 3"/>
                <a:gd name="T6" fmla="*/ 2 w 2"/>
                <a:gd name="T7" fmla="*/ 2 h 3"/>
                <a:gd name="T8" fmla="*/ 2 w 2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cubicBezTo>
                    <a:pt x="1" y="0"/>
                    <a:pt x="1" y="0"/>
                    <a:pt x="0" y="1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1" y="3"/>
                    <a:pt x="2" y="3"/>
                    <a:pt x="2" y="2"/>
                  </a:cubicBezTo>
                  <a:cubicBezTo>
                    <a:pt x="2" y="1"/>
                    <a:pt x="2" y="0"/>
                    <a:pt x="2" y="0"/>
                  </a:cubicBezTo>
                  <a:close/>
                </a:path>
              </a:pathLst>
            </a:custGeom>
            <a:solidFill>
              <a:srgbClr val="B751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71" name="Freeform 8336"/>
            <p:cNvSpPr>
              <a:spLocks/>
            </p:cNvSpPr>
            <p:nvPr/>
          </p:nvSpPr>
          <p:spPr bwMode="auto">
            <a:xfrm>
              <a:off x="5388" y="2883"/>
              <a:ext cx="3" cy="3"/>
            </a:xfrm>
            <a:custGeom>
              <a:avLst/>
              <a:gdLst>
                <a:gd name="T0" fmla="*/ 0 w 3"/>
                <a:gd name="T1" fmla="*/ 0 h 3"/>
                <a:gd name="T2" fmla="*/ 1 w 3"/>
                <a:gd name="T3" fmla="*/ 2 h 3"/>
                <a:gd name="T4" fmla="*/ 2 w 3"/>
                <a:gd name="T5" fmla="*/ 2 h 3"/>
                <a:gd name="T6" fmla="*/ 2 w 3"/>
                <a:gd name="T7" fmla="*/ 1 h 3"/>
                <a:gd name="T8" fmla="*/ 0 w 3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cubicBezTo>
                    <a:pt x="0" y="1"/>
                    <a:pt x="0" y="2"/>
                    <a:pt x="1" y="2"/>
                  </a:cubicBezTo>
                  <a:cubicBezTo>
                    <a:pt x="1" y="3"/>
                    <a:pt x="2" y="3"/>
                    <a:pt x="2" y="2"/>
                  </a:cubicBezTo>
                  <a:cubicBezTo>
                    <a:pt x="3" y="2"/>
                    <a:pt x="2" y="1"/>
                    <a:pt x="2" y="1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B751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72" name="Freeform 8337"/>
            <p:cNvSpPr>
              <a:spLocks/>
            </p:cNvSpPr>
            <p:nvPr/>
          </p:nvSpPr>
          <p:spPr bwMode="auto">
            <a:xfrm>
              <a:off x="5395" y="2884"/>
              <a:ext cx="4" cy="4"/>
            </a:xfrm>
            <a:custGeom>
              <a:avLst/>
              <a:gdLst>
                <a:gd name="T0" fmla="*/ 1 w 3"/>
                <a:gd name="T1" fmla="*/ 0 h 3"/>
                <a:gd name="T2" fmla="*/ 0 w 3"/>
                <a:gd name="T3" fmla="*/ 2 h 3"/>
                <a:gd name="T4" fmla="*/ 2 w 3"/>
                <a:gd name="T5" fmla="*/ 2 h 3"/>
                <a:gd name="T6" fmla="*/ 3 w 3"/>
                <a:gd name="T7" fmla="*/ 0 h 3"/>
                <a:gd name="T8" fmla="*/ 1 w 3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1" y="0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1" y="3"/>
                    <a:pt x="2" y="2"/>
                  </a:cubicBezTo>
                  <a:cubicBezTo>
                    <a:pt x="2" y="2"/>
                    <a:pt x="3" y="1"/>
                    <a:pt x="3" y="0"/>
                  </a:cubicBezTo>
                  <a:cubicBezTo>
                    <a:pt x="2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B751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73" name="Freeform 8338"/>
            <p:cNvSpPr>
              <a:spLocks/>
            </p:cNvSpPr>
            <p:nvPr/>
          </p:nvSpPr>
          <p:spPr bwMode="auto">
            <a:xfrm>
              <a:off x="5399" y="2877"/>
              <a:ext cx="2" cy="3"/>
            </a:xfrm>
            <a:custGeom>
              <a:avLst/>
              <a:gdLst>
                <a:gd name="T0" fmla="*/ 0 w 2"/>
                <a:gd name="T1" fmla="*/ 0 h 3"/>
                <a:gd name="T2" fmla="*/ 0 w 2"/>
                <a:gd name="T3" fmla="*/ 2 h 3"/>
                <a:gd name="T4" fmla="*/ 1 w 2"/>
                <a:gd name="T5" fmla="*/ 3 h 3"/>
                <a:gd name="T6" fmla="*/ 2 w 2"/>
                <a:gd name="T7" fmla="*/ 2 h 3"/>
                <a:gd name="T8" fmla="*/ 0 w 2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3">
                  <a:moveTo>
                    <a:pt x="0" y="0"/>
                  </a:moveTo>
                  <a:cubicBezTo>
                    <a:pt x="0" y="0"/>
                    <a:pt x="0" y="1"/>
                    <a:pt x="0" y="2"/>
                  </a:cubicBezTo>
                  <a:cubicBezTo>
                    <a:pt x="0" y="3"/>
                    <a:pt x="1" y="3"/>
                    <a:pt x="1" y="3"/>
                  </a:cubicBezTo>
                  <a:cubicBezTo>
                    <a:pt x="2" y="3"/>
                    <a:pt x="2" y="2"/>
                    <a:pt x="2" y="2"/>
                  </a:cubicBezTo>
                  <a:cubicBezTo>
                    <a:pt x="2" y="1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B751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74" name="Oval 8339"/>
            <p:cNvSpPr>
              <a:spLocks noChangeArrowheads="1"/>
            </p:cNvSpPr>
            <p:nvPr/>
          </p:nvSpPr>
          <p:spPr bwMode="auto">
            <a:xfrm>
              <a:off x="5393" y="2879"/>
              <a:ext cx="2" cy="3"/>
            </a:xfrm>
            <a:prstGeom prst="ellipse">
              <a:avLst/>
            </a:prstGeom>
            <a:solidFill>
              <a:srgbClr val="B751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75" name="Freeform 8340"/>
            <p:cNvSpPr>
              <a:spLocks/>
            </p:cNvSpPr>
            <p:nvPr/>
          </p:nvSpPr>
          <p:spPr bwMode="auto">
            <a:xfrm>
              <a:off x="5619" y="2895"/>
              <a:ext cx="21" cy="21"/>
            </a:xfrm>
            <a:custGeom>
              <a:avLst/>
              <a:gdLst>
                <a:gd name="T0" fmla="*/ 8 w 17"/>
                <a:gd name="T1" fmla="*/ 0 h 17"/>
                <a:gd name="T2" fmla="*/ 10 w 17"/>
                <a:gd name="T3" fmla="*/ 17 h 17"/>
                <a:gd name="T4" fmla="*/ 8 w 17"/>
                <a:gd name="T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17">
                  <a:moveTo>
                    <a:pt x="8" y="0"/>
                  </a:moveTo>
                  <a:cubicBezTo>
                    <a:pt x="0" y="9"/>
                    <a:pt x="10" y="17"/>
                    <a:pt x="10" y="17"/>
                  </a:cubicBezTo>
                  <a:cubicBezTo>
                    <a:pt x="10" y="17"/>
                    <a:pt x="17" y="7"/>
                    <a:pt x="8" y="0"/>
                  </a:cubicBezTo>
                  <a:close/>
                </a:path>
              </a:pathLst>
            </a:custGeom>
            <a:solidFill>
              <a:srgbClr val="6FA5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76" name="Freeform 8341"/>
            <p:cNvSpPr>
              <a:spLocks/>
            </p:cNvSpPr>
            <p:nvPr/>
          </p:nvSpPr>
          <p:spPr bwMode="auto">
            <a:xfrm>
              <a:off x="5624" y="2895"/>
              <a:ext cx="11" cy="13"/>
            </a:xfrm>
            <a:custGeom>
              <a:avLst/>
              <a:gdLst>
                <a:gd name="T0" fmla="*/ 5 w 9"/>
                <a:gd name="T1" fmla="*/ 11 h 11"/>
                <a:gd name="T2" fmla="*/ 4 w 9"/>
                <a:gd name="T3" fmla="*/ 0 h 11"/>
                <a:gd name="T4" fmla="*/ 5 w 9"/>
                <a:gd name="T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1">
                  <a:moveTo>
                    <a:pt x="5" y="11"/>
                  </a:moveTo>
                  <a:cubicBezTo>
                    <a:pt x="5" y="11"/>
                    <a:pt x="9" y="5"/>
                    <a:pt x="4" y="0"/>
                  </a:cubicBezTo>
                  <a:cubicBezTo>
                    <a:pt x="0" y="6"/>
                    <a:pt x="5" y="11"/>
                    <a:pt x="5" y="11"/>
                  </a:cubicBezTo>
                  <a:close/>
                </a:path>
              </a:pathLst>
            </a:custGeom>
            <a:solidFill>
              <a:srgbClr val="84C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77" name="Freeform 8342"/>
            <p:cNvSpPr>
              <a:spLocks/>
            </p:cNvSpPr>
            <p:nvPr/>
          </p:nvSpPr>
          <p:spPr bwMode="auto">
            <a:xfrm>
              <a:off x="5553" y="2861"/>
              <a:ext cx="16" cy="14"/>
            </a:xfrm>
            <a:custGeom>
              <a:avLst/>
              <a:gdLst>
                <a:gd name="T0" fmla="*/ 0 w 13"/>
                <a:gd name="T1" fmla="*/ 0 h 12"/>
                <a:gd name="T2" fmla="*/ 12 w 13"/>
                <a:gd name="T3" fmla="*/ 12 h 12"/>
                <a:gd name="T4" fmla="*/ 0 w 13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2">
                  <a:moveTo>
                    <a:pt x="0" y="0"/>
                  </a:moveTo>
                  <a:cubicBezTo>
                    <a:pt x="0" y="0"/>
                    <a:pt x="1" y="12"/>
                    <a:pt x="12" y="12"/>
                  </a:cubicBezTo>
                  <a:cubicBezTo>
                    <a:pt x="13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FA5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78" name="Freeform 8343"/>
            <p:cNvSpPr>
              <a:spLocks/>
            </p:cNvSpPr>
            <p:nvPr/>
          </p:nvSpPr>
          <p:spPr bwMode="auto">
            <a:xfrm>
              <a:off x="5558" y="2866"/>
              <a:ext cx="10" cy="8"/>
            </a:xfrm>
            <a:custGeom>
              <a:avLst/>
              <a:gdLst>
                <a:gd name="T0" fmla="*/ 0 w 8"/>
                <a:gd name="T1" fmla="*/ 0 h 7"/>
                <a:gd name="T2" fmla="*/ 8 w 8"/>
                <a:gd name="T3" fmla="*/ 7 h 7"/>
                <a:gd name="T4" fmla="*/ 0 w 8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7">
                  <a:moveTo>
                    <a:pt x="0" y="0"/>
                  </a:moveTo>
                  <a:cubicBezTo>
                    <a:pt x="0" y="0"/>
                    <a:pt x="1" y="7"/>
                    <a:pt x="8" y="7"/>
                  </a:cubicBezTo>
                  <a:cubicBezTo>
                    <a:pt x="8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84C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79" name="Freeform 8344"/>
            <p:cNvSpPr>
              <a:spLocks/>
            </p:cNvSpPr>
            <p:nvPr/>
          </p:nvSpPr>
          <p:spPr bwMode="auto">
            <a:xfrm>
              <a:off x="5556" y="2852"/>
              <a:ext cx="20" cy="20"/>
            </a:xfrm>
            <a:custGeom>
              <a:avLst/>
              <a:gdLst>
                <a:gd name="T0" fmla="*/ 6 w 17"/>
                <a:gd name="T1" fmla="*/ 0 h 16"/>
                <a:gd name="T2" fmla="*/ 11 w 17"/>
                <a:gd name="T3" fmla="*/ 16 h 16"/>
                <a:gd name="T4" fmla="*/ 6 w 17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16">
                  <a:moveTo>
                    <a:pt x="6" y="0"/>
                  </a:moveTo>
                  <a:cubicBezTo>
                    <a:pt x="6" y="0"/>
                    <a:pt x="0" y="11"/>
                    <a:pt x="11" y="16"/>
                  </a:cubicBezTo>
                  <a:cubicBezTo>
                    <a:pt x="17" y="7"/>
                    <a:pt x="6" y="0"/>
                    <a:pt x="6" y="0"/>
                  </a:cubicBezTo>
                  <a:close/>
                </a:path>
              </a:pathLst>
            </a:custGeom>
            <a:solidFill>
              <a:srgbClr val="6FA5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80" name="Freeform 8345"/>
            <p:cNvSpPr>
              <a:spLocks/>
            </p:cNvSpPr>
            <p:nvPr/>
          </p:nvSpPr>
          <p:spPr bwMode="auto">
            <a:xfrm>
              <a:off x="5562" y="2860"/>
              <a:ext cx="11" cy="12"/>
            </a:xfrm>
            <a:custGeom>
              <a:avLst/>
              <a:gdLst>
                <a:gd name="T0" fmla="*/ 3 w 9"/>
                <a:gd name="T1" fmla="*/ 0 h 10"/>
                <a:gd name="T2" fmla="*/ 6 w 9"/>
                <a:gd name="T3" fmla="*/ 10 h 10"/>
                <a:gd name="T4" fmla="*/ 3 w 9"/>
                <a:gd name="T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0">
                  <a:moveTo>
                    <a:pt x="3" y="0"/>
                  </a:moveTo>
                  <a:cubicBezTo>
                    <a:pt x="3" y="0"/>
                    <a:pt x="0" y="6"/>
                    <a:pt x="6" y="10"/>
                  </a:cubicBezTo>
                  <a:cubicBezTo>
                    <a:pt x="9" y="4"/>
                    <a:pt x="3" y="0"/>
                    <a:pt x="3" y="0"/>
                  </a:cubicBezTo>
                  <a:close/>
                </a:path>
              </a:pathLst>
            </a:custGeom>
            <a:solidFill>
              <a:srgbClr val="84C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81" name="Freeform 8346"/>
            <p:cNvSpPr>
              <a:spLocks/>
            </p:cNvSpPr>
            <p:nvPr/>
          </p:nvSpPr>
          <p:spPr bwMode="auto">
            <a:xfrm>
              <a:off x="5630" y="2861"/>
              <a:ext cx="17" cy="17"/>
            </a:xfrm>
            <a:custGeom>
              <a:avLst/>
              <a:gdLst>
                <a:gd name="T0" fmla="*/ 3 w 14"/>
                <a:gd name="T1" fmla="*/ 14 h 14"/>
                <a:gd name="T2" fmla="*/ 12 w 14"/>
                <a:gd name="T3" fmla="*/ 0 h 14"/>
                <a:gd name="T4" fmla="*/ 3 w 14"/>
                <a:gd name="T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14">
                  <a:moveTo>
                    <a:pt x="3" y="14"/>
                  </a:moveTo>
                  <a:cubicBezTo>
                    <a:pt x="14" y="12"/>
                    <a:pt x="12" y="0"/>
                    <a:pt x="12" y="0"/>
                  </a:cubicBezTo>
                  <a:cubicBezTo>
                    <a:pt x="12" y="0"/>
                    <a:pt x="0" y="2"/>
                    <a:pt x="3" y="14"/>
                  </a:cubicBezTo>
                  <a:close/>
                </a:path>
              </a:pathLst>
            </a:custGeom>
            <a:solidFill>
              <a:srgbClr val="6FA5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82" name="Freeform 8347"/>
            <p:cNvSpPr>
              <a:spLocks/>
            </p:cNvSpPr>
            <p:nvPr/>
          </p:nvSpPr>
          <p:spPr bwMode="auto">
            <a:xfrm>
              <a:off x="5632" y="2867"/>
              <a:ext cx="9" cy="11"/>
            </a:xfrm>
            <a:custGeom>
              <a:avLst/>
              <a:gdLst>
                <a:gd name="T0" fmla="*/ 1 w 7"/>
                <a:gd name="T1" fmla="*/ 9 h 9"/>
                <a:gd name="T2" fmla="*/ 7 w 7"/>
                <a:gd name="T3" fmla="*/ 0 h 9"/>
                <a:gd name="T4" fmla="*/ 1 w 7"/>
                <a:gd name="T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9">
                  <a:moveTo>
                    <a:pt x="1" y="9"/>
                  </a:moveTo>
                  <a:cubicBezTo>
                    <a:pt x="7" y="7"/>
                    <a:pt x="7" y="0"/>
                    <a:pt x="7" y="0"/>
                  </a:cubicBezTo>
                  <a:cubicBezTo>
                    <a:pt x="7" y="0"/>
                    <a:pt x="0" y="2"/>
                    <a:pt x="1" y="9"/>
                  </a:cubicBezTo>
                  <a:close/>
                </a:path>
              </a:pathLst>
            </a:custGeom>
            <a:solidFill>
              <a:srgbClr val="84C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83" name="Freeform 8348"/>
            <p:cNvSpPr>
              <a:spLocks/>
            </p:cNvSpPr>
            <p:nvPr/>
          </p:nvSpPr>
          <p:spPr bwMode="auto">
            <a:xfrm>
              <a:off x="5636" y="2864"/>
              <a:ext cx="18" cy="20"/>
            </a:xfrm>
            <a:custGeom>
              <a:avLst/>
              <a:gdLst>
                <a:gd name="T0" fmla="*/ 0 w 15"/>
                <a:gd name="T1" fmla="*/ 11 h 16"/>
                <a:gd name="T2" fmla="*/ 15 w 15"/>
                <a:gd name="T3" fmla="*/ 3 h 16"/>
                <a:gd name="T4" fmla="*/ 0 w 15"/>
                <a:gd name="T5" fmla="*/ 1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6">
                  <a:moveTo>
                    <a:pt x="0" y="11"/>
                  </a:moveTo>
                  <a:cubicBezTo>
                    <a:pt x="10" y="16"/>
                    <a:pt x="15" y="3"/>
                    <a:pt x="15" y="3"/>
                  </a:cubicBezTo>
                  <a:cubicBezTo>
                    <a:pt x="15" y="3"/>
                    <a:pt x="4" y="0"/>
                    <a:pt x="0" y="11"/>
                  </a:cubicBezTo>
                  <a:close/>
                </a:path>
              </a:pathLst>
            </a:custGeom>
            <a:solidFill>
              <a:srgbClr val="6FA5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84" name="Freeform 8349"/>
            <p:cNvSpPr>
              <a:spLocks/>
            </p:cNvSpPr>
            <p:nvPr/>
          </p:nvSpPr>
          <p:spPr bwMode="auto">
            <a:xfrm>
              <a:off x="5636" y="2869"/>
              <a:ext cx="12" cy="11"/>
            </a:xfrm>
            <a:custGeom>
              <a:avLst/>
              <a:gdLst>
                <a:gd name="T0" fmla="*/ 0 w 10"/>
                <a:gd name="T1" fmla="*/ 7 h 9"/>
                <a:gd name="T2" fmla="*/ 10 w 10"/>
                <a:gd name="T3" fmla="*/ 2 h 9"/>
                <a:gd name="T4" fmla="*/ 0 w 10"/>
                <a:gd name="T5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9">
                  <a:moveTo>
                    <a:pt x="0" y="7"/>
                  </a:moveTo>
                  <a:cubicBezTo>
                    <a:pt x="6" y="9"/>
                    <a:pt x="10" y="2"/>
                    <a:pt x="10" y="2"/>
                  </a:cubicBezTo>
                  <a:cubicBezTo>
                    <a:pt x="10" y="2"/>
                    <a:pt x="3" y="0"/>
                    <a:pt x="0" y="7"/>
                  </a:cubicBezTo>
                  <a:close/>
                </a:path>
              </a:pathLst>
            </a:custGeom>
            <a:solidFill>
              <a:srgbClr val="84C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85" name="Freeform 8350"/>
            <p:cNvSpPr>
              <a:spLocks/>
            </p:cNvSpPr>
            <p:nvPr/>
          </p:nvSpPr>
          <p:spPr bwMode="auto">
            <a:xfrm>
              <a:off x="5571" y="2862"/>
              <a:ext cx="21" cy="20"/>
            </a:xfrm>
            <a:custGeom>
              <a:avLst/>
              <a:gdLst>
                <a:gd name="T0" fmla="*/ 6 w 17"/>
                <a:gd name="T1" fmla="*/ 16 h 16"/>
                <a:gd name="T2" fmla="*/ 10 w 17"/>
                <a:gd name="T3" fmla="*/ 0 h 16"/>
                <a:gd name="T4" fmla="*/ 6 w 17"/>
                <a:gd name="T5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16">
                  <a:moveTo>
                    <a:pt x="6" y="16"/>
                  </a:moveTo>
                  <a:cubicBezTo>
                    <a:pt x="17" y="11"/>
                    <a:pt x="10" y="0"/>
                    <a:pt x="10" y="0"/>
                  </a:cubicBezTo>
                  <a:cubicBezTo>
                    <a:pt x="10" y="0"/>
                    <a:pt x="0" y="6"/>
                    <a:pt x="6" y="16"/>
                  </a:cubicBezTo>
                  <a:close/>
                </a:path>
              </a:pathLst>
            </a:custGeom>
            <a:solidFill>
              <a:srgbClr val="6FA5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86" name="Freeform 8351"/>
            <p:cNvSpPr>
              <a:spLocks/>
            </p:cNvSpPr>
            <p:nvPr/>
          </p:nvSpPr>
          <p:spPr bwMode="auto">
            <a:xfrm>
              <a:off x="5575" y="2869"/>
              <a:ext cx="11" cy="13"/>
            </a:xfrm>
            <a:custGeom>
              <a:avLst/>
              <a:gdLst>
                <a:gd name="T0" fmla="*/ 3 w 9"/>
                <a:gd name="T1" fmla="*/ 10 h 10"/>
                <a:gd name="T2" fmla="*/ 6 w 9"/>
                <a:gd name="T3" fmla="*/ 0 h 10"/>
                <a:gd name="T4" fmla="*/ 3 w 9"/>
                <a:gd name="T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0">
                  <a:moveTo>
                    <a:pt x="3" y="10"/>
                  </a:moveTo>
                  <a:cubicBezTo>
                    <a:pt x="9" y="7"/>
                    <a:pt x="6" y="0"/>
                    <a:pt x="6" y="0"/>
                  </a:cubicBezTo>
                  <a:cubicBezTo>
                    <a:pt x="6" y="0"/>
                    <a:pt x="0" y="4"/>
                    <a:pt x="3" y="10"/>
                  </a:cubicBezTo>
                  <a:close/>
                </a:path>
              </a:pathLst>
            </a:custGeom>
            <a:solidFill>
              <a:srgbClr val="84C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87" name="Freeform 8352"/>
            <p:cNvSpPr>
              <a:spLocks/>
            </p:cNvSpPr>
            <p:nvPr/>
          </p:nvSpPr>
          <p:spPr bwMode="auto">
            <a:xfrm>
              <a:off x="5568" y="2900"/>
              <a:ext cx="20" cy="19"/>
            </a:xfrm>
            <a:custGeom>
              <a:avLst/>
              <a:gdLst>
                <a:gd name="T0" fmla="*/ 7 w 17"/>
                <a:gd name="T1" fmla="*/ 0 h 16"/>
                <a:gd name="T2" fmla="*/ 11 w 17"/>
                <a:gd name="T3" fmla="*/ 16 h 16"/>
                <a:gd name="T4" fmla="*/ 7 w 17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16">
                  <a:moveTo>
                    <a:pt x="7" y="0"/>
                  </a:moveTo>
                  <a:cubicBezTo>
                    <a:pt x="0" y="9"/>
                    <a:pt x="11" y="16"/>
                    <a:pt x="11" y="16"/>
                  </a:cubicBezTo>
                  <a:cubicBezTo>
                    <a:pt x="11" y="16"/>
                    <a:pt x="17" y="7"/>
                    <a:pt x="7" y="0"/>
                  </a:cubicBezTo>
                  <a:close/>
                </a:path>
              </a:pathLst>
            </a:custGeom>
            <a:solidFill>
              <a:srgbClr val="6FA5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88" name="Freeform 8353"/>
            <p:cNvSpPr>
              <a:spLocks/>
            </p:cNvSpPr>
            <p:nvPr/>
          </p:nvSpPr>
          <p:spPr bwMode="auto">
            <a:xfrm>
              <a:off x="5571" y="2900"/>
              <a:ext cx="13" cy="13"/>
            </a:xfrm>
            <a:custGeom>
              <a:avLst/>
              <a:gdLst>
                <a:gd name="T0" fmla="*/ 4 w 10"/>
                <a:gd name="T1" fmla="*/ 0 h 11"/>
                <a:gd name="T2" fmla="*/ 6 w 10"/>
                <a:gd name="T3" fmla="*/ 11 h 11"/>
                <a:gd name="T4" fmla="*/ 4 w 10"/>
                <a:gd name="T5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1">
                  <a:moveTo>
                    <a:pt x="4" y="0"/>
                  </a:moveTo>
                  <a:cubicBezTo>
                    <a:pt x="0" y="6"/>
                    <a:pt x="6" y="11"/>
                    <a:pt x="6" y="11"/>
                  </a:cubicBezTo>
                  <a:cubicBezTo>
                    <a:pt x="6" y="11"/>
                    <a:pt x="10" y="5"/>
                    <a:pt x="4" y="0"/>
                  </a:cubicBezTo>
                  <a:close/>
                </a:path>
              </a:pathLst>
            </a:custGeom>
            <a:solidFill>
              <a:srgbClr val="84C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89" name="Freeform 8354"/>
            <p:cNvSpPr>
              <a:spLocks/>
            </p:cNvSpPr>
            <p:nvPr/>
          </p:nvSpPr>
          <p:spPr bwMode="auto">
            <a:xfrm>
              <a:off x="5579" y="2900"/>
              <a:ext cx="16" cy="14"/>
            </a:xfrm>
            <a:custGeom>
              <a:avLst/>
              <a:gdLst>
                <a:gd name="T0" fmla="*/ 1 w 13"/>
                <a:gd name="T1" fmla="*/ 0 h 12"/>
                <a:gd name="T2" fmla="*/ 13 w 13"/>
                <a:gd name="T3" fmla="*/ 12 h 12"/>
                <a:gd name="T4" fmla="*/ 1 w 13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2">
                  <a:moveTo>
                    <a:pt x="1" y="0"/>
                  </a:moveTo>
                  <a:cubicBezTo>
                    <a:pt x="0" y="12"/>
                    <a:pt x="13" y="12"/>
                    <a:pt x="13" y="12"/>
                  </a:cubicBezTo>
                  <a:cubicBezTo>
                    <a:pt x="13" y="12"/>
                    <a:pt x="12" y="0"/>
                    <a:pt x="1" y="0"/>
                  </a:cubicBezTo>
                  <a:close/>
                </a:path>
              </a:pathLst>
            </a:custGeom>
            <a:solidFill>
              <a:srgbClr val="6FA5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90" name="Freeform 8355"/>
            <p:cNvSpPr>
              <a:spLocks/>
            </p:cNvSpPr>
            <p:nvPr/>
          </p:nvSpPr>
          <p:spPr bwMode="auto">
            <a:xfrm>
              <a:off x="5580" y="2900"/>
              <a:ext cx="8" cy="9"/>
            </a:xfrm>
            <a:custGeom>
              <a:avLst/>
              <a:gdLst>
                <a:gd name="T0" fmla="*/ 0 w 7"/>
                <a:gd name="T1" fmla="*/ 0 h 8"/>
                <a:gd name="T2" fmla="*/ 7 w 7"/>
                <a:gd name="T3" fmla="*/ 8 h 8"/>
                <a:gd name="T4" fmla="*/ 0 w 7"/>
                <a:gd name="T5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8">
                  <a:moveTo>
                    <a:pt x="0" y="0"/>
                  </a:moveTo>
                  <a:cubicBezTo>
                    <a:pt x="0" y="7"/>
                    <a:pt x="7" y="8"/>
                    <a:pt x="7" y="8"/>
                  </a:cubicBezTo>
                  <a:cubicBezTo>
                    <a:pt x="7" y="8"/>
                    <a:pt x="7" y="1"/>
                    <a:pt x="0" y="0"/>
                  </a:cubicBezTo>
                  <a:close/>
                </a:path>
              </a:pathLst>
            </a:custGeom>
            <a:solidFill>
              <a:srgbClr val="84C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91" name="Freeform 8356"/>
            <p:cNvSpPr>
              <a:spLocks/>
            </p:cNvSpPr>
            <p:nvPr/>
          </p:nvSpPr>
          <p:spPr bwMode="auto">
            <a:xfrm>
              <a:off x="5591" y="2884"/>
              <a:ext cx="17" cy="18"/>
            </a:xfrm>
            <a:custGeom>
              <a:avLst/>
              <a:gdLst>
                <a:gd name="T0" fmla="*/ 3 w 14"/>
                <a:gd name="T1" fmla="*/ 15 h 15"/>
                <a:gd name="T2" fmla="*/ 11 w 14"/>
                <a:gd name="T3" fmla="*/ 0 h 15"/>
                <a:gd name="T4" fmla="*/ 3 w 14"/>
                <a:gd name="T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15">
                  <a:moveTo>
                    <a:pt x="3" y="15"/>
                  </a:moveTo>
                  <a:cubicBezTo>
                    <a:pt x="3" y="15"/>
                    <a:pt x="14" y="12"/>
                    <a:pt x="11" y="0"/>
                  </a:cubicBezTo>
                  <a:cubicBezTo>
                    <a:pt x="0" y="2"/>
                    <a:pt x="3" y="15"/>
                    <a:pt x="3" y="15"/>
                  </a:cubicBezTo>
                  <a:close/>
                </a:path>
              </a:pathLst>
            </a:custGeom>
            <a:solidFill>
              <a:srgbClr val="6FA5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92" name="Freeform 8357"/>
            <p:cNvSpPr>
              <a:spLocks/>
            </p:cNvSpPr>
            <p:nvPr/>
          </p:nvSpPr>
          <p:spPr bwMode="auto">
            <a:xfrm>
              <a:off x="5596" y="2885"/>
              <a:ext cx="9" cy="11"/>
            </a:xfrm>
            <a:custGeom>
              <a:avLst/>
              <a:gdLst>
                <a:gd name="T0" fmla="*/ 2 w 8"/>
                <a:gd name="T1" fmla="*/ 9 h 9"/>
                <a:gd name="T2" fmla="*/ 7 w 8"/>
                <a:gd name="T3" fmla="*/ 0 h 9"/>
                <a:gd name="T4" fmla="*/ 2 w 8"/>
                <a:gd name="T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9">
                  <a:moveTo>
                    <a:pt x="2" y="9"/>
                  </a:moveTo>
                  <a:cubicBezTo>
                    <a:pt x="2" y="9"/>
                    <a:pt x="8" y="6"/>
                    <a:pt x="7" y="0"/>
                  </a:cubicBezTo>
                  <a:cubicBezTo>
                    <a:pt x="0" y="1"/>
                    <a:pt x="2" y="9"/>
                    <a:pt x="2" y="9"/>
                  </a:cubicBezTo>
                  <a:close/>
                </a:path>
              </a:pathLst>
            </a:custGeom>
            <a:solidFill>
              <a:srgbClr val="84C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93" name="Freeform 8358"/>
            <p:cNvSpPr>
              <a:spLocks/>
            </p:cNvSpPr>
            <p:nvPr/>
          </p:nvSpPr>
          <p:spPr bwMode="auto">
            <a:xfrm>
              <a:off x="5598" y="2886"/>
              <a:ext cx="20" cy="20"/>
            </a:xfrm>
            <a:custGeom>
              <a:avLst/>
              <a:gdLst>
                <a:gd name="T0" fmla="*/ 5 w 16"/>
                <a:gd name="T1" fmla="*/ 0 h 16"/>
                <a:gd name="T2" fmla="*/ 12 w 16"/>
                <a:gd name="T3" fmla="*/ 16 h 16"/>
                <a:gd name="T4" fmla="*/ 5 w 16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6">
                  <a:moveTo>
                    <a:pt x="5" y="0"/>
                  </a:moveTo>
                  <a:cubicBezTo>
                    <a:pt x="0" y="11"/>
                    <a:pt x="12" y="16"/>
                    <a:pt x="12" y="16"/>
                  </a:cubicBezTo>
                  <a:cubicBezTo>
                    <a:pt x="12" y="16"/>
                    <a:pt x="16" y="5"/>
                    <a:pt x="5" y="0"/>
                  </a:cubicBezTo>
                  <a:close/>
                </a:path>
              </a:pathLst>
            </a:custGeom>
            <a:solidFill>
              <a:srgbClr val="6FA5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94" name="Freeform 8359"/>
            <p:cNvSpPr>
              <a:spLocks/>
            </p:cNvSpPr>
            <p:nvPr/>
          </p:nvSpPr>
          <p:spPr bwMode="auto">
            <a:xfrm>
              <a:off x="5602" y="2886"/>
              <a:ext cx="10" cy="13"/>
            </a:xfrm>
            <a:custGeom>
              <a:avLst/>
              <a:gdLst>
                <a:gd name="T0" fmla="*/ 2 w 8"/>
                <a:gd name="T1" fmla="*/ 0 h 10"/>
                <a:gd name="T2" fmla="*/ 6 w 8"/>
                <a:gd name="T3" fmla="*/ 10 h 10"/>
                <a:gd name="T4" fmla="*/ 2 w 8"/>
                <a:gd name="T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10">
                  <a:moveTo>
                    <a:pt x="2" y="0"/>
                  </a:moveTo>
                  <a:cubicBezTo>
                    <a:pt x="0" y="7"/>
                    <a:pt x="6" y="10"/>
                    <a:pt x="6" y="10"/>
                  </a:cubicBezTo>
                  <a:cubicBezTo>
                    <a:pt x="6" y="10"/>
                    <a:pt x="8" y="3"/>
                    <a:pt x="2" y="0"/>
                  </a:cubicBezTo>
                  <a:close/>
                </a:path>
              </a:pathLst>
            </a:custGeom>
            <a:solidFill>
              <a:srgbClr val="84C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95" name="Freeform 8360"/>
            <p:cNvSpPr>
              <a:spLocks/>
            </p:cNvSpPr>
            <p:nvPr/>
          </p:nvSpPr>
          <p:spPr bwMode="auto">
            <a:xfrm>
              <a:off x="5529" y="2857"/>
              <a:ext cx="17" cy="17"/>
            </a:xfrm>
            <a:custGeom>
              <a:avLst/>
              <a:gdLst>
                <a:gd name="T0" fmla="*/ 2 w 14"/>
                <a:gd name="T1" fmla="*/ 0 h 14"/>
                <a:gd name="T2" fmla="*/ 12 w 14"/>
                <a:gd name="T3" fmla="*/ 14 h 14"/>
                <a:gd name="T4" fmla="*/ 2 w 14"/>
                <a:gd name="T5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14">
                  <a:moveTo>
                    <a:pt x="2" y="0"/>
                  </a:moveTo>
                  <a:cubicBezTo>
                    <a:pt x="2" y="0"/>
                    <a:pt x="0" y="12"/>
                    <a:pt x="12" y="14"/>
                  </a:cubicBezTo>
                  <a:cubicBezTo>
                    <a:pt x="14" y="2"/>
                    <a:pt x="2" y="0"/>
                    <a:pt x="2" y="0"/>
                  </a:cubicBezTo>
                  <a:close/>
                </a:path>
              </a:pathLst>
            </a:custGeom>
            <a:solidFill>
              <a:srgbClr val="6FA5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96" name="Freeform 8361"/>
            <p:cNvSpPr>
              <a:spLocks/>
            </p:cNvSpPr>
            <p:nvPr/>
          </p:nvSpPr>
          <p:spPr bwMode="auto">
            <a:xfrm>
              <a:off x="5535" y="2863"/>
              <a:ext cx="10" cy="11"/>
            </a:xfrm>
            <a:custGeom>
              <a:avLst/>
              <a:gdLst>
                <a:gd name="T0" fmla="*/ 0 w 8"/>
                <a:gd name="T1" fmla="*/ 0 h 9"/>
                <a:gd name="T2" fmla="*/ 7 w 8"/>
                <a:gd name="T3" fmla="*/ 9 h 9"/>
                <a:gd name="T4" fmla="*/ 0 w 8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9">
                  <a:moveTo>
                    <a:pt x="0" y="0"/>
                  </a:moveTo>
                  <a:cubicBezTo>
                    <a:pt x="0" y="0"/>
                    <a:pt x="0" y="7"/>
                    <a:pt x="7" y="9"/>
                  </a:cubicBezTo>
                  <a:cubicBezTo>
                    <a:pt x="8" y="2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84C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97" name="Freeform 8362"/>
            <p:cNvSpPr>
              <a:spLocks/>
            </p:cNvSpPr>
            <p:nvPr/>
          </p:nvSpPr>
          <p:spPr bwMode="auto">
            <a:xfrm>
              <a:off x="5532" y="2851"/>
              <a:ext cx="22" cy="21"/>
            </a:xfrm>
            <a:custGeom>
              <a:avLst/>
              <a:gdLst>
                <a:gd name="T0" fmla="*/ 8 w 18"/>
                <a:gd name="T1" fmla="*/ 0 h 17"/>
                <a:gd name="T2" fmla="*/ 10 w 18"/>
                <a:gd name="T3" fmla="*/ 17 h 17"/>
                <a:gd name="T4" fmla="*/ 8 w 18"/>
                <a:gd name="T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7">
                  <a:moveTo>
                    <a:pt x="8" y="0"/>
                  </a:moveTo>
                  <a:cubicBezTo>
                    <a:pt x="8" y="0"/>
                    <a:pt x="0" y="9"/>
                    <a:pt x="10" y="17"/>
                  </a:cubicBezTo>
                  <a:cubicBezTo>
                    <a:pt x="18" y="8"/>
                    <a:pt x="8" y="0"/>
                    <a:pt x="8" y="0"/>
                  </a:cubicBezTo>
                  <a:close/>
                </a:path>
              </a:pathLst>
            </a:custGeom>
            <a:solidFill>
              <a:srgbClr val="6FA5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98" name="Freeform 8363"/>
            <p:cNvSpPr>
              <a:spLocks/>
            </p:cNvSpPr>
            <p:nvPr/>
          </p:nvSpPr>
          <p:spPr bwMode="auto">
            <a:xfrm>
              <a:off x="5539" y="2858"/>
              <a:ext cx="11" cy="13"/>
            </a:xfrm>
            <a:custGeom>
              <a:avLst/>
              <a:gdLst>
                <a:gd name="T0" fmla="*/ 5 w 9"/>
                <a:gd name="T1" fmla="*/ 10 h 10"/>
                <a:gd name="T2" fmla="*/ 4 w 9"/>
                <a:gd name="T3" fmla="*/ 0 h 10"/>
                <a:gd name="T4" fmla="*/ 5 w 9"/>
                <a:gd name="T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0">
                  <a:moveTo>
                    <a:pt x="5" y="10"/>
                  </a:moveTo>
                  <a:cubicBezTo>
                    <a:pt x="9" y="5"/>
                    <a:pt x="4" y="0"/>
                    <a:pt x="4" y="0"/>
                  </a:cubicBezTo>
                  <a:cubicBezTo>
                    <a:pt x="4" y="0"/>
                    <a:pt x="0" y="6"/>
                    <a:pt x="5" y="10"/>
                  </a:cubicBezTo>
                  <a:close/>
                </a:path>
              </a:pathLst>
            </a:custGeom>
            <a:solidFill>
              <a:srgbClr val="84C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99" name="Freeform 8364"/>
            <p:cNvSpPr>
              <a:spLocks/>
            </p:cNvSpPr>
            <p:nvPr/>
          </p:nvSpPr>
          <p:spPr bwMode="auto">
            <a:xfrm>
              <a:off x="5605" y="2851"/>
              <a:ext cx="18" cy="17"/>
            </a:xfrm>
            <a:custGeom>
              <a:avLst/>
              <a:gdLst>
                <a:gd name="T0" fmla="*/ 3 w 14"/>
                <a:gd name="T1" fmla="*/ 14 h 14"/>
                <a:gd name="T2" fmla="*/ 12 w 14"/>
                <a:gd name="T3" fmla="*/ 0 h 14"/>
                <a:gd name="T4" fmla="*/ 3 w 14"/>
                <a:gd name="T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14">
                  <a:moveTo>
                    <a:pt x="3" y="14"/>
                  </a:moveTo>
                  <a:cubicBezTo>
                    <a:pt x="14" y="13"/>
                    <a:pt x="12" y="0"/>
                    <a:pt x="12" y="0"/>
                  </a:cubicBezTo>
                  <a:cubicBezTo>
                    <a:pt x="12" y="0"/>
                    <a:pt x="0" y="3"/>
                    <a:pt x="3" y="14"/>
                  </a:cubicBezTo>
                  <a:close/>
                </a:path>
              </a:pathLst>
            </a:custGeom>
            <a:solidFill>
              <a:srgbClr val="6FA5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00" name="Freeform 8365"/>
            <p:cNvSpPr>
              <a:spLocks/>
            </p:cNvSpPr>
            <p:nvPr/>
          </p:nvSpPr>
          <p:spPr bwMode="auto">
            <a:xfrm>
              <a:off x="5608" y="2857"/>
              <a:ext cx="10" cy="11"/>
            </a:xfrm>
            <a:custGeom>
              <a:avLst/>
              <a:gdLst>
                <a:gd name="T0" fmla="*/ 1 w 8"/>
                <a:gd name="T1" fmla="*/ 9 h 9"/>
                <a:gd name="T2" fmla="*/ 7 w 8"/>
                <a:gd name="T3" fmla="*/ 0 h 9"/>
                <a:gd name="T4" fmla="*/ 1 w 8"/>
                <a:gd name="T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9">
                  <a:moveTo>
                    <a:pt x="1" y="9"/>
                  </a:moveTo>
                  <a:cubicBezTo>
                    <a:pt x="8" y="8"/>
                    <a:pt x="7" y="0"/>
                    <a:pt x="7" y="0"/>
                  </a:cubicBezTo>
                  <a:cubicBezTo>
                    <a:pt x="7" y="0"/>
                    <a:pt x="0" y="2"/>
                    <a:pt x="1" y="9"/>
                  </a:cubicBezTo>
                  <a:close/>
                </a:path>
              </a:pathLst>
            </a:custGeom>
            <a:solidFill>
              <a:srgbClr val="84C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01" name="Freeform 8366"/>
            <p:cNvSpPr>
              <a:spLocks/>
            </p:cNvSpPr>
            <p:nvPr/>
          </p:nvSpPr>
          <p:spPr bwMode="auto">
            <a:xfrm>
              <a:off x="5524" y="2892"/>
              <a:ext cx="18" cy="17"/>
            </a:xfrm>
            <a:custGeom>
              <a:avLst/>
              <a:gdLst>
                <a:gd name="T0" fmla="*/ 3 w 15"/>
                <a:gd name="T1" fmla="*/ 14 h 14"/>
                <a:gd name="T2" fmla="*/ 12 w 15"/>
                <a:gd name="T3" fmla="*/ 0 h 14"/>
                <a:gd name="T4" fmla="*/ 3 w 15"/>
                <a:gd name="T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4">
                  <a:moveTo>
                    <a:pt x="3" y="14"/>
                  </a:moveTo>
                  <a:cubicBezTo>
                    <a:pt x="3" y="14"/>
                    <a:pt x="15" y="11"/>
                    <a:pt x="12" y="0"/>
                  </a:cubicBezTo>
                  <a:cubicBezTo>
                    <a:pt x="0" y="1"/>
                    <a:pt x="3" y="14"/>
                    <a:pt x="3" y="14"/>
                  </a:cubicBezTo>
                  <a:close/>
                </a:path>
              </a:pathLst>
            </a:custGeom>
            <a:solidFill>
              <a:srgbClr val="6FA5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02" name="Freeform 8367"/>
            <p:cNvSpPr>
              <a:spLocks/>
            </p:cNvSpPr>
            <p:nvPr/>
          </p:nvSpPr>
          <p:spPr bwMode="auto">
            <a:xfrm>
              <a:off x="5530" y="2892"/>
              <a:ext cx="10" cy="11"/>
            </a:xfrm>
            <a:custGeom>
              <a:avLst/>
              <a:gdLst>
                <a:gd name="T0" fmla="*/ 1 w 8"/>
                <a:gd name="T1" fmla="*/ 9 h 9"/>
                <a:gd name="T2" fmla="*/ 7 w 8"/>
                <a:gd name="T3" fmla="*/ 0 h 9"/>
                <a:gd name="T4" fmla="*/ 1 w 8"/>
                <a:gd name="T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9">
                  <a:moveTo>
                    <a:pt x="1" y="9"/>
                  </a:moveTo>
                  <a:cubicBezTo>
                    <a:pt x="1" y="9"/>
                    <a:pt x="8" y="6"/>
                    <a:pt x="7" y="0"/>
                  </a:cubicBezTo>
                  <a:cubicBezTo>
                    <a:pt x="0" y="1"/>
                    <a:pt x="1" y="9"/>
                    <a:pt x="1" y="9"/>
                  </a:cubicBezTo>
                  <a:close/>
                </a:path>
              </a:pathLst>
            </a:custGeom>
            <a:solidFill>
              <a:srgbClr val="84C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03" name="Freeform 8368"/>
            <p:cNvSpPr>
              <a:spLocks/>
            </p:cNvSpPr>
            <p:nvPr/>
          </p:nvSpPr>
          <p:spPr bwMode="auto">
            <a:xfrm>
              <a:off x="5504" y="2888"/>
              <a:ext cx="22" cy="21"/>
            </a:xfrm>
            <a:custGeom>
              <a:avLst/>
              <a:gdLst>
                <a:gd name="T0" fmla="*/ 7 w 18"/>
                <a:gd name="T1" fmla="*/ 18 h 18"/>
                <a:gd name="T2" fmla="*/ 11 w 18"/>
                <a:gd name="T3" fmla="*/ 0 h 18"/>
                <a:gd name="T4" fmla="*/ 7 w 18"/>
                <a:gd name="T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8">
                  <a:moveTo>
                    <a:pt x="7" y="18"/>
                  </a:moveTo>
                  <a:cubicBezTo>
                    <a:pt x="7" y="18"/>
                    <a:pt x="18" y="11"/>
                    <a:pt x="11" y="0"/>
                  </a:cubicBezTo>
                  <a:cubicBezTo>
                    <a:pt x="0" y="6"/>
                    <a:pt x="7" y="18"/>
                    <a:pt x="7" y="18"/>
                  </a:cubicBezTo>
                  <a:close/>
                </a:path>
              </a:pathLst>
            </a:custGeom>
            <a:solidFill>
              <a:srgbClr val="6FA5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04" name="Freeform 8369"/>
            <p:cNvSpPr>
              <a:spLocks/>
            </p:cNvSpPr>
            <p:nvPr/>
          </p:nvSpPr>
          <p:spPr bwMode="auto">
            <a:xfrm>
              <a:off x="5511" y="2889"/>
              <a:ext cx="11" cy="12"/>
            </a:xfrm>
            <a:custGeom>
              <a:avLst/>
              <a:gdLst>
                <a:gd name="T0" fmla="*/ 4 w 9"/>
                <a:gd name="T1" fmla="*/ 10 h 10"/>
                <a:gd name="T2" fmla="*/ 6 w 9"/>
                <a:gd name="T3" fmla="*/ 0 h 10"/>
                <a:gd name="T4" fmla="*/ 4 w 9"/>
                <a:gd name="T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0">
                  <a:moveTo>
                    <a:pt x="4" y="10"/>
                  </a:moveTo>
                  <a:cubicBezTo>
                    <a:pt x="4" y="10"/>
                    <a:pt x="9" y="6"/>
                    <a:pt x="6" y="0"/>
                  </a:cubicBezTo>
                  <a:cubicBezTo>
                    <a:pt x="0" y="3"/>
                    <a:pt x="4" y="10"/>
                    <a:pt x="4" y="10"/>
                  </a:cubicBezTo>
                  <a:close/>
                </a:path>
              </a:pathLst>
            </a:custGeom>
            <a:solidFill>
              <a:srgbClr val="84C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05" name="Freeform 8370"/>
            <p:cNvSpPr>
              <a:spLocks/>
            </p:cNvSpPr>
            <p:nvPr/>
          </p:nvSpPr>
          <p:spPr bwMode="auto">
            <a:xfrm>
              <a:off x="5619" y="2864"/>
              <a:ext cx="21" cy="21"/>
            </a:xfrm>
            <a:custGeom>
              <a:avLst/>
              <a:gdLst>
                <a:gd name="T0" fmla="*/ 8 w 17"/>
                <a:gd name="T1" fmla="*/ 17 h 17"/>
                <a:gd name="T2" fmla="*/ 8 w 17"/>
                <a:gd name="T3" fmla="*/ 0 h 17"/>
                <a:gd name="T4" fmla="*/ 8 w 17"/>
                <a:gd name="T5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17">
                  <a:moveTo>
                    <a:pt x="8" y="17"/>
                  </a:moveTo>
                  <a:cubicBezTo>
                    <a:pt x="17" y="10"/>
                    <a:pt x="8" y="0"/>
                    <a:pt x="8" y="0"/>
                  </a:cubicBezTo>
                  <a:cubicBezTo>
                    <a:pt x="8" y="0"/>
                    <a:pt x="0" y="9"/>
                    <a:pt x="8" y="17"/>
                  </a:cubicBezTo>
                  <a:close/>
                </a:path>
              </a:pathLst>
            </a:custGeom>
            <a:solidFill>
              <a:srgbClr val="E79B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06" name="Freeform 8371"/>
            <p:cNvSpPr>
              <a:spLocks/>
            </p:cNvSpPr>
            <p:nvPr/>
          </p:nvSpPr>
          <p:spPr bwMode="auto">
            <a:xfrm>
              <a:off x="5609" y="2872"/>
              <a:ext cx="20" cy="19"/>
            </a:xfrm>
            <a:custGeom>
              <a:avLst/>
              <a:gdLst>
                <a:gd name="T0" fmla="*/ 0 w 16"/>
                <a:gd name="T1" fmla="*/ 5 h 16"/>
                <a:gd name="T2" fmla="*/ 16 w 16"/>
                <a:gd name="T3" fmla="*/ 11 h 16"/>
                <a:gd name="T4" fmla="*/ 0 w 16"/>
                <a:gd name="T5" fmla="*/ 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6">
                  <a:moveTo>
                    <a:pt x="0" y="5"/>
                  </a:moveTo>
                  <a:cubicBezTo>
                    <a:pt x="0" y="5"/>
                    <a:pt x="5" y="16"/>
                    <a:pt x="16" y="11"/>
                  </a:cubicBezTo>
                  <a:cubicBezTo>
                    <a:pt x="12" y="0"/>
                    <a:pt x="0" y="5"/>
                    <a:pt x="0" y="5"/>
                  </a:cubicBezTo>
                  <a:close/>
                </a:path>
              </a:pathLst>
            </a:custGeom>
            <a:solidFill>
              <a:srgbClr val="E79B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07" name="Freeform 8372"/>
            <p:cNvSpPr>
              <a:spLocks/>
            </p:cNvSpPr>
            <p:nvPr/>
          </p:nvSpPr>
          <p:spPr bwMode="auto">
            <a:xfrm>
              <a:off x="5614" y="2885"/>
              <a:ext cx="16" cy="16"/>
            </a:xfrm>
            <a:custGeom>
              <a:avLst/>
              <a:gdLst>
                <a:gd name="T0" fmla="*/ 1 w 13"/>
                <a:gd name="T1" fmla="*/ 13 h 13"/>
                <a:gd name="T2" fmla="*/ 12 w 13"/>
                <a:gd name="T3" fmla="*/ 0 h 13"/>
                <a:gd name="T4" fmla="*/ 1 w 13"/>
                <a:gd name="T5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3">
                  <a:moveTo>
                    <a:pt x="1" y="13"/>
                  </a:moveTo>
                  <a:cubicBezTo>
                    <a:pt x="1" y="13"/>
                    <a:pt x="13" y="12"/>
                    <a:pt x="12" y="0"/>
                  </a:cubicBezTo>
                  <a:cubicBezTo>
                    <a:pt x="0" y="1"/>
                    <a:pt x="1" y="13"/>
                    <a:pt x="1" y="13"/>
                  </a:cubicBezTo>
                  <a:close/>
                </a:path>
              </a:pathLst>
            </a:custGeom>
            <a:solidFill>
              <a:srgbClr val="E79B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08" name="Freeform 8373"/>
            <p:cNvSpPr>
              <a:spLocks/>
            </p:cNvSpPr>
            <p:nvPr/>
          </p:nvSpPr>
          <p:spPr bwMode="auto">
            <a:xfrm>
              <a:off x="5624" y="2885"/>
              <a:ext cx="18" cy="17"/>
            </a:xfrm>
            <a:custGeom>
              <a:avLst/>
              <a:gdLst>
                <a:gd name="T0" fmla="*/ 4 w 15"/>
                <a:gd name="T1" fmla="*/ 0 h 14"/>
                <a:gd name="T2" fmla="*/ 13 w 15"/>
                <a:gd name="T3" fmla="*/ 14 h 14"/>
                <a:gd name="T4" fmla="*/ 4 w 15"/>
                <a:gd name="T5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4">
                  <a:moveTo>
                    <a:pt x="4" y="0"/>
                  </a:moveTo>
                  <a:cubicBezTo>
                    <a:pt x="0" y="11"/>
                    <a:pt x="13" y="14"/>
                    <a:pt x="13" y="14"/>
                  </a:cubicBezTo>
                  <a:cubicBezTo>
                    <a:pt x="13" y="14"/>
                    <a:pt x="15" y="3"/>
                    <a:pt x="4" y="0"/>
                  </a:cubicBezTo>
                  <a:close/>
                </a:path>
              </a:pathLst>
            </a:custGeom>
            <a:solidFill>
              <a:srgbClr val="E79B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09" name="Freeform 8374"/>
            <p:cNvSpPr>
              <a:spLocks/>
            </p:cNvSpPr>
            <p:nvPr/>
          </p:nvSpPr>
          <p:spPr bwMode="auto">
            <a:xfrm>
              <a:off x="5629" y="2873"/>
              <a:ext cx="19" cy="21"/>
            </a:xfrm>
            <a:custGeom>
              <a:avLst/>
              <a:gdLst>
                <a:gd name="T0" fmla="*/ 0 w 16"/>
                <a:gd name="T1" fmla="*/ 10 h 17"/>
                <a:gd name="T2" fmla="*/ 16 w 16"/>
                <a:gd name="T3" fmla="*/ 6 h 17"/>
                <a:gd name="T4" fmla="*/ 0 w 16"/>
                <a:gd name="T5" fmla="*/ 1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7">
                  <a:moveTo>
                    <a:pt x="0" y="10"/>
                  </a:moveTo>
                  <a:cubicBezTo>
                    <a:pt x="9" y="17"/>
                    <a:pt x="16" y="6"/>
                    <a:pt x="16" y="6"/>
                  </a:cubicBezTo>
                  <a:cubicBezTo>
                    <a:pt x="16" y="6"/>
                    <a:pt x="6" y="0"/>
                    <a:pt x="0" y="10"/>
                  </a:cubicBezTo>
                  <a:close/>
                </a:path>
              </a:pathLst>
            </a:custGeom>
            <a:solidFill>
              <a:srgbClr val="E79B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10" name="Freeform 8375"/>
            <p:cNvSpPr>
              <a:spLocks/>
            </p:cNvSpPr>
            <p:nvPr/>
          </p:nvSpPr>
          <p:spPr bwMode="auto">
            <a:xfrm>
              <a:off x="5627" y="2878"/>
              <a:ext cx="4" cy="2"/>
            </a:xfrm>
            <a:custGeom>
              <a:avLst/>
              <a:gdLst>
                <a:gd name="T0" fmla="*/ 1 w 3"/>
                <a:gd name="T1" fmla="*/ 0 h 2"/>
                <a:gd name="T2" fmla="*/ 0 w 3"/>
                <a:gd name="T3" fmla="*/ 1 h 2"/>
                <a:gd name="T4" fmla="*/ 1 w 3"/>
                <a:gd name="T5" fmla="*/ 2 h 2"/>
                <a:gd name="T6" fmla="*/ 3 w 3"/>
                <a:gd name="T7" fmla="*/ 1 h 2"/>
                <a:gd name="T8" fmla="*/ 1 w 3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2">
                  <a:moveTo>
                    <a:pt x="1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0" y="1"/>
                    <a:pt x="0" y="2"/>
                    <a:pt x="1" y="2"/>
                  </a:cubicBezTo>
                  <a:cubicBezTo>
                    <a:pt x="2" y="2"/>
                    <a:pt x="3" y="2"/>
                    <a:pt x="3" y="1"/>
                  </a:cubicBezTo>
                  <a:cubicBezTo>
                    <a:pt x="3" y="1"/>
                    <a:pt x="2" y="0"/>
                    <a:pt x="1" y="0"/>
                  </a:cubicBezTo>
                  <a:close/>
                </a:path>
              </a:pathLst>
            </a:custGeom>
            <a:solidFill>
              <a:srgbClr val="B751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11" name="Freeform 8376"/>
            <p:cNvSpPr>
              <a:spLocks/>
            </p:cNvSpPr>
            <p:nvPr/>
          </p:nvSpPr>
          <p:spPr bwMode="auto">
            <a:xfrm>
              <a:off x="5621" y="2880"/>
              <a:ext cx="3" cy="5"/>
            </a:xfrm>
            <a:custGeom>
              <a:avLst/>
              <a:gdLst>
                <a:gd name="T0" fmla="*/ 2 w 2"/>
                <a:gd name="T1" fmla="*/ 1 h 4"/>
                <a:gd name="T2" fmla="*/ 0 w 2"/>
                <a:gd name="T3" fmla="*/ 2 h 4"/>
                <a:gd name="T4" fmla="*/ 0 w 2"/>
                <a:gd name="T5" fmla="*/ 4 h 4"/>
                <a:gd name="T6" fmla="*/ 2 w 2"/>
                <a:gd name="T7" fmla="*/ 2 h 4"/>
                <a:gd name="T8" fmla="*/ 2 w 2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2" y="1"/>
                  </a:move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0" y="4"/>
                    <a:pt x="0" y="4"/>
                  </a:cubicBezTo>
                  <a:cubicBezTo>
                    <a:pt x="1" y="4"/>
                    <a:pt x="2" y="3"/>
                    <a:pt x="2" y="2"/>
                  </a:cubicBezTo>
                  <a:cubicBezTo>
                    <a:pt x="2" y="2"/>
                    <a:pt x="2" y="1"/>
                    <a:pt x="2" y="1"/>
                  </a:cubicBezTo>
                  <a:close/>
                </a:path>
              </a:pathLst>
            </a:custGeom>
            <a:solidFill>
              <a:srgbClr val="B751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12" name="Freeform 8377"/>
            <p:cNvSpPr>
              <a:spLocks/>
            </p:cNvSpPr>
            <p:nvPr/>
          </p:nvSpPr>
          <p:spPr bwMode="auto">
            <a:xfrm>
              <a:off x="5623" y="2889"/>
              <a:ext cx="3" cy="2"/>
            </a:xfrm>
            <a:custGeom>
              <a:avLst/>
              <a:gdLst>
                <a:gd name="T0" fmla="*/ 2 w 3"/>
                <a:gd name="T1" fmla="*/ 0 h 2"/>
                <a:gd name="T2" fmla="*/ 0 w 3"/>
                <a:gd name="T3" fmla="*/ 0 h 2"/>
                <a:gd name="T4" fmla="*/ 1 w 3"/>
                <a:gd name="T5" fmla="*/ 2 h 2"/>
                <a:gd name="T6" fmla="*/ 3 w 3"/>
                <a:gd name="T7" fmla="*/ 2 h 2"/>
                <a:gd name="T8" fmla="*/ 2 w 3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2">
                  <a:moveTo>
                    <a:pt x="2" y="0"/>
                  </a:moveTo>
                  <a:cubicBezTo>
                    <a:pt x="1" y="0"/>
                    <a:pt x="0" y="0"/>
                    <a:pt x="0" y="0"/>
                  </a:cubicBezTo>
                  <a:cubicBezTo>
                    <a:pt x="0" y="1"/>
                    <a:pt x="0" y="1"/>
                    <a:pt x="1" y="2"/>
                  </a:cubicBezTo>
                  <a:cubicBezTo>
                    <a:pt x="2" y="2"/>
                    <a:pt x="2" y="2"/>
                    <a:pt x="3" y="2"/>
                  </a:cubicBezTo>
                  <a:cubicBezTo>
                    <a:pt x="3" y="2"/>
                    <a:pt x="3" y="1"/>
                    <a:pt x="2" y="0"/>
                  </a:cubicBezTo>
                  <a:close/>
                </a:path>
              </a:pathLst>
            </a:custGeom>
            <a:solidFill>
              <a:srgbClr val="B751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13" name="Freeform 8378"/>
            <p:cNvSpPr>
              <a:spLocks/>
            </p:cNvSpPr>
            <p:nvPr/>
          </p:nvSpPr>
          <p:spPr bwMode="auto">
            <a:xfrm>
              <a:off x="5630" y="2889"/>
              <a:ext cx="3" cy="3"/>
            </a:xfrm>
            <a:custGeom>
              <a:avLst/>
              <a:gdLst>
                <a:gd name="T0" fmla="*/ 1 w 3"/>
                <a:gd name="T1" fmla="*/ 1 h 3"/>
                <a:gd name="T2" fmla="*/ 0 w 3"/>
                <a:gd name="T3" fmla="*/ 3 h 3"/>
                <a:gd name="T4" fmla="*/ 2 w 3"/>
                <a:gd name="T5" fmla="*/ 2 h 3"/>
                <a:gd name="T6" fmla="*/ 3 w 3"/>
                <a:gd name="T7" fmla="*/ 1 h 3"/>
                <a:gd name="T8" fmla="*/ 1 w 3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1" y="1"/>
                  </a:moveTo>
                  <a:cubicBezTo>
                    <a:pt x="0" y="1"/>
                    <a:pt x="0" y="2"/>
                    <a:pt x="0" y="3"/>
                  </a:cubicBezTo>
                  <a:cubicBezTo>
                    <a:pt x="0" y="3"/>
                    <a:pt x="1" y="3"/>
                    <a:pt x="2" y="2"/>
                  </a:cubicBezTo>
                  <a:cubicBezTo>
                    <a:pt x="3" y="2"/>
                    <a:pt x="3" y="1"/>
                    <a:pt x="3" y="1"/>
                  </a:cubicBezTo>
                  <a:cubicBezTo>
                    <a:pt x="3" y="0"/>
                    <a:pt x="2" y="0"/>
                    <a:pt x="1" y="1"/>
                  </a:cubicBezTo>
                  <a:close/>
                </a:path>
              </a:pathLst>
            </a:custGeom>
            <a:solidFill>
              <a:srgbClr val="B751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14" name="Freeform 8379"/>
            <p:cNvSpPr>
              <a:spLocks/>
            </p:cNvSpPr>
            <p:nvPr/>
          </p:nvSpPr>
          <p:spPr bwMode="auto">
            <a:xfrm>
              <a:off x="5633" y="2882"/>
              <a:ext cx="3" cy="4"/>
            </a:xfrm>
            <a:custGeom>
              <a:avLst/>
              <a:gdLst>
                <a:gd name="T0" fmla="*/ 0 w 2"/>
                <a:gd name="T1" fmla="*/ 0 h 4"/>
                <a:gd name="T2" fmla="*/ 0 w 2"/>
                <a:gd name="T3" fmla="*/ 2 h 4"/>
                <a:gd name="T4" fmla="*/ 1 w 2"/>
                <a:gd name="T5" fmla="*/ 4 h 4"/>
                <a:gd name="T6" fmla="*/ 2 w 2"/>
                <a:gd name="T7" fmla="*/ 2 h 4"/>
                <a:gd name="T8" fmla="*/ 0 w 2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0" y="0"/>
                  </a:moveTo>
                  <a:cubicBezTo>
                    <a:pt x="0" y="1"/>
                    <a:pt x="0" y="1"/>
                    <a:pt x="0" y="2"/>
                  </a:cubicBezTo>
                  <a:cubicBezTo>
                    <a:pt x="0" y="3"/>
                    <a:pt x="1" y="4"/>
                    <a:pt x="1" y="4"/>
                  </a:cubicBezTo>
                  <a:cubicBezTo>
                    <a:pt x="2" y="3"/>
                    <a:pt x="2" y="3"/>
                    <a:pt x="2" y="2"/>
                  </a:cubicBezTo>
                  <a:cubicBezTo>
                    <a:pt x="1" y="1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B751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15" name="Oval 8380"/>
            <p:cNvSpPr>
              <a:spLocks noChangeArrowheads="1"/>
            </p:cNvSpPr>
            <p:nvPr/>
          </p:nvSpPr>
          <p:spPr bwMode="auto">
            <a:xfrm>
              <a:off x="5627" y="2884"/>
              <a:ext cx="3" cy="2"/>
            </a:xfrm>
            <a:prstGeom prst="ellipse">
              <a:avLst/>
            </a:prstGeom>
            <a:solidFill>
              <a:srgbClr val="B751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16" name="Freeform 8381"/>
            <p:cNvSpPr>
              <a:spLocks/>
            </p:cNvSpPr>
            <p:nvPr/>
          </p:nvSpPr>
          <p:spPr bwMode="auto">
            <a:xfrm>
              <a:off x="5595" y="2854"/>
              <a:ext cx="20" cy="19"/>
            </a:xfrm>
            <a:custGeom>
              <a:avLst/>
              <a:gdLst>
                <a:gd name="T0" fmla="*/ 8 w 17"/>
                <a:gd name="T1" fmla="*/ 16 h 16"/>
                <a:gd name="T2" fmla="*/ 8 w 17"/>
                <a:gd name="T3" fmla="*/ 0 h 16"/>
                <a:gd name="T4" fmla="*/ 8 w 17"/>
                <a:gd name="T5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16">
                  <a:moveTo>
                    <a:pt x="8" y="16"/>
                  </a:moveTo>
                  <a:cubicBezTo>
                    <a:pt x="17" y="9"/>
                    <a:pt x="8" y="0"/>
                    <a:pt x="8" y="0"/>
                  </a:cubicBezTo>
                  <a:cubicBezTo>
                    <a:pt x="8" y="0"/>
                    <a:pt x="0" y="8"/>
                    <a:pt x="8" y="16"/>
                  </a:cubicBezTo>
                  <a:close/>
                </a:path>
              </a:pathLst>
            </a:custGeom>
            <a:solidFill>
              <a:srgbClr val="B751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17" name="Freeform 8382"/>
            <p:cNvSpPr>
              <a:spLocks/>
            </p:cNvSpPr>
            <p:nvPr/>
          </p:nvSpPr>
          <p:spPr bwMode="auto">
            <a:xfrm>
              <a:off x="5585" y="2860"/>
              <a:ext cx="19" cy="19"/>
            </a:xfrm>
            <a:custGeom>
              <a:avLst/>
              <a:gdLst>
                <a:gd name="T0" fmla="*/ 0 w 16"/>
                <a:gd name="T1" fmla="*/ 6 h 16"/>
                <a:gd name="T2" fmla="*/ 16 w 16"/>
                <a:gd name="T3" fmla="*/ 11 h 16"/>
                <a:gd name="T4" fmla="*/ 0 w 16"/>
                <a:gd name="T5" fmla="*/ 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6">
                  <a:moveTo>
                    <a:pt x="0" y="6"/>
                  </a:moveTo>
                  <a:cubicBezTo>
                    <a:pt x="0" y="6"/>
                    <a:pt x="5" y="16"/>
                    <a:pt x="16" y="11"/>
                  </a:cubicBezTo>
                  <a:cubicBezTo>
                    <a:pt x="12" y="0"/>
                    <a:pt x="0" y="6"/>
                    <a:pt x="0" y="6"/>
                  </a:cubicBezTo>
                  <a:close/>
                </a:path>
              </a:pathLst>
            </a:custGeom>
            <a:solidFill>
              <a:srgbClr val="B751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18" name="Freeform 8383"/>
            <p:cNvSpPr>
              <a:spLocks/>
            </p:cNvSpPr>
            <p:nvPr/>
          </p:nvSpPr>
          <p:spPr bwMode="auto">
            <a:xfrm>
              <a:off x="5590" y="2873"/>
              <a:ext cx="15" cy="17"/>
            </a:xfrm>
            <a:custGeom>
              <a:avLst/>
              <a:gdLst>
                <a:gd name="T0" fmla="*/ 1 w 13"/>
                <a:gd name="T1" fmla="*/ 14 h 14"/>
                <a:gd name="T2" fmla="*/ 12 w 13"/>
                <a:gd name="T3" fmla="*/ 0 h 14"/>
                <a:gd name="T4" fmla="*/ 1 w 13"/>
                <a:gd name="T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4">
                  <a:moveTo>
                    <a:pt x="1" y="14"/>
                  </a:moveTo>
                  <a:cubicBezTo>
                    <a:pt x="1" y="14"/>
                    <a:pt x="13" y="12"/>
                    <a:pt x="12" y="0"/>
                  </a:cubicBezTo>
                  <a:cubicBezTo>
                    <a:pt x="0" y="1"/>
                    <a:pt x="1" y="14"/>
                    <a:pt x="1" y="14"/>
                  </a:cubicBezTo>
                  <a:close/>
                </a:path>
              </a:pathLst>
            </a:custGeom>
            <a:solidFill>
              <a:srgbClr val="B751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19" name="Freeform 8384"/>
            <p:cNvSpPr>
              <a:spLocks/>
            </p:cNvSpPr>
            <p:nvPr/>
          </p:nvSpPr>
          <p:spPr bwMode="auto">
            <a:xfrm>
              <a:off x="5601" y="2873"/>
              <a:ext cx="17" cy="17"/>
            </a:xfrm>
            <a:custGeom>
              <a:avLst/>
              <a:gdLst>
                <a:gd name="T0" fmla="*/ 3 w 14"/>
                <a:gd name="T1" fmla="*/ 0 h 14"/>
                <a:gd name="T2" fmla="*/ 12 w 14"/>
                <a:gd name="T3" fmla="*/ 14 h 14"/>
                <a:gd name="T4" fmla="*/ 3 w 14"/>
                <a:gd name="T5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14">
                  <a:moveTo>
                    <a:pt x="3" y="0"/>
                  </a:moveTo>
                  <a:cubicBezTo>
                    <a:pt x="0" y="12"/>
                    <a:pt x="12" y="14"/>
                    <a:pt x="12" y="14"/>
                  </a:cubicBezTo>
                  <a:cubicBezTo>
                    <a:pt x="12" y="14"/>
                    <a:pt x="14" y="3"/>
                    <a:pt x="3" y="0"/>
                  </a:cubicBezTo>
                  <a:close/>
                </a:path>
              </a:pathLst>
            </a:custGeom>
            <a:solidFill>
              <a:srgbClr val="B751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20" name="Freeform 8385"/>
            <p:cNvSpPr>
              <a:spLocks/>
            </p:cNvSpPr>
            <p:nvPr/>
          </p:nvSpPr>
          <p:spPr bwMode="auto">
            <a:xfrm>
              <a:off x="5604" y="2861"/>
              <a:ext cx="20" cy="21"/>
            </a:xfrm>
            <a:custGeom>
              <a:avLst/>
              <a:gdLst>
                <a:gd name="T0" fmla="*/ 0 w 16"/>
                <a:gd name="T1" fmla="*/ 10 h 17"/>
                <a:gd name="T2" fmla="*/ 16 w 16"/>
                <a:gd name="T3" fmla="*/ 6 h 17"/>
                <a:gd name="T4" fmla="*/ 0 w 16"/>
                <a:gd name="T5" fmla="*/ 1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7">
                  <a:moveTo>
                    <a:pt x="0" y="10"/>
                  </a:moveTo>
                  <a:cubicBezTo>
                    <a:pt x="9" y="17"/>
                    <a:pt x="16" y="6"/>
                    <a:pt x="16" y="6"/>
                  </a:cubicBezTo>
                  <a:cubicBezTo>
                    <a:pt x="16" y="6"/>
                    <a:pt x="6" y="0"/>
                    <a:pt x="0" y="10"/>
                  </a:cubicBezTo>
                  <a:close/>
                </a:path>
              </a:pathLst>
            </a:custGeom>
            <a:solidFill>
              <a:srgbClr val="B751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21" name="Oval 8386"/>
            <p:cNvSpPr>
              <a:spLocks noChangeArrowheads="1"/>
            </p:cNvSpPr>
            <p:nvPr/>
          </p:nvSpPr>
          <p:spPr bwMode="auto">
            <a:xfrm>
              <a:off x="5603" y="2866"/>
              <a:ext cx="4" cy="2"/>
            </a:xfrm>
            <a:prstGeom prst="ellipse">
              <a:avLst/>
            </a:prstGeom>
            <a:solidFill>
              <a:srgbClr val="E79B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22" name="Freeform 8387"/>
            <p:cNvSpPr>
              <a:spLocks/>
            </p:cNvSpPr>
            <p:nvPr/>
          </p:nvSpPr>
          <p:spPr bwMode="auto">
            <a:xfrm>
              <a:off x="5597" y="2869"/>
              <a:ext cx="2" cy="4"/>
            </a:xfrm>
            <a:custGeom>
              <a:avLst/>
              <a:gdLst>
                <a:gd name="T0" fmla="*/ 2 w 2"/>
                <a:gd name="T1" fmla="*/ 0 h 3"/>
                <a:gd name="T2" fmla="*/ 0 w 2"/>
                <a:gd name="T3" fmla="*/ 1 h 3"/>
                <a:gd name="T4" fmla="*/ 1 w 2"/>
                <a:gd name="T5" fmla="*/ 3 h 3"/>
                <a:gd name="T6" fmla="*/ 2 w 2"/>
                <a:gd name="T7" fmla="*/ 2 h 3"/>
                <a:gd name="T8" fmla="*/ 2 w 2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cubicBezTo>
                    <a:pt x="1" y="0"/>
                    <a:pt x="0" y="0"/>
                    <a:pt x="0" y="1"/>
                  </a:cubicBezTo>
                  <a:cubicBezTo>
                    <a:pt x="0" y="2"/>
                    <a:pt x="0" y="3"/>
                    <a:pt x="1" y="3"/>
                  </a:cubicBezTo>
                  <a:cubicBezTo>
                    <a:pt x="1" y="3"/>
                    <a:pt x="2" y="3"/>
                    <a:pt x="2" y="2"/>
                  </a:cubicBezTo>
                  <a:cubicBezTo>
                    <a:pt x="2" y="1"/>
                    <a:pt x="2" y="0"/>
                    <a:pt x="2" y="0"/>
                  </a:cubicBezTo>
                  <a:close/>
                </a:path>
              </a:pathLst>
            </a:custGeom>
            <a:solidFill>
              <a:srgbClr val="E79B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23" name="Freeform 8388"/>
            <p:cNvSpPr>
              <a:spLocks/>
            </p:cNvSpPr>
            <p:nvPr/>
          </p:nvSpPr>
          <p:spPr bwMode="auto">
            <a:xfrm>
              <a:off x="5598" y="2877"/>
              <a:ext cx="4" cy="3"/>
            </a:xfrm>
            <a:custGeom>
              <a:avLst/>
              <a:gdLst>
                <a:gd name="T0" fmla="*/ 2 w 3"/>
                <a:gd name="T1" fmla="*/ 1 h 3"/>
                <a:gd name="T2" fmla="*/ 0 w 3"/>
                <a:gd name="T3" fmla="*/ 0 h 3"/>
                <a:gd name="T4" fmla="*/ 1 w 3"/>
                <a:gd name="T5" fmla="*/ 2 h 3"/>
                <a:gd name="T6" fmla="*/ 3 w 3"/>
                <a:gd name="T7" fmla="*/ 2 h 3"/>
                <a:gd name="T8" fmla="*/ 2 w 3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2" y="1"/>
                  </a:moveTo>
                  <a:cubicBezTo>
                    <a:pt x="1" y="0"/>
                    <a:pt x="0" y="0"/>
                    <a:pt x="0" y="0"/>
                  </a:cubicBezTo>
                  <a:cubicBezTo>
                    <a:pt x="0" y="1"/>
                    <a:pt x="0" y="2"/>
                    <a:pt x="1" y="2"/>
                  </a:cubicBezTo>
                  <a:cubicBezTo>
                    <a:pt x="2" y="3"/>
                    <a:pt x="2" y="3"/>
                    <a:pt x="3" y="2"/>
                  </a:cubicBezTo>
                  <a:cubicBezTo>
                    <a:pt x="3" y="2"/>
                    <a:pt x="3" y="1"/>
                    <a:pt x="2" y="1"/>
                  </a:cubicBezTo>
                  <a:close/>
                </a:path>
              </a:pathLst>
            </a:custGeom>
            <a:solidFill>
              <a:srgbClr val="E79B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24" name="Freeform 8389"/>
            <p:cNvSpPr>
              <a:spLocks/>
            </p:cNvSpPr>
            <p:nvPr/>
          </p:nvSpPr>
          <p:spPr bwMode="auto">
            <a:xfrm>
              <a:off x="5605" y="2878"/>
              <a:ext cx="4" cy="2"/>
            </a:xfrm>
            <a:custGeom>
              <a:avLst/>
              <a:gdLst>
                <a:gd name="T0" fmla="*/ 1 w 3"/>
                <a:gd name="T1" fmla="*/ 0 h 2"/>
                <a:gd name="T2" fmla="*/ 0 w 3"/>
                <a:gd name="T3" fmla="*/ 2 h 2"/>
                <a:gd name="T4" fmla="*/ 2 w 3"/>
                <a:gd name="T5" fmla="*/ 2 h 2"/>
                <a:gd name="T6" fmla="*/ 3 w 3"/>
                <a:gd name="T7" fmla="*/ 0 h 2"/>
                <a:gd name="T8" fmla="*/ 1 w 3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2">
                  <a:moveTo>
                    <a:pt x="1" y="0"/>
                  </a:moveTo>
                  <a:cubicBezTo>
                    <a:pt x="0" y="1"/>
                    <a:pt x="0" y="1"/>
                    <a:pt x="0" y="2"/>
                  </a:cubicBezTo>
                  <a:cubicBezTo>
                    <a:pt x="0" y="2"/>
                    <a:pt x="1" y="2"/>
                    <a:pt x="2" y="2"/>
                  </a:cubicBezTo>
                  <a:cubicBezTo>
                    <a:pt x="3" y="1"/>
                    <a:pt x="3" y="0"/>
                    <a:pt x="3" y="0"/>
                  </a:cubicBezTo>
                  <a:cubicBezTo>
                    <a:pt x="3" y="0"/>
                    <a:pt x="2" y="0"/>
                    <a:pt x="1" y="0"/>
                  </a:cubicBezTo>
                  <a:close/>
                </a:path>
              </a:pathLst>
            </a:custGeom>
            <a:solidFill>
              <a:srgbClr val="E79B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25" name="Freeform 8390"/>
            <p:cNvSpPr>
              <a:spLocks/>
            </p:cNvSpPr>
            <p:nvPr/>
          </p:nvSpPr>
          <p:spPr bwMode="auto">
            <a:xfrm>
              <a:off x="5609" y="2871"/>
              <a:ext cx="3" cy="3"/>
            </a:xfrm>
            <a:custGeom>
              <a:avLst/>
              <a:gdLst>
                <a:gd name="T0" fmla="*/ 0 w 2"/>
                <a:gd name="T1" fmla="*/ 0 h 3"/>
                <a:gd name="T2" fmla="*/ 0 w 2"/>
                <a:gd name="T3" fmla="*/ 2 h 3"/>
                <a:gd name="T4" fmla="*/ 1 w 2"/>
                <a:gd name="T5" fmla="*/ 3 h 3"/>
                <a:gd name="T6" fmla="*/ 2 w 2"/>
                <a:gd name="T7" fmla="*/ 1 h 3"/>
                <a:gd name="T8" fmla="*/ 0 w 2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3">
                  <a:moveTo>
                    <a:pt x="0" y="0"/>
                  </a:moveTo>
                  <a:cubicBezTo>
                    <a:pt x="0" y="0"/>
                    <a:pt x="0" y="1"/>
                    <a:pt x="0" y="2"/>
                  </a:cubicBezTo>
                  <a:cubicBezTo>
                    <a:pt x="0" y="2"/>
                    <a:pt x="1" y="3"/>
                    <a:pt x="1" y="3"/>
                  </a:cubicBezTo>
                  <a:cubicBezTo>
                    <a:pt x="2" y="3"/>
                    <a:pt x="2" y="2"/>
                    <a:pt x="2" y="1"/>
                  </a:cubicBezTo>
                  <a:cubicBezTo>
                    <a:pt x="2" y="0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E79B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26" name="Oval 8391"/>
            <p:cNvSpPr>
              <a:spLocks noChangeArrowheads="1"/>
            </p:cNvSpPr>
            <p:nvPr/>
          </p:nvSpPr>
          <p:spPr bwMode="auto">
            <a:xfrm>
              <a:off x="5603" y="2873"/>
              <a:ext cx="2" cy="1"/>
            </a:xfrm>
            <a:prstGeom prst="ellipse">
              <a:avLst/>
            </a:prstGeom>
            <a:solidFill>
              <a:srgbClr val="E79B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27" name="Freeform 8392"/>
            <p:cNvSpPr>
              <a:spLocks/>
            </p:cNvSpPr>
            <p:nvPr/>
          </p:nvSpPr>
          <p:spPr bwMode="auto">
            <a:xfrm>
              <a:off x="5562" y="2871"/>
              <a:ext cx="20" cy="19"/>
            </a:xfrm>
            <a:custGeom>
              <a:avLst/>
              <a:gdLst>
                <a:gd name="T0" fmla="*/ 6 w 17"/>
                <a:gd name="T1" fmla="*/ 0 h 16"/>
                <a:gd name="T2" fmla="*/ 10 w 17"/>
                <a:gd name="T3" fmla="*/ 16 h 16"/>
                <a:gd name="T4" fmla="*/ 6 w 17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16">
                  <a:moveTo>
                    <a:pt x="6" y="0"/>
                  </a:moveTo>
                  <a:cubicBezTo>
                    <a:pt x="6" y="0"/>
                    <a:pt x="0" y="10"/>
                    <a:pt x="10" y="16"/>
                  </a:cubicBezTo>
                  <a:cubicBezTo>
                    <a:pt x="17" y="7"/>
                    <a:pt x="6" y="0"/>
                    <a:pt x="6" y="0"/>
                  </a:cubicBezTo>
                  <a:close/>
                </a:path>
              </a:pathLst>
            </a:custGeom>
            <a:solidFill>
              <a:srgbClr val="CC62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28" name="Freeform 8393"/>
            <p:cNvSpPr>
              <a:spLocks/>
            </p:cNvSpPr>
            <p:nvPr/>
          </p:nvSpPr>
          <p:spPr bwMode="auto">
            <a:xfrm>
              <a:off x="5553" y="2879"/>
              <a:ext cx="21" cy="21"/>
            </a:xfrm>
            <a:custGeom>
              <a:avLst/>
              <a:gdLst>
                <a:gd name="T0" fmla="*/ 0 w 17"/>
                <a:gd name="T1" fmla="*/ 8 h 17"/>
                <a:gd name="T2" fmla="*/ 17 w 17"/>
                <a:gd name="T3" fmla="*/ 9 h 17"/>
                <a:gd name="T4" fmla="*/ 0 w 17"/>
                <a:gd name="T5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17">
                  <a:moveTo>
                    <a:pt x="0" y="8"/>
                  </a:moveTo>
                  <a:cubicBezTo>
                    <a:pt x="0" y="8"/>
                    <a:pt x="8" y="17"/>
                    <a:pt x="17" y="9"/>
                  </a:cubicBezTo>
                  <a:cubicBezTo>
                    <a:pt x="10" y="0"/>
                    <a:pt x="0" y="8"/>
                    <a:pt x="0" y="8"/>
                  </a:cubicBezTo>
                  <a:close/>
                </a:path>
              </a:pathLst>
            </a:custGeom>
            <a:solidFill>
              <a:srgbClr val="CC62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29" name="Freeform 8394"/>
            <p:cNvSpPr>
              <a:spLocks/>
            </p:cNvSpPr>
            <p:nvPr/>
          </p:nvSpPr>
          <p:spPr bwMode="auto">
            <a:xfrm>
              <a:off x="5560" y="2890"/>
              <a:ext cx="19" cy="19"/>
            </a:xfrm>
            <a:custGeom>
              <a:avLst/>
              <a:gdLst>
                <a:gd name="T0" fmla="*/ 5 w 15"/>
                <a:gd name="T1" fmla="*/ 16 h 16"/>
                <a:gd name="T2" fmla="*/ 11 w 15"/>
                <a:gd name="T3" fmla="*/ 0 h 16"/>
                <a:gd name="T4" fmla="*/ 5 w 15"/>
                <a:gd name="T5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6">
                  <a:moveTo>
                    <a:pt x="5" y="16"/>
                  </a:moveTo>
                  <a:cubicBezTo>
                    <a:pt x="5" y="16"/>
                    <a:pt x="15" y="11"/>
                    <a:pt x="11" y="0"/>
                  </a:cubicBezTo>
                  <a:cubicBezTo>
                    <a:pt x="0" y="4"/>
                    <a:pt x="5" y="16"/>
                    <a:pt x="5" y="16"/>
                  </a:cubicBezTo>
                  <a:close/>
                </a:path>
              </a:pathLst>
            </a:custGeom>
            <a:solidFill>
              <a:srgbClr val="CC62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30" name="Freeform 8395"/>
            <p:cNvSpPr>
              <a:spLocks/>
            </p:cNvSpPr>
            <p:nvPr/>
          </p:nvSpPr>
          <p:spPr bwMode="auto">
            <a:xfrm>
              <a:off x="5574" y="2890"/>
              <a:ext cx="16" cy="15"/>
            </a:xfrm>
            <a:custGeom>
              <a:avLst/>
              <a:gdLst>
                <a:gd name="T0" fmla="*/ 0 w 13"/>
                <a:gd name="T1" fmla="*/ 0 h 12"/>
                <a:gd name="T2" fmla="*/ 13 w 13"/>
                <a:gd name="T3" fmla="*/ 11 h 12"/>
                <a:gd name="T4" fmla="*/ 0 w 13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2">
                  <a:moveTo>
                    <a:pt x="0" y="0"/>
                  </a:moveTo>
                  <a:cubicBezTo>
                    <a:pt x="0" y="12"/>
                    <a:pt x="13" y="11"/>
                    <a:pt x="13" y="11"/>
                  </a:cubicBezTo>
                  <a:cubicBezTo>
                    <a:pt x="13" y="11"/>
                    <a:pt x="12" y="0"/>
                    <a:pt x="0" y="0"/>
                  </a:cubicBezTo>
                  <a:close/>
                </a:path>
              </a:pathLst>
            </a:custGeom>
            <a:solidFill>
              <a:srgbClr val="CC62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31" name="Freeform 8396"/>
            <p:cNvSpPr>
              <a:spLocks/>
            </p:cNvSpPr>
            <p:nvPr/>
          </p:nvSpPr>
          <p:spPr bwMode="auto">
            <a:xfrm>
              <a:off x="5574" y="2877"/>
              <a:ext cx="17" cy="18"/>
            </a:xfrm>
            <a:custGeom>
              <a:avLst/>
              <a:gdLst>
                <a:gd name="T0" fmla="*/ 0 w 14"/>
                <a:gd name="T1" fmla="*/ 11 h 15"/>
                <a:gd name="T2" fmla="*/ 14 w 14"/>
                <a:gd name="T3" fmla="*/ 3 h 15"/>
                <a:gd name="T4" fmla="*/ 0 w 14"/>
                <a:gd name="T5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15">
                  <a:moveTo>
                    <a:pt x="0" y="11"/>
                  </a:moveTo>
                  <a:cubicBezTo>
                    <a:pt x="11" y="15"/>
                    <a:pt x="14" y="3"/>
                    <a:pt x="14" y="3"/>
                  </a:cubicBezTo>
                  <a:cubicBezTo>
                    <a:pt x="14" y="3"/>
                    <a:pt x="3" y="0"/>
                    <a:pt x="0" y="11"/>
                  </a:cubicBezTo>
                  <a:close/>
                </a:path>
              </a:pathLst>
            </a:custGeom>
            <a:solidFill>
              <a:srgbClr val="CC62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32" name="Freeform 8397"/>
            <p:cNvSpPr>
              <a:spLocks/>
            </p:cNvSpPr>
            <p:nvPr/>
          </p:nvSpPr>
          <p:spPr bwMode="auto">
            <a:xfrm>
              <a:off x="5571" y="2883"/>
              <a:ext cx="4" cy="2"/>
            </a:xfrm>
            <a:custGeom>
              <a:avLst/>
              <a:gdLst>
                <a:gd name="T0" fmla="*/ 1 w 3"/>
                <a:gd name="T1" fmla="*/ 0 h 2"/>
                <a:gd name="T2" fmla="*/ 0 w 3"/>
                <a:gd name="T3" fmla="*/ 2 h 2"/>
                <a:gd name="T4" fmla="*/ 1 w 3"/>
                <a:gd name="T5" fmla="*/ 2 h 2"/>
                <a:gd name="T6" fmla="*/ 3 w 3"/>
                <a:gd name="T7" fmla="*/ 1 h 2"/>
                <a:gd name="T8" fmla="*/ 1 w 3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2">
                  <a:moveTo>
                    <a:pt x="1" y="0"/>
                  </a:moveTo>
                  <a:cubicBezTo>
                    <a:pt x="0" y="0"/>
                    <a:pt x="0" y="1"/>
                    <a:pt x="0" y="2"/>
                  </a:cubicBezTo>
                  <a:cubicBezTo>
                    <a:pt x="0" y="2"/>
                    <a:pt x="1" y="2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3" y="0"/>
                    <a:pt x="2" y="0"/>
                    <a:pt x="1" y="0"/>
                  </a:cubicBezTo>
                  <a:close/>
                </a:path>
              </a:pathLst>
            </a:custGeom>
            <a:solidFill>
              <a:srgbClr val="E782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33" name="Freeform 8398"/>
            <p:cNvSpPr>
              <a:spLocks/>
            </p:cNvSpPr>
            <p:nvPr/>
          </p:nvSpPr>
          <p:spPr bwMode="auto">
            <a:xfrm>
              <a:off x="5567" y="2888"/>
              <a:ext cx="2" cy="3"/>
            </a:xfrm>
            <a:custGeom>
              <a:avLst/>
              <a:gdLst>
                <a:gd name="T0" fmla="*/ 1 w 2"/>
                <a:gd name="T1" fmla="*/ 0 h 3"/>
                <a:gd name="T2" fmla="*/ 0 w 2"/>
                <a:gd name="T3" fmla="*/ 2 h 3"/>
                <a:gd name="T4" fmla="*/ 1 w 2"/>
                <a:gd name="T5" fmla="*/ 3 h 3"/>
                <a:gd name="T6" fmla="*/ 2 w 2"/>
                <a:gd name="T7" fmla="*/ 2 h 3"/>
                <a:gd name="T8" fmla="*/ 1 w 2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3">
                  <a:moveTo>
                    <a:pt x="1" y="0"/>
                  </a:move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0" y="3"/>
                    <a:pt x="1" y="3"/>
                  </a:cubicBezTo>
                  <a:cubicBezTo>
                    <a:pt x="1" y="3"/>
                    <a:pt x="2" y="3"/>
                    <a:pt x="2" y="2"/>
                  </a:cubicBezTo>
                  <a:cubicBezTo>
                    <a:pt x="2" y="1"/>
                    <a:pt x="2" y="0"/>
                    <a:pt x="1" y="0"/>
                  </a:cubicBezTo>
                  <a:close/>
                </a:path>
              </a:pathLst>
            </a:custGeom>
            <a:solidFill>
              <a:srgbClr val="E782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34" name="Freeform 8399"/>
            <p:cNvSpPr>
              <a:spLocks/>
            </p:cNvSpPr>
            <p:nvPr/>
          </p:nvSpPr>
          <p:spPr bwMode="auto">
            <a:xfrm>
              <a:off x="5569" y="2895"/>
              <a:ext cx="5" cy="2"/>
            </a:xfrm>
            <a:custGeom>
              <a:avLst/>
              <a:gdLst>
                <a:gd name="T0" fmla="*/ 2 w 4"/>
                <a:gd name="T1" fmla="*/ 0 h 2"/>
                <a:gd name="T2" fmla="*/ 0 w 4"/>
                <a:gd name="T3" fmla="*/ 0 h 2"/>
                <a:gd name="T4" fmla="*/ 2 w 4"/>
                <a:gd name="T5" fmla="*/ 2 h 2"/>
                <a:gd name="T6" fmla="*/ 3 w 4"/>
                <a:gd name="T7" fmla="*/ 2 h 2"/>
                <a:gd name="T8" fmla="*/ 2 w 4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2" y="0"/>
                  </a:moveTo>
                  <a:cubicBezTo>
                    <a:pt x="1" y="0"/>
                    <a:pt x="1" y="0"/>
                    <a:pt x="0" y="0"/>
                  </a:cubicBezTo>
                  <a:cubicBezTo>
                    <a:pt x="0" y="1"/>
                    <a:pt x="1" y="1"/>
                    <a:pt x="2" y="2"/>
                  </a:cubicBezTo>
                  <a:cubicBezTo>
                    <a:pt x="2" y="2"/>
                    <a:pt x="3" y="2"/>
                    <a:pt x="3" y="2"/>
                  </a:cubicBezTo>
                  <a:cubicBezTo>
                    <a:pt x="4" y="1"/>
                    <a:pt x="3" y="0"/>
                    <a:pt x="2" y="0"/>
                  </a:cubicBezTo>
                  <a:close/>
                </a:path>
              </a:pathLst>
            </a:custGeom>
            <a:solidFill>
              <a:srgbClr val="E782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35" name="Freeform 8400"/>
            <p:cNvSpPr>
              <a:spLocks/>
            </p:cNvSpPr>
            <p:nvPr/>
          </p:nvSpPr>
          <p:spPr bwMode="auto">
            <a:xfrm>
              <a:off x="5576" y="2892"/>
              <a:ext cx="4" cy="4"/>
            </a:xfrm>
            <a:custGeom>
              <a:avLst/>
              <a:gdLst>
                <a:gd name="T0" fmla="*/ 1 w 3"/>
                <a:gd name="T1" fmla="*/ 1 h 3"/>
                <a:gd name="T2" fmla="*/ 1 w 3"/>
                <a:gd name="T3" fmla="*/ 3 h 3"/>
                <a:gd name="T4" fmla="*/ 3 w 3"/>
                <a:gd name="T5" fmla="*/ 2 h 3"/>
                <a:gd name="T6" fmla="*/ 3 w 3"/>
                <a:gd name="T7" fmla="*/ 1 h 3"/>
                <a:gd name="T8" fmla="*/ 1 w 3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1" y="1"/>
                  </a:moveTo>
                  <a:cubicBezTo>
                    <a:pt x="1" y="2"/>
                    <a:pt x="0" y="3"/>
                    <a:pt x="1" y="3"/>
                  </a:cubicBezTo>
                  <a:cubicBezTo>
                    <a:pt x="1" y="3"/>
                    <a:pt x="2" y="3"/>
                    <a:pt x="3" y="2"/>
                  </a:cubicBezTo>
                  <a:cubicBezTo>
                    <a:pt x="3" y="2"/>
                    <a:pt x="3" y="1"/>
                    <a:pt x="3" y="1"/>
                  </a:cubicBezTo>
                  <a:cubicBezTo>
                    <a:pt x="3" y="0"/>
                    <a:pt x="2" y="1"/>
                    <a:pt x="1" y="1"/>
                  </a:cubicBezTo>
                  <a:close/>
                </a:path>
              </a:pathLst>
            </a:custGeom>
            <a:solidFill>
              <a:srgbClr val="E782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36" name="Freeform 8401"/>
            <p:cNvSpPr>
              <a:spLocks/>
            </p:cNvSpPr>
            <p:nvPr/>
          </p:nvSpPr>
          <p:spPr bwMode="auto">
            <a:xfrm>
              <a:off x="5577" y="2885"/>
              <a:ext cx="4" cy="4"/>
            </a:xfrm>
            <a:custGeom>
              <a:avLst/>
              <a:gdLst>
                <a:gd name="T0" fmla="*/ 1 w 3"/>
                <a:gd name="T1" fmla="*/ 0 h 3"/>
                <a:gd name="T2" fmla="*/ 1 w 3"/>
                <a:gd name="T3" fmla="*/ 2 h 3"/>
                <a:gd name="T4" fmla="*/ 3 w 3"/>
                <a:gd name="T5" fmla="*/ 3 h 3"/>
                <a:gd name="T6" fmla="*/ 2 w 3"/>
                <a:gd name="T7" fmla="*/ 1 h 3"/>
                <a:gd name="T8" fmla="*/ 1 w 3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1" y="0"/>
                  </a:moveTo>
                  <a:cubicBezTo>
                    <a:pt x="0" y="1"/>
                    <a:pt x="0" y="2"/>
                    <a:pt x="1" y="2"/>
                  </a:cubicBezTo>
                  <a:cubicBezTo>
                    <a:pt x="1" y="3"/>
                    <a:pt x="2" y="3"/>
                    <a:pt x="3" y="3"/>
                  </a:cubicBezTo>
                  <a:cubicBezTo>
                    <a:pt x="3" y="3"/>
                    <a:pt x="3" y="2"/>
                    <a:pt x="2" y="1"/>
                  </a:cubicBezTo>
                  <a:cubicBezTo>
                    <a:pt x="2" y="1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E782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37" name="Freeform 8402"/>
            <p:cNvSpPr>
              <a:spLocks/>
            </p:cNvSpPr>
            <p:nvPr/>
          </p:nvSpPr>
          <p:spPr bwMode="auto">
            <a:xfrm>
              <a:off x="5573" y="2889"/>
              <a:ext cx="2" cy="2"/>
            </a:xfrm>
            <a:custGeom>
              <a:avLst/>
              <a:gdLst>
                <a:gd name="T0" fmla="*/ 1 w 2"/>
                <a:gd name="T1" fmla="*/ 0 h 2"/>
                <a:gd name="T2" fmla="*/ 0 w 2"/>
                <a:gd name="T3" fmla="*/ 2 h 2"/>
                <a:gd name="T4" fmla="*/ 1 w 2"/>
                <a:gd name="T5" fmla="*/ 2 h 2"/>
                <a:gd name="T6" fmla="*/ 2 w 2"/>
                <a:gd name="T7" fmla="*/ 1 h 2"/>
                <a:gd name="T8" fmla="*/ 1 w 2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1" y="0"/>
                  </a:moveTo>
                  <a:cubicBezTo>
                    <a:pt x="0" y="0"/>
                    <a:pt x="0" y="1"/>
                    <a:pt x="0" y="2"/>
                  </a:cubicBezTo>
                  <a:cubicBezTo>
                    <a:pt x="0" y="2"/>
                    <a:pt x="1" y="2"/>
                    <a:pt x="1" y="2"/>
                  </a:cubicBezTo>
                  <a:cubicBezTo>
                    <a:pt x="2" y="2"/>
                    <a:pt x="2" y="2"/>
                    <a:pt x="2" y="1"/>
                  </a:cubicBezTo>
                  <a:cubicBezTo>
                    <a:pt x="2" y="1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E782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38" name="Freeform 8403"/>
            <p:cNvSpPr>
              <a:spLocks/>
            </p:cNvSpPr>
            <p:nvPr/>
          </p:nvSpPr>
          <p:spPr bwMode="auto">
            <a:xfrm>
              <a:off x="5509" y="2857"/>
              <a:ext cx="21" cy="21"/>
            </a:xfrm>
            <a:custGeom>
              <a:avLst/>
              <a:gdLst>
                <a:gd name="T0" fmla="*/ 8 w 17"/>
                <a:gd name="T1" fmla="*/ 17 h 17"/>
                <a:gd name="T2" fmla="*/ 8 w 17"/>
                <a:gd name="T3" fmla="*/ 0 h 17"/>
                <a:gd name="T4" fmla="*/ 8 w 17"/>
                <a:gd name="T5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17">
                  <a:moveTo>
                    <a:pt x="8" y="17"/>
                  </a:moveTo>
                  <a:cubicBezTo>
                    <a:pt x="17" y="10"/>
                    <a:pt x="8" y="0"/>
                    <a:pt x="8" y="0"/>
                  </a:cubicBezTo>
                  <a:cubicBezTo>
                    <a:pt x="8" y="0"/>
                    <a:pt x="0" y="8"/>
                    <a:pt x="8" y="17"/>
                  </a:cubicBezTo>
                  <a:close/>
                </a:path>
              </a:pathLst>
            </a:custGeom>
            <a:solidFill>
              <a:srgbClr val="B751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39" name="Freeform 8404"/>
            <p:cNvSpPr>
              <a:spLocks/>
            </p:cNvSpPr>
            <p:nvPr/>
          </p:nvSpPr>
          <p:spPr bwMode="auto">
            <a:xfrm>
              <a:off x="5500" y="2864"/>
              <a:ext cx="19" cy="20"/>
            </a:xfrm>
            <a:custGeom>
              <a:avLst/>
              <a:gdLst>
                <a:gd name="T0" fmla="*/ 0 w 16"/>
                <a:gd name="T1" fmla="*/ 5 h 16"/>
                <a:gd name="T2" fmla="*/ 16 w 16"/>
                <a:gd name="T3" fmla="*/ 11 h 16"/>
                <a:gd name="T4" fmla="*/ 0 w 16"/>
                <a:gd name="T5" fmla="*/ 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6">
                  <a:moveTo>
                    <a:pt x="0" y="5"/>
                  </a:moveTo>
                  <a:cubicBezTo>
                    <a:pt x="0" y="5"/>
                    <a:pt x="5" y="16"/>
                    <a:pt x="16" y="11"/>
                  </a:cubicBezTo>
                  <a:cubicBezTo>
                    <a:pt x="12" y="0"/>
                    <a:pt x="0" y="5"/>
                    <a:pt x="0" y="5"/>
                  </a:cubicBezTo>
                  <a:close/>
                </a:path>
              </a:pathLst>
            </a:custGeom>
            <a:solidFill>
              <a:srgbClr val="B751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40" name="Freeform 8405"/>
            <p:cNvSpPr>
              <a:spLocks/>
            </p:cNvSpPr>
            <p:nvPr/>
          </p:nvSpPr>
          <p:spPr bwMode="auto">
            <a:xfrm>
              <a:off x="5504" y="2878"/>
              <a:ext cx="16" cy="16"/>
            </a:xfrm>
            <a:custGeom>
              <a:avLst/>
              <a:gdLst>
                <a:gd name="T0" fmla="*/ 2 w 13"/>
                <a:gd name="T1" fmla="*/ 13 h 13"/>
                <a:gd name="T2" fmla="*/ 12 w 13"/>
                <a:gd name="T3" fmla="*/ 0 h 13"/>
                <a:gd name="T4" fmla="*/ 2 w 13"/>
                <a:gd name="T5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3">
                  <a:moveTo>
                    <a:pt x="2" y="13"/>
                  </a:moveTo>
                  <a:cubicBezTo>
                    <a:pt x="2" y="13"/>
                    <a:pt x="13" y="11"/>
                    <a:pt x="12" y="0"/>
                  </a:cubicBezTo>
                  <a:cubicBezTo>
                    <a:pt x="0" y="0"/>
                    <a:pt x="2" y="13"/>
                    <a:pt x="2" y="13"/>
                  </a:cubicBezTo>
                  <a:close/>
                </a:path>
              </a:pathLst>
            </a:custGeom>
            <a:solidFill>
              <a:srgbClr val="B751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41" name="Freeform 8406"/>
            <p:cNvSpPr>
              <a:spLocks/>
            </p:cNvSpPr>
            <p:nvPr/>
          </p:nvSpPr>
          <p:spPr bwMode="auto">
            <a:xfrm>
              <a:off x="5515" y="2878"/>
              <a:ext cx="17" cy="17"/>
            </a:xfrm>
            <a:custGeom>
              <a:avLst/>
              <a:gdLst>
                <a:gd name="T0" fmla="*/ 3 w 14"/>
                <a:gd name="T1" fmla="*/ 0 h 14"/>
                <a:gd name="T2" fmla="*/ 12 w 14"/>
                <a:gd name="T3" fmla="*/ 14 h 14"/>
                <a:gd name="T4" fmla="*/ 3 w 14"/>
                <a:gd name="T5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14">
                  <a:moveTo>
                    <a:pt x="3" y="0"/>
                  </a:moveTo>
                  <a:cubicBezTo>
                    <a:pt x="0" y="11"/>
                    <a:pt x="12" y="14"/>
                    <a:pt x="12" y="14"/>
                  </a:cubicBezTo>
                  <a:cubicBezTo>
                    <a:pt x="12" y="14"/>
                    <a:pt x="14" y="2"/>
                    <a:pt x="3" y="0"/>
                  </a:cubicBezTo>
                  <a:close/>
                </a:path>
              </a:pathLst>
            </a:custGeom>
            <a:solidFill>
              <a:srgbClr val="B751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42" name="Freeform 8407"/>
            <p:cNvSpPr>
              <a:spLocks/>
            </p:cNvSpPr>
            <p:nvPr/>
          </p:nvSpPr>
          <p:spPr bwMode="auto">
            <a:xfrm>
              <a:off x="5519" y="2866"/>
              <a:ext cx="20" cy="19"/>
            </a:xfrm>
            <a:custGeom>
              <a:avLst/>
              <a:gdLst>
                <a:gd name="T0" fmla="*/ 0 w 16"/>
                <a:gd name="T1" fmla="*/ 10 h 16"/>
                <a:gd name="T2" fmla="*/ 16 w 16"/>
                <a:gd name="T3" fmla="*/ 5 h 16"/>
                <a:gd name="T4" fmla="*/ 0 w 16"/>
                <a:gd name="T5" fmla="*/ 1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6">
                  <a:moveTo>
                    <a:pt x="0" y="10"/>
                  </a:moveTo>
                  <a:cubicBezTo>
                    <a:pt x="10" y="16"/>
                    <a:pt x="16" y="5"/>
                    <a:pt x="16" y="5"/>
                  </a:cubicBezTo>
                  <a:cubicBezTo>
                    <a:pt x="16" y="5"/>
                    <a:pt x="6" y="0"/>
                    <a:pt x="0" y="10"/>
                  </a:cubicBezTo>
                  <a:close/>
                </a:path>
              </a:pathLst>
            </a:custGeom>
            <a:solidFill>
              <a:srgbClr val="B751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43" name="Oval 8408"/>
            <p:cNvSpPr>
              <a:spLocks noChangeArrowheads="1"/>
            </p:cNvSpPr>
            <p:nvPr/>
          </p:nvSpPr>
          <p:spPr bwMode="auto">
            <a:xfrm>
              <a:off x="5518" y="2871"/>
              <a:ext cx="4" cy="2"/>
            </a:xfrm>
            <a:prstGeom prst="ellipse">
              <a:avLst/>
            </a:prstGeom>
            <a:solidFill>
              <a:srgbClr val="E79B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44" name="Freeform 8409"/>
            <p:cNvSpPr>
              <a:spLocks/>
            </p:cNvSpPr>
            <p:nvPr/>
          </p:nvSpPr>
          <p:spPr bwMode="auto">
            <a:xfrm>
              <a:off x="5512" y="2873"/>
              <a:ext cx="2" cy="5"/>
            </a:xfrm>
            <a:custGeom>
              <a:avLst/>
              <a:gdLst>
                <a:gd name="T0" fmla="*/ 2 w 2"/>
                <a:gd name="T1" fmla="*/ 0 h 4"/>
                <a:gd name="T2" fmla="*/ 0 w 2"/>
                <a:gd name="T3" fmla="*/ 2 h 4"/>
                <a:gd name="T4" fmla="*/ 1 w 2"/>
                <a:gd name="T5" fmla="*/ 3 h 4"/>
                <a:gd name="T6" fmla="*/ 2 w 2"/>
                <a:gd name="T7" fmla="*/ 2 h 4"/>
                <a:gd name="T8" fmla="*/ 2 w 2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2" y="0"/>
                  </a:move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0" y="3"/>
                    <a:pt x="1" y="3"/>
                  </a:cubicBezTo>
                  <a:cubicBezTo>
                    <a:pt x="1" y="4"/>
                    <a:pt x="2" y="3"/>
                    <a:pt x="2" y="2"/>
                  </a:cubicBezTo>
                  <a:cubicBezTo>
                    <a:pt x="2" y="1"/>
                    <a:pt x="2" y="0"/>
                    <a:pt x="2" y="0"/>
                  </a:cubicBezTo>
                  <a:close/>
                </a:path>
              </a:pathLst>
            </a:custGeom>
            <a:solidFill>
              <a:srgbClr val="E79B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45" name="Freeform 8410"/>
            <p:cNvSpPr>
              <a:spLocks/>
            </p:cNvSpPr>
            <p:nvPr/>
          </p:nvSpPr>
          <p:spPr bwMode="auto">
            <a:xfrm>
              <a:off x="5513" y="2880"/>
              <a:ext cx="4" cy="4"/>
            </a:xfrm>
            <a:custGeom>
              <a:avLst/>
              <a:gdLst>
                <a:gd name="T0" fmla="*/ 2 w 3"/>
                <a:gd name="T1" fmla="*/ 1 h 3"/>
                <a:gd name="T2" fmla="*/ 0 w 3"/>
                <a:gd name="T3" fmla="*/ 1 h 3"/>
                <a:gd name="T4" fmla="*/ 1 w 3"/>
                <a:gd name="T5" fmla="*/ 3 h 3"/>
                <a:gd name="T6" fmla="*/ 3 w 3"/>
                <a:gd name="T7" fmla="*/ 3 h 3"/>
                <a:gd name="T8" fmla="*/ 2 w 3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2" y="1"/>
                  </a:moveTo>
                  <a:cubicBezTo>
                    <a:pt x="1" y="1"/>
                    <a:pt x="0" y="0"/>
                    <a:pt x="0" y="1"/>
                  </a:cubicBezTo>
                  <a:cubicBezTo>
                    <a:pt x="0" y="1"/>
                    <a:pt x="0" y="2"/>
                    <a:pt x="1" y="3"/>
                  </a:cubicBezTo>
                  <a:cubicBezTo>
                    <a:pt x="2" y="3"/>
                    <a:pt x="2" y="3"/>
                    <a:pt x="3" y="3"/>
                  </a:cubicBezTo>
                  <a:cubicBezTo>
                    <a:pt x="3" y="2"/>
                    <a:pt x="3" y="2"/>
                    <a:pt x="2" y="1"/>
                  </a:cubicBezTo>
                  <a:close/>
                </a:path>
              </a:pathLst>
            </a:custGeom>
            <a:solidFill>
              <a:srgbClr val="E79B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46" name="Freeform 8411"/>
            <p:cNvSpPr>
              <a:spLocks/>
            </p:cNvSpPr>
            <p:nvPr/>
          </p:nvSpPr>
          <p:spPr bwMode="auto">
            <a:xfrm>
              <a:off x="5520" y="2882"/>
              <a:ext cx="4" cy="3"/>
            </a:xfrm>
            <a:custGeom>
              <a:avLst/>
              <a:gdLst>
                <a:gd name="T0" fmla="*/ 1 w 3"/>
                <a:gd name="T1" fmla="*/ 1 h 3"/>
                <a:gd name="T2" fmla="*/ 0 w 3"/>
                <a:gd name="T3" fmla="*/ 2 h 3"/>
                <a:gd name="T4" fmla="*/ 2 w 3"/>
                <a:gd name="T5" fmla="*/ 2 h 3"/>
                <a:gd name="T6" fmla="*/ 3 w 3"/>
                <a:gd name="T7" fmla="*/ 0 h 3"/>
                <a:gd name="T8" fmla="*/ 1 w 3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1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1" y="3"/>
                    <a:pt x="1" y="3"/>
                    <a:pt x="2" y="2"/>
                  </a:cubicBezTo>
                  <a:cubicBezTo>
                    <a:pt x="3" y="2"/>
                    <a:pt x="3" y="1"/>
                    <a:pt x="3" y="0"/>
                  </a:cubicBezTo>
                  <a:cubicBezTo>
                    <a:pt x="3" y="0"/>
                    <a:pt x="2" y="0"/>
                    <a:pt x="1" y="1"/>
                  </a:cubicBezTo>
                  <a:close/>
                </a:path>
              </a:pathLst>
            </a:custGeom>
            <a:solidFill>
              <a:srgbClr val="E79B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47" name="Freeform 8412"/>
            <p:cNvSpPr>
              <a:spLocks/>
            </p:cNvSpPr>
            <p:nvPr/>
          </p:nvSpPr>
          <p:spPr bwMode="auto">
            <a:xfrm>
              <a:off x="5524" y="2874"/>
              <a:ext cx="2" cy="4"/>
            </a:xfrm>
            <a:custGeom>
              <a:avLst/>
              <a:gdLst>
                <a:gd name="T0" fmla="*/ 0 w 2"/>
                <a:gd name="T1" fmla="*/ 0 h 3"/>
                <a:gd name="T2" fmla="*/ 0 w 2"/>
                <a:gd name="T3" fmla="*/ 2 h 3"/>
                <a:gd name="T4" fmla="*/ 1 w 2"/>
                <a:gd name="T5" fmla="*/ 3 h 3"/>
                <a:gd name="T6" fmla="*/ 2 w 2"/>
                <a:gd name="T7" fmla="*/ 1 h 3"/>
                <a:gd name="T8" fmla="*/ 0 w 2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3">
                  <a:moveTo>
                    <a:pt x="0" y="0"/>
                  </a:moveTo>
                  <a:cubicBezTo>
                    <a:pt x="0" y="0"/>
                    <a:pt x="0" y="1"/>
                    <a:pt x="0" y="2"/>
                  </a:cubicBezTo>
                  <a:cubicBezTo>
                    <a:pt x="0" y="3"/>
                    <a:pt x="1" y="3"/>
                    <a:pt x="1" y="3"/>
                  </a:cubicBezTo>
                  <a:cubicBezTo>
                    <a:pt x="2" y="3"/>
                    <a:pt x="2" y="2"/>
                    <a:pt x="2" y="1"/>
                  </a:cubicBezTo>
                  <a:cubicBezTo>
                    <a:pt x="2" y="1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E79B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48" name="Oval 8413"/>
            <p:cNvSpPr>
              <a:spLocks noChangeArrowheads="1"/>
            </p:cNvSpPr>
            <p:nvPr/>
          </p:nvSpPr>
          <p:spPr bwMode="auto">
            <a:xfrm>
              <a:off x="5518" y="2877"/>
              <a:ext cx="2" cy="2"/>
            </a:xfrm>
            <a:prstGeom prst="ellipse">
              <a:avLst/>
            </a:prstGeom>
            <a:solidFill>
              <a:srgbClr val="E79B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49" name="Freeform 8414"/>
            <p:cNvSpPr>
              <a:spLocks/>
            </p:cNvSpPr>
            <p:nvPr/>
          </p:nvSpPr>
          <p:spPr bwMode="auto">
            <a:xfrm>
              <a:off x="5539" y="2864"/>
              <a:ext cx="20" cy="21"/>
            </a:xfrm>
            <a:custGeom>
              <a:avLst/>
              <a:gdLst>
                <a:gd name="T0" fmla="*/ 8 w 17"/>
                <a:gd name="T1" fmla="*/ 17 h 17"/>
                <a:gd name="T2" fmla="*/ 9 w 17"/>
                <a:gd name="T3" fmla="*/ 0 h 17"/>
                <a:gd name="T4" fmla="*/ 8 w 17"/>
                <a:gd name="T5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17">
                  <a:moveTo>
                    <a:pt x="8" y="17"/>
                  </a:moveTo>
                  <a:cubicBezTo>
                    <a:pt x="17" y="10"/>
                    <a:pt x="9" y="0"/>
                    <a:pt x="9" y="0"/>
                  </a:cubicBezTo>
                  <a:cubicBezTo>
                    <a:pt x="9" y="0"/>
                    <a:pt x="0" y="8"/>
                    <a:pt x="8" y="17"/>
                  </a:cubicBezTo>
                  <a:close/>
                </a:path>
              </a:pathLst>
            </a:custGeom>
            <a:solidFill>
              <a:srgbClr val="E79B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50" name="Freeform 8415"/>
            <p:cNvSpPr>
              <a:spLocks/>
            </p:cNvSpPr>
            <p:nvPr/>
          </p:nvSpPr>
          <p:spPr bwMode="auto">
            <a:xfrm>
              <a:off x="5529" y="2872"/>
              <a:ext cx="19" cy="19"/>
            </a:xfrm>
            <a:custGeom>
              <a:avLst/>
              <a:gdLst>
                <a:gd name="T0" fmla="*/ 0 w 16"/>
                <a:gd name="T1" fmla="*/ 5 h 16"/>
                <a:gd name="T2" fmla="*/ 16 w 16"/>
                <a:gd name="T3" fmla="*/ 11 h 16"/>
                <a:gd name="T4" fmla="*/ 0 w 16"/>
                <a:gd name="T5" fmla="*/ 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6">
                  <a:moveTo>
                    <a:pt x="0" y="5"/>
                  </a:moveTo>
                  <a:cubicBezTo>
                    <a:pt x="0" y="5"/>
                    <a:pt x="5" y="16"/>
                    <a:pt x="16" y="11"/>
                  </a:cubicBezTo>
                  <a:cubicBezTo>
                    <a:pt x="12" y="0"/>
                    <a:pt x="0" y="5"/>
                    <a:pt x="0" y="5"/>
                  </a:cubicBezTo>
                  <a:close/>
                </a:path>
              </a:pathLst>
            </a:custGeom>
            <a:solidFill>
              <a:srgbClr val="E79B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51" name="Freeform 8416"/>
            <p:cNvSpPr>
              <a:spLocks/>
            </p:cNvSpPr>
            <p:nvPr/>
          </p:nvSpPr>
          <p:spPr bwMode="auto">
            <a:xfrm>
              <a:off x="5534" y="2885"/>
              <a:ext cx="16" cy="16"/>
            </a:xfrm>
            <a:custGeom>
              <a:avLst/>
              <a:gdLst>
                <a:gd name="T0" fmla="*/ 2 w 13"/>
                <a:gd name="T1" fmla="*/ 13 h 13"/>
                <a:gd name="T2" fmla="*/ 12 w 13"/>
                <a:gd name="T3" fmla="*/ 0 h 13"/>
                <a:gd name="T4" fmla="*/ 2 w 13"/>
                <a:gd name="T5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3">
                  <a:moveTo>
                    <a:pt x="2" y="13"/>
                  </a:moveTo>
                  <a:cubicBezTo>
                    <a:pt x="2" y="13"/>
                    <a:pt x="13" y="12"/>
                    <a:pt x="12" y="0"/>
                  </a:cubicBezTo>
                  <a:cubicBezTo>
                    <a:pt x="0" y="0"/>
                    <a:pt x="2" y="13"/>
                    <a:pt x="2" y="13"/>
                  </a:cubicBezTo>
                  <a:close/>
                </a:path>
              </a:pathLst>
            </a:custGeom>
            <a:solidFill>
              <a:srgbClr val="E79B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52" name="Freeform 8417"/>
            <p:cNvSpPr>
              <a:spLocks/>
            </p:cNvSpPr>
            <p:nvPr/>
          </p:nvSpPr>
          <p:spPr bwMode="auto">
            <a:xfrm>
              <a:off x="5545" y="2885"/>
              <a:ext cx="18" cy="17"/>
            </a:xfrm>
            <a:custGeom>
              <a:avLst/>
              <a:gdLst>
                <a:gd name="T0" fmla="*/ 3 w 15"/>
                <a:gd name="T1" fmla="*/ 0 h 14"/>
                <a:gd name="T2" fmla="*/ 12 w 15"/>
                <a:gd name="T3" fmla="*/ 14 h 14"/>
                <a:gd name="T4" fmla="*/ 3 w 15"/>
                <a:gd name="T5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4">
                  <a:moveTo>
                    <a:pt x="3" y="0"/>
                  </a:moveTo>
                  <a:cubicBezTo>
                    <a:pt x="0" y="11"/>
                    <a:pt x="12" y="14"/>
                    <a:pt x="12" y="14"/>
                  </a:cubicBezTo>
                  <a:cubicBezTo>
                    <a:pt x="12" y="14"/>
                    <a:pt x="15" y="2"/>
                    <a:pt x="3" y="0"/>
                  </a:cubicBezTo>
                  <a:close/>
                </a:path>
              </a:pathLst>
            </a:custGeom>
            <a:solidFill>
              <a:srgbClr val="E79B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53" name="Freeform 8418"/>
            <p:cNvSpPr>
              <a:spLocks/>
            </p:cNvSpPr>
            <p:nvPr/>
          </p:nvSpPr>
          <p:spPr bwMode="auto">
            <a:xfrm>
              <a:off x="5548" y="2873"/>
              <a:ext cx="20" cy="21"/>
            </a:xfrm>
            <a:custGeom>
              <a:avLst/>
              <a:gdLst>
                <a:gd name="T0" fmla="*/ 0 w 16"/>
                <a:gd name="T1" fmla="*/ 10 h 17"/>
                <a:gd name="T2" fmla="*/ 16 w 16"/>
                <a:gd name="T3" fmla="*/ 5 h 17"/>
                <a:gd name="T4" fmla="*/ 0 w 16"/>
                <a:gd name="T5" fmla="*/ 1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7">
                  <a:moveTo>
                    <a:pt x="0" y="10"/>
                  </a:moveTo>
                  <a:cubicBezTo>
                    <a:pt x="10" y="17"/>
                    <a:pt x="16" y="5"/>
                    <a:pt x="16" y="5"/>
                  </a:cubicBezTo>
                  <a:cubicBezTo>
                    <a:pt x="16" y="5"/>
                    <a:pt x="6" y="0"/>
                    <a:pt x="0" y="10"/>
                  </a:cubicBezTo>
                  <a:close/>
                </a:path>
              </a:pathLst>
            </a:custGeom>
            <a:solidFill>
              <a:srgbClr val="E79B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54" name="Oval 8419"/>
            <p:cNvSpPr>
              <a:spLocks noChangeArrowheads="1"/>
            </p:cNvSpPr>
            <p:nvPr/>
          </p:nvSpPr>
          <p:spPr bwMode="auto">
            <a:xfrm>
              <a:off x="5547" y="2878"/>
              <a:ext cx="4" cy="2"/>
            </a:xfrm>
            <a:prstGeom prst="ellipse">
              <a:avLst/>
            </a:prstGeom>
            <a:solidFill>
              <a:srgbClr val="B751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55" name="Freeform 8420"/>
            <p:cNvSpPr>
              <a:spLocks/>
            </p:cNvSpPr>
            <p:nvPr/>
          </p:nvSpPr>
          <p:spPr bwMode="auto">
            <a:xfrm>
              <a:off x="5541" y="2880"/>
              <a:ext cx="2" cy="5"/>
            </a:xfrm>
            <a:custGeom>
              <a:avLst/>
              <a:gdLst>
                <a:gd name="T0" fmla="*/ 2 w 2"/>
                <a:gd name="T1" fmla="*/ 0 h 4"/>
                <a:gd name="T2" fmla="*/ 0 w 2"/>
                <a:gd name="T3" fmla="*/ 2 h 4"/>
                <a:gd name="T4" fmla="*/ 1 w 2"/>
                <a:gd name="T5" fmla="*/ 4 h 4"/>
                <a:gd name="T6" fmla="*/ 2 w 2"/>
                <a:gd name="T7" fmla="*/ 2 h 4"/>
                <a:gd name="T8" fmla="*/ 2 w 2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2" y="0"/>
                  </a:moveTo>
                  <a:cubicBezTo>
                    <a:pt x="1" y="0"/>
                    <a:pt x="1" y="1"/>
                    <a:pt x="0" y="2"/>
                  </a:cubicBezTo>
                  <a:cubicBezTo>
                    <a:pt x="0" y="3"/>
                    <a:pt x="0" y="3"/>
                    <a:pt x="1" y="4"/>
                  </a:cubicBezTo>
                  <a:cubicBezTo>
                    <a:pt x="1" y="4"/>
                    <a:pt x="2" y="3"/>
                    <a:pt x="2" y="2"/>
                  </a:cubicBezTo>
                  <a:cubicBezTo>
                    <a:pt x="2" y="1"/>
                    <a:pt x="2" y="1"/>
                    <a:pt x="2" y="0"/>
                  </a:cubicBezTo>
                  <a:close/>
                </a:path>
              </a:pathLst>
            </a:custGeom>
            <a:solidFill>
              <a:srgbClr val="B751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56" name="Freeform 8421"/>
            <p:cNvSpPr>
              <a:spLocks/>
            </p:cNvSpPr>
            <p:nvPr/>
          </p:nvSpPr>
          <p:spPr bwMode="auto">
            <a:xfrm>
              <a:off x="5542" y="2889"/>
              <a:ext cx="4" cy="2"/>
            </a:xfrm>
            <a:custGeom>
              <a:avLst/>
              <a:gdLst>
                <a:gd name="T0" fmla="*/ 2 w 3"/>
                <a:gd name="T1" fmla="*/ 0 h 2"/>
                <a:gd name="T2" fmla="*/ 0 w 3"/>
                <a:gd name="T3" fmla="*/ 0 h 2"/>
                <a:gd name="T4" fmla="*/ 1 w 3"/>
                <a:gd name="T5" fmla="*/ 2 h 2"/>
                <a:gd name="T6" fmla="*/ 3 w 3"/>
                <a:gd name="T7" fmla="*/ 2 h 2"/>
                <a:gd name="T8" fmla="*/ 2 w 3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2">
                  <a:moveTo>
                    <a:pt x="2" y="0"/>
                  </a:moveTo>
                  <a:cubicBezTo>
                    <a:pt x="2" y="0"/>
                    <a:pt x="1" y="0"/>
                    <a:pt x="0" y="0"/>
                  </a:cubicBezTo>
                  <a:cubicBezTo>
                    <a:pt x="0" y="0"/>
                    <a:pt x="0" y="1"/>
                    <a:pt x="1" y="2"/>
                  </a:cubicBezTo>
                  <a:cubicBezTo>
                    <a:pt x="2" y="2"/>
                    <a:pt x="3" y="2"/>
                    <a:pt x="3" y="2"/>
                  </a:cubicBezTo>
                  <a:cubicBezTo>
                    <a:pt x="3" y="2"/>
                    <a:pt x="3" y="1"/>
                    <a:pt x="2" y="0"/>
                  </a:cubicBezTo>
                  <a:close/>
                </a:path>
              </a:pathLst>
            </a:custGeom>
            <a:solidFill>
              <a:srgbClr val="B751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57" name="Freeform 8422"/>
            <p:cNvSpPr>
              <a:spLocks/>
            </p:cNvSpPr>
            <p:nvPr/>
          </p:nvSpPr>
          <p:spPr bwMode="auto">
            <a:xfrm>
              <a:off x="5550" y="2889"/>
              <a:ext cx="3" cy="3"/>
            </a:xfrm>
            <a:custGeom>
              <a:avLst/>
              <a:gdLst>
                <a:gd name="T0" fmla="*/ 1 w 3"/>
                <a:gd name="T1" fmla="*/ 1 h 3"/>
                <a:gd name="T2" fmla="*/ 0 w 3"/>
                <a:gd name="T3" fmla="*/ 2 h 3"/>
                <a:gd name="T4" fmla="*/ 2 w 3"/>
                <a:gd name="T5" fmla="*/ 2 h 3"/>
                <a:gd name="T6" fmla="*/ 3 w 3"/>
                <a:gd name="T7" fmla="*/ 1 h 3"/>
                <a:gd name="T8" fmla="*/ 1 w 3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1" y="1"/>
                  </a:moveTo>
                  <a:cubicBezTo>
                    <a:pt x="1" y="1"/>
                    <a:pt x="0" y="2"/>
                    <a:pt x="0" y="2"/>
                  </a:cubicBezTo>
                  <a:cubicBezTo>
                    <a:pt x="1" y="3"/>
                    <a:pt x="2" y="3"/>
                    <a:pt x="2" y="2"/>
                  </a:cubicBezTo>
                  <a:cubicBezTo>
                    <a:pt x="3" y="2"/>
                    <a:pt x="3" y="1"/>
                    <a:pt x="3" y="1"/>
                  </a:cubicBezTo>
                  <a:cubicBezTo>
                    <a:pt x="3" y="0"/>
                    <a:pt x="2" y="0"/>
                    <a:pt x="1" y="1"/>
                  </a:cubicBezTo>
                  <a:close/>
                </a:path>
              </a:pathLst>
            </a:custGeom>
            <a:solidFill>
              <a:srgbClr val="B751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58" name="Freeform 8423"/>
            <p:cNvSpPr>
              <a:spLocks/>
            </p:cNvSpPr>
            <p:nvPr/>
          </p:nvSpPr>
          <p:spPr bwMode="auto">
            <a:xfrm>
              <a:off x="5553" y="2882"/>
              <a:ext cx="3" cy="4"/>
            </a:xfrm>
            <a:custGeom>
              <a:avLst/>
              <a:gdLst>
                <a:gd name="T0" fmla="*/ 1 w 2"/>
                <a:gd name="T1" fmla="*/ 0 h 4"/>
                <a:gd name="T2" fmla="*/ 0 w 2"/>
                <a:gd name="T3" fmla="*/ 2 h 4"/>
                <a:gd name="T4" fmla="*/ 2 w 2"/>
                <a:gd name="T5" fmla="*/ 3 h 4"/>
                <a:gd name="T6" fmla="*/ 2 w 2"/>
                <a:gd name="T7" fmla="*/ 2 h 4"/>
                <a:gd name="T8" fmla="*/ 1 w 2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1" y="0"/>
                  </a:moveTo>
                  <a:cubicBezTo>
                    <a:pt x="0" y="0"/>
                    <a:pt x="0" y="1"/>
                    <a:pt x="0" y="2"/>
                  </a:cubicBezTo>
                  <a:cubicBezTo>
                    <a:pt x="1" y="3"/>
                    <a:pt x="1" y="4"/>
                    <a:pt x="2" y="3"/>
                  </a:cubicBezTo>
                  <a:cubicBezTo>
                    <a:pt x="2" y="3"/>
                    <a:pt x="2" y="2"/>
                    <a:pt x="2" y="2"/>
                  </a:cubicBezTo>
                  <a:cubicBezTo>
                    <a:pt x="2" y="1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B751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59" name="Oval 8424"/>
            <p:cNvSpPr>
              <a:spLocks noChangeArrowheads="1"/>
            </p:cNvSpPr>
            <p:nvPr/>
          </p:nvSpPr>
          <p:spPr bwMode="auto">
            <a:xfrm>
              <a:off x="5547" y="2884"/>
              <a:ext cx="3" cy="2"/>
            </a:xfrm>
            <a:prstGeom prst="ellipse">
              <a:avLst/>
            </a:prstGeom>
            <a:solidFill>
              <a:srgbClr val="B751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60" name="Freeform 8425"/>
            <p:cNvSpPr>
              <a:spLocks/>
            </p:cNvSpPr>
            <p:nvPr/>
          </p:nvSpPr>
          <p:spPr bwMode="auto">
            <a:xfrm>
              <a:off x="5163" y="2891"/>
              <a:ext cx="20" cy="21"/>
            </a:xfrm>
            <a:custGeom>
              <a:avLst/>
              <a:gdLst>
                <a:gd name="T0" fmla="*/ 9 w 17"/>
                <a:gd name="T1" fmla="*/ 0 h 17"/>
                <a:gd name="T2" fmla="*/ 10 w 17"/>
                <a:gd name="T3" fmla="*/ 17 h 17"/>
                <a:gd name="T4" fmla="*/ 9 w 17"/>
                <a:gd name="T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17">
                  <a:moveTo>
                    <a:pt x="9" y="0"/>
                  </a:moveTo>
                  <a:cubicBezTo>
                    <a:pt x="0" y="9"/>
                    <a:pt x="10" y="17"/>
                    <a:pt x="10" y="17"/>
                  </a:cubicBezTo>
                  <a:cubicBezTo>
                    <a:pt x="10" y="17"/>
                    <a:pt x="17" y="8"/>
                    <a:pt x="9" y="0"/>
                  </a:cubicBezTo>
                  <a:close/>
                </a:path>
              </a:pathLst>
            </a:custGeom>
            <a:solidFill>
              <a:srgbClr val="6FA5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61" name="Freeform 8426"/>
            <p:cNvSpPr>
              <a:spLocks/>
            </p:cNvSpPr>
            <p:nvPr/>
          </p:nvSpPr>
          <p:spPr bwMode="auto">
            <a:xfrm>
              <a:off x="5167" y="2892"/>
              <a:ext cx="11" cy="13"/>
            </a:xfrm>
            <a:custGeom>
              <a:avLst/>
              <a:gdLst>
                <a:gd name="T0" fmla="*/ 5 w 9"/>
                <a:gd name="T1" fmla="*/ 10 h 10"/>
                <a:gd name="T2" fmla="*/ 5 w 9"/>
                <a:gd name="T3" fmla="*/ 0 h 10"/>
                <a:gd name="T4" fmla="*/ 5 w 9"/>
                <a:gd name="T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0">
                  <a:moveTo>
                    <a:pt x="5" y="10"/>
                  </a:moveTo>
                  <a:cubicBezTo>
                    <a:pt x="5" y="10"/>
                    <a:pt x="9" y="5"/>
                    <a:pt x="5" y="0"/>
                  </a:cubicBezTo>
                  <a:cubicBezTo>
                    <a:pt x="0" y="5"/>
                    <a:pt x="5" y="10"/>
                    <a:pt x="5" y="10"/>
                  </a:cubicBezTo>
                  <a:close/>
                </a:path>
              </a:pathLst>
            </a:custGeom>
            <a:solidFill>
              <a:srgbClr val="84C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62" name="Freeform 8427"/>
            <p:cNvSpPr>
              <a:spLocks/>
            </p:cNvSpPr>
            <p:nvPr/>
          </p:nvSpPr>
          <p:spPr bwMode="auto">
            <a:xfrm>
              <a:off x="5099" y="2855"/>
              <a:ext cx="16" cy="14"/>
            </a:xfrm>
            <a:custGeom>
              <a:avLst/>
              <a:gdLst>
                <a:gd name="T0" fmla="*/ 0 w 13"/>
                <a:gd name="T1" fmla="*/ 0 h 12"/>
                <a:gd name="T2" fmla="*/ 12 w 13"/>
                <a:gd name="T3" fmla="*/ 12 h 12"/>
                <a:gd name="T4" fmla="*/ 0 w 13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2">
                  <a:moveTo>
                    <a:pt x="0" y="0"/>
                  </a:moveTo>
                  <a:cubicBezTo>
                    <a:pt x="0" y="0"/>
                    <a:pt x="0" y="12"/>
                    <a:pt x="12" y="12"/>
                  </a:cubicBezTo>
                  <a:cubicBezTo>
                    <a:pt x="13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FA5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63" name="Freeform 8428"/>
            <p:cNvSpPr>
              <a:spLocks/>
            </p:cNvSpPr>
            <p:nvPr/>
          </p:nvSpPr>
          <p:spPr bwMode="auto">
            <a:xfrm>
              <a:off x="5104" y="2860"/>
              <a:ext cx="10" cy="8"/>
            </a:xfrm>
            <a:custGeom>
              <a:avLst/>
              <a:gdLst>
                <a:gd name="T0" fmla="*/ 0 w 8"/>
                <a:gd name="T1" fmla="*/ 0 h 7"/>
                <a:gd name="T2" fmla="*/ 8 w 8"/>
                <a:gd name="T3" fmla="*/ 7 h 7"/>
                <a:gd name="T4" fmla="*/ 0 w 8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7">
                  <a:moveTo>
                    <a:pt x="0" y="0"/>
                  </a:moveTo>
                  <a:cubicBezTo>
                    <a:pt x="0" y="0"/>
                    <a:pt x="1" y="7"/>
                    <a:pt x="8" y="7"/>
                  </a:cubicBezTo>
                  <a:cubicBezTo>
                    <a:pt x="8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84C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64" name="Freeform 8429"/>
            <p:cNvSpPr>
              <a:spLocks/>
            </p:cNvSpPr>
            <p:nvPr/>
          </p:nvSpPr>
          <p:spPr bwMode="auto">
            <a:xfrm>
              <a:off x="5102" y="2846"/>
              <a:ext cx="20" cy="20"/>
            </a:xfrm>
            <a:custGeom>
              <a:avLst/>
              <a:gdLst>
                <a:gd name="T0" fmla="*/ 6 w 17"/>
                <a:gd name="T1" fmla="*/ 0 h 16"/>
                <a:gd name="T2" fmla="*/ 10 w 17"/>
                <a:gd name="T3" fmla="*/ 16 h 16"/>
                <a:gd name="T4" fmla="*/ 6 w 17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16">
                  <a:moveTo>
                    <a:pt x="6" y="0"/>
                  </a:moveTo>
                  <a:cubicBezTo>
                    <a:pt x="6" y="0"/>
                    <a:pt x="0" y="10"/>
                    <a:pt x="10" y="16"/>
                  </a:cubicBezTo>
                  <a:cubicBezTo>
                    <a:pt x="17" y="7"/>
                    <a:pt x="6" y="0"/>
                    <a:pt x="6" y="0"/>
                  </a:cubicBezTo>
                  <a:close/>
                </a:path>
              </a:pathLst>
            </a:custGeom>
            <a:solidFill>
              <a:srgbClr val="6FA5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65" name="Freeform 8430"/>
            <p:cNvSpPr>
              <a:spLocks/>
            </p:cNvSpPr>
            <p:nvPr/>
          </p:nvSpPr>
          <p:spPr bwMode="auto">
            <a:xfrm>
              <a:off x="5108" y="2854"/>
              <a:ext cx="11" cy="12"/>
            </a:xfrm>
            <a:custGeom>
              <a:avLst/>
              <a:gdLst>
                <a:gd name="T0" fmla="*/ 3 w 9"/>
                <a:gd name="T1" fmla="*/ 0 h 10"/>
                <a:gd name="T2" fmla="*/ 5 w 9"/>
                <a:gd name="T3" fmla="*/ 10 h 10"/>
                <a:gd name="T4" fmla="*/ 3 w 9"/>
                <a:gd name="T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0">
                  <a:moveTo>
                    <a:pt x="3" y="0"/>
                  </a:moveTo>
                  <a:cubicBezTo>
                    <a:pt x="3" y="0"/>
                    <a:pt x="0" y="6"/>
                    <a:pt x="5" y="10"/>
                  </a:cubicBezTo>
                  <a:cubicBezTo>
                    <a:pt x="9" y="4"/>
                    <a:pt x="3" y="0"/>
                    <a:pt x="3" y="0"/>
                  </a:cubicBezTo>
                  <a:close/>
                </a:path>
              </a:pathLst>
            </a:custGeom>
            <a:solidFill>
              <a:srgbClr val="84C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66" name="Freeform 8431"/>
            <p:cNvSpPr>
              <a:spLocks/>
            </p:cNvSpPr>
            <p:nvPr/>
          </p:nvSpPr>
          <p:spPr bwMode="auto">
            <a:xfrm>
              <a:off x="5176" y="2858"/>
              <a:ext cx="17" cy="16"/>
            </a:xfrm>
            <a:custGeom>
              <a:avLst/>
              <a:gdLst>
                <a:gd name="T0" fmla="*/ 2 w 14"/>
                <a:gd name="T1" fmla="*/ 13 h 13"/>
                <a:gd name="T2" fmla="*/ 12 w 14"/>
                <a:gd name="T3" fmla="*/ 0 h 13"/>
                <a:gd name="T4" fmla="*/ 2 w 14"/>
                <a:gd name="T5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13">
                  <a:moveTo>
                    <a:pt x="2" y="13"/>
                  </a:moveTo>
                  <a:cubicBezTo>
                    <a:pt x="14" y="13"/>
                    <a:pt x="12" y="0"/>
                    <a:pt x="12" y="0"/>
                  </a:cubicBezTo>
                  <a:cubicBezTo>
                    <a:pt x="12" y="0"/>
                    <a:pt x="0" y="2"/>
                    <a:pt x="2" y="13"/>
                  </a:cubicBezTo>
                  <a:close/>
                </a:path>
              </a:pathLst>
            </a:custGeom>
            <a:solidFill>
              <a:srgbClr val="6FA5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67" name="Freeform 8432"/>
            <p:cNvSpPr>
              <a:spLocks/>
            </p:cNvSpPr>
            <p:nvPr/>
          </p:nvSpPr>
          <p:spPr bwMode="auto">
            <a:xfrm>
              <a:off x="5178" y="2864"/>
              <a:ext cx="9" cy="10"/>
            </a:xfrm>
            <a:custGeom>
              <a:avLst/>
              <a:gdLst>
                <a:gd name="T0" fmla="*/ 0 w 7"/>
                <a:gd name="T1" fmla="*/ 8 h 8"/>
                <a:gd name="T2" fmla="*/ 7 w 7"/>
                <a:gd name="T3" fmla="*/ 0 h 8"/>
                <a:gd name="T4" fmla="*/ 0 w 7"/>
                <a:gd name="T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8">
                  <a:moveTo>
                    <a:pt x="0" y="8"/>
                  </a:moveTo>
                  <a:cubicBezTo>
                    <a:pt x="7" y="7"/>
                    <a:pt x="7" y="0"/>
                    <a:pt x="7" y="0"/>
                  </a:cubicBezTo>
                  <a:cubicBezTo>
                    <a:pt x="7" y="0"/>
                    <a:pt x="0" y="1"/>
                    <a:pt x="0" y="8"/>
                  </a:cubicBezTo>
                  <a:close/>
                </a:path>
              </a:pathLst>
            </a:custGeom>
            <a:solidFill>
              <a:srgbClr val="84C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68" name="Freeform 8433"/>
            <p:cNvSpPr>
              <a:spLocks/>
            </p:cNvSpPr>
            <p:nvPr/>
          </p:nvSpPr>
          <p:spPr bwMode="auto">
            <a:xfrm>
              <a:off x="5181" y="2862"/>
              <a:ext cx="19" cy="20"/>
            </a:xfrm>
            <a:custGeom>
              <a:avLst/>
              <a:gdLst>
                <a:gd name="T0" fmla="*/ 0 w 16"/>
                <a:gd name="T1" fmla="*/ 10 h 16"/>
                <a:gd name="T2" fmla="*/ 16 w 16"/>
                <a:gd name="T3" fmla="*/ 4 h 16"/>
                <a:gd name="T4" fmla="*/ 0 w 16"/>
                <a:gd name="T5" fmla="*/ 1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6">
                  <a:moveTo>
                    <a:pt x="0" y="10"/>
                  </a:moveTo>
                  <a:cubicBezTo>
                    <a:pt x="11" y="16"/>
                    <a:pt x="16" y="4"/>
                    <a:pt x="16" y="4"/>
                  </a:cubicBezTo>
                  <a:cubicBezTo>
                    <a:pt x="16" y="4"/>
                    <a:pt x="5" y="0"/>
                    <a:pt x="0" y="10"/>
                  </a:cubicBezTo>
                  <a:close/>
                </a:path>
              </a:pathLst>
            </a:custGeom>
            <a:solidFill>
              <a:srgbClr val="6FA5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69" name="Freeform 8434"/>
            <p:cNvSpPr>
              <a:spLocks/>
            </p:cNvSpPr>
            <p:nvPr/>
          </p:nvSpPr>
          <p:spPr bwMode="auto">
            <a:xfrm>
              <a:off x="5182" y="2867"/>
              <a:ext cx="11" cy="11"/>
            </a:xfrm>
            <a:custGeom>
              <a:avLst/>
              <a:gdLst>
                <a:gd name="T0" fmla="*/ 0 w 9"/>
                <a:gd name="T1" fmla="*/ 6 h 9"/>
                <a:gd name="T2" fmla="*/ 9 w 9"/>
                <a:gd name="T3" fmla="*/ 2 h 9"/>
                <a:gd name="T4" fmla="*/ 0 w 9"/>
                <a:gd name="T5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9">
                  <a:moveTo>
                    <a:pt x="0" y="6"/>
                  </a:moveTo>
                  <a:cubicBezTo>
                    <a:pt x="6" y="9"/>
                    <a:pt x="9" y="2"/>
                    <a:pt x="9" y="2"/>
                  </a:cubicBezTo>
                  <a:cubicBezTo>
                    <a:pt x="9" y="2"/>
                    <a:pt x="3" y="0"/>
                    <a:pt x="0" y="6"/>
                  </a:cubicBezTo>
                  <a:close/>
                </a:path>
              </a:pathLst>
            </a:custGeom>
            <a:solidFill>
              <a:srgbClr val="84C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70" name="Freeform 8435"/>
            <p:cNvSpPr>
              <a:spLocks/>
            </p:cNvSpPr>
            <p:nvPr/>
          </p:nvSpPr>
          <p:spPr bwMode="auto">
            <a:xfrm>
              <a:off x="5118" y="2857"/>
              <a:ext cx="19" cy="20"/>
            </a:xfrm>
            <a:custGeom>
              <a:avLst/>
              <a:gdLst>
                <a:gd name="T0" fmla="*/ 6 w 16"/>
                <a:gd name="T1" fmla="*/ 16 h 16"/>
                <a:gd name="T2" fmla="*/ 10 w 16"/>
                <a:gd name="T3" fmla="*/ 0 h 16"/>
                <a:gd name="T4" fmla="*/ 6 w 16"/>
                <a:gd name="T5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6">
                  <a:moveTo>
                    <a:pt x="6" y="16"/>
                  </a:moveTo>
                  <a:cubicBezTo>
                    <a:pt x="16" y="11"/>
                    <a:pt x="10" y="0"/>
                    <a:pt x="10" y="0"/>
                  </a:cubicBezTo>
                  <a:cubicBezTo>
                    <a:pt x="10" y="0"/>
                    <a:pt x="0" y="6"/>
                    <a:pt x="6" y="16"/>
                  </a:cubicBezTo>
                  <a:close/>
                </a:path>
              </a:pathLst>
            </a:custGeom>
            <a:solidFill>
              <a:srgbClr val="6FA5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71" name="Freeform 8436"/>
            <p:cNvSpPr>
              <a:spLocks/>
            </p:cNvSpPr>
            <p:nvPr/>
          </p:nvSpPr>
          <p:spPr bwMode="auto">
            <a:xfrm>
              <a:off x="5121" y="2863"/>
              <a:ext cx="11" cy="14"/>
            </a:xfrm>
            <a:custGeom>
              <a:avLst/>
              <a:gdLst>
                <a:gd name="T0" fmla="*/ 3 w 9"/>
                <a:gd name="T1" fmla="*/ 11 h 11"/>
                <a:gd name="T2" fmla="*/ 6 w 9"/>
                <a:gd name="T3" fmla="*/ 0 h 11"/>
                <a:gd name="T4" fmla="*/ 3 w 9"/>
                <a:gd name="T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1">
                  <a:moveTo>
                    <a:pt x="3" y="11"/>
                  </a:moveTo>
                  <a:cubicBezTo>
                    <a:pt x="9" y="7"/>
                    <a:pt x="6" y="0"/>
                    <a:pt x="6" y="0"/>
                  </a:cubicBezTo>
                  <a:cubicBezTo>
                    <a:pt x="6" y="0"/>
                    <a:pt x="0" y="4"/>
                    <a:pt x="3" y="11"/>
                  </a:cubicBezTo>
                  <a:close/>
                </a:path>
              </a:pathLst>
            </a:custGeom>
            <a:solidFill>
              <a:srgbClr val="84C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72" name="Freeform 8437"/>
            <p:cNvSpPr>
              <a:spLocks/>
            </p:cNvSpPr>
            <p:nvPr/>
          </p:nvSpPr>
          <p:spPr bwMode="auto">
            <a:xfrm>
              <a:off x="5111" y="2894"/>
              <a:ext cx="21" cy="20"/>
            </a:xfrm>
            <a:custGeom>
              <a:avLst/>
              <a:gdLst>
                <a:gd name="T0" fmla="*/ 8 w 17"/>
                <a:gd name="T1" fmla="*/ 0 h 17"/>
                <a:gd name="T2" fmla="*/ 10 w 17"/>
                <a:gd name="T3" fmla="*/ 17 h 17"/>
                <a:gd name="T4" fmla="*/ 8 w 17"/>
                <a:gd name="T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17">
                  <a:moveTo>
                    <a:pt x="8" y="0"/>
                  </a:moveTo>
                  <a:cubicBezTo>
                    <a:pt x="0" y="9"/>
                    <a:pt x="10" y="17"/>
                    <a:pt x="10" y="17"/>
                  </a:cubicBezTo>
                  <a:cubicBezTo>
                    <a:pt x="10" y="17"/>
                    <a:pt x="17" y="7"/>
                    <a:pt x="8" y="0"/>
                  </a:cubicBezTo>
                  <a:close/>
                </a:path>
              </a:pathLst>
            </a:custGeom>
            <a:solidFill>
              <a:srgbClr val="6FA5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73" name="Freeform 8438"/>
            <p:cNvSpPr>
              <a:spLocks/>
            </p:cNvSpPr>
            <p:nvPr/>
          </p:nvSpPr>
          <p:spPr bwMode="auto">
            <a:xfrm>
              <a:off x="5116" y="2895"/>
              <a:ext cx="11" cy="12"/>
            </a:xfrm>
            <a:custGeom>
              <a:avLst/>
              <a:gdLst>
                <a:gd name="T0" fmla="*/ 5 w 9"/>
                <a:gd name="T1" fmla="*/ 10 h 10"/>
                <a:gd name="T2" fmla="*/ 4 w 9"/>
                <a:gd name="T3" fmla="*/ 0 h 10"/>
                <a:gd name="T4" fmla="*/ 5 w 9"/>
                <a:gd name="T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0">
                  <a:moveTo>
                    <a:pt x="5" y="10"/>
                  </a:moveTo>
                  <a:cubicBezTo>
                    <a:pt x="5" y="10"/>
                    <a:pt x="9" y="4"/>
                    <a:pt x="4" y="0"/>
                  </a:cubicBezTo>
                  <a:cubicBezTo>
                    <a:pt x="0" y="5"/>
                    <a:pt x="5" y="10"/>
                    <a:pt x="5" y="10"/>
                  </a:cubicBezTo>
                  <a:close/>
                </a:path>
              </a:pathLst>
            </a:custGeom>
            <a:solidFill>
              <a:srgbClr val="84C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9318" name="Freeform 8440"/>
          <p:cNvSpPr>
            <a:spLocks/>
          </p:cNvSpPr>
          <p:nvPr/>
        </p:nvSpPr>
        <p:spPr bwMode="auto">
          <a:xfrm>
            <a:off x="8131176" y="4594225"/>
            <a:ext cx="25400" cy="23813"/>
          </a:xfrm>
          <a:custGeom>
            <a:avLst/>
            <a:gdLst>
              <a:gd name="T0" fmla="*/ 1 w 13"/>
              <a:gd name="T1" fmla="*/ 0 h 13"/>
              <a:gd name="T2" fmla="*/ 13 w 13"/>
              <a:gd name="T3" fmla="*/ 13 h 13"/>
              <a:gd name="T4" fmla="*/ 1 w 13"/>
              <a:gd name="T5" fmla="*/ 0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3" h="13">
                <a:moveTo>
                  <a:pt x="1" y="0"/>
                </a:moveTo>
                <a:cubicBezTo>
                  <a:pt x="0" y="12"/>
                  <a:pt x="13" y="13"/>
                  <a:pt x="13" y="13"/>
                </a:cubicBezTo>
                <a:cubicBezTo>
                  <a:pt x="13" y="13"/>
                  <a:pt x="13" y="1"/>
                  <a:pt x="1" y="0"/>
                </a:cubicBezTo>
                <a:close/>
              </a:path>
            </a:pathLst>
          </a:custGeom>
          <a:solidFill>
            <a:srgbClr val="6FA53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319" name="Freeform 8441"/>
          <p:cNvSpPr>
            <a:spLocks/>
          </p:cNvSpPr>
          <p:nvPr/>
        </p:nvSpPr>
        <p:spPr bwMode="auto">
          <a:xfrm>
            <a:off x="8134351" y="4595813"/>
            <a:ext cx="14288" cy="12700"/>
          </a:xfrm>
          <a:custGeom>
            <a:avLst/>
            <a:gdLst>
              <a:gd name="T0" fmla="*/ 1 w 8"/>
              <a:gd name="T1" fmla="*/ 0 h 7"/>
              <a:gd name="T2" fmla="*/ 8 w 8"/>
              <a:gd name="T3" fmla="*/ 7 h 7"/>
              <a:gd name="T4" fmla="*/ 1 w 8"/>
              <a:gd name="T5" fmla="*/ 0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8" h="7">
                <a:moveTo>
                  <a:pt x="1" y="0"/>
                </a:moveTo>
                <a:cubicBezTo>
                  <a:pt x="0" y="6"/>
                  <a:pt x="8" y="7"/>
                  <a:pt x="8" y="7"/>
                </a:cubicBezTo>
                <a:cubicBezTo>
                  <a:pt x="8" y="7"/>
                  <a:pt x="7" y="0"/>
                  <a:pt x="1" y="0"/>
                </a:cubicBezTo>
                <a:close/>
              </a:path>
            </a:pathLst>
          </a:custGeom>
          <a:solidFill>
            <a:srgbClr val="84C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320" name="Freeform 8442"/>
          <p:cNvSpPr>
            <a:spLocks/>
          </p:cNvSpPr>
          <p:nvPr/>
        </p:nvSpPr>
        <p:spPr bwMode="auto">
          <a:xfrm>
            <a:off x="8153401" y="4572000"/>
            <a:ext cx="26988" cy="26988"/>
          </a:xfrm>
          <a:custGeom>
            <a:avLst/>
            <a:gdLst>
              <a:gd name="T0" fmla="*/ 2 w 14"/>
              <a:gd name="T1" fmla="*/ 14 h 14"/>
              <a:gd name="T2" fmla="*/ 11 w 14"/>
              <a:gd name="T3" fmla="*/ 0 h 14"/>
              <a:gd name="T4" fmla="*/ 2 w 14"/>
              <a:gd name="T5" fmla="*/ 14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4" h="14">
                <a:moveTo>
                  <a:pt x="2" y="14"/>
                </a:moveTo>
                <a:cubicBezTo>
                  <a:pt x="2" y="14"/>
                  <a:pt x="14" y="11"/>
                  <a:pt x="11" y="0"/>
                </a:cubicBezTo>
                <a:cubicBezTo>
                  <a:pt x="0" y="1"/>
                  <a:pt x="2" y="14"/>
                  <a:pt x="2" y="14"/>
                </a:cubicBezTo>
                <a:close/>
              </a:path>
            </a:pathLst>
          </a:custGeom>
          <a:solidFill>
            <a:srgbClr val="6FA53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321" name="Freeform 8443"/>
          <p:cNvSpPr>
            <a:spLocks/>
          </p:cNvSpPr>
          <p:nvPr/>
        </p:nvSpPr>
        <p:spPr bwMode="auto">
          <a:xfrm>
            <a:off x="8162926" y="4572000"/>
            <a:ext cx="12700" cy="17463"/>
          </a:xfrm>
          <a:custGeom>
            <a:avLst/>
            <a:gdLst>
              <a:gd name="T0" fmla="*/ 0 w 7"/>
              <a:gd name="T1" fmla="*/ 9 h 9"/>
              <a:gd name="T2" fmla="*/ 6 w 7"/>
              <a:gd name="T3" fmla="*/ 0 h 9"/>
              <a:gd name="T4" fmla="*/ 0 w 7"/>
              <a:gd name="T5" fmla="*/ 9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7" h="9">
                <a:moveTo>
                  <a:pt x="0" y="9"/>
                </a:moveTo>
                <a:cubicBezTo>
                  <a:pt x="0" y="9"/>
                  <a:pt x="7" y="7"/>
                  <a:pt x="6" y="0"/>
                </a:cubicBezTo>
                <a:cubicBezTo>
                  <a:pt x="0" y="1"/>
                  <a:pt x="0" y="9"/>
                  <a:pt x="0" y="9"/>
                </a:cubicBezTo>
                <a:close/>
              </a:path>
            </a:pathLst>
          </a:custGeom>
          <a:solidFill>
            <a:srgbClr val="84C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322" name="Freeform 8444"/>
          <p:cNvSpPr>
            <a:spLocks/>
          </p:cNvSpPr>
          <p:nvPr/>
        </p:nvSpPr>
        <p:spPr bwMode="auto">
          <a:xfrm>
            <a:off x="8164513" y="4576763"/>
            <a:ext cx="31750" cy="28575"/>
          </a:xfrm>
          <a:custGeom>
            <a:avLst/>
            <a:gdLst>
              <a:gd name="T0" fmla="*/ 5 w 16"/>
              <a:gd name="T1" fmla="*/ 0 h 15"/>
              <a:gd name="T2" fmla="*/ 11 w 16"/>
              <a:gd name="T3" fmla="*/ 15 h 15"/>
              <a:gd name="T4" fmla="*/ 5 w 16"/>
              <a:gd name="T5" fmla="*/ 0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6" h="15">
                <a:moveTo>
                  <a:pt x="5" y="0"/>
                </a:moveTo>
                <a:cubicBezTo>
                  <a:pt x="0" y="10"/>
                  <a:pt x="11" y="15"/>
                  <a:pt x="11" y="15"/>
                </a:cubicBezTo>
                <a:cubicBezTo>
                  <a:pt x="11" y="15"/>
                  <a:pt x="16" y="5"/>
                  <a:pt x="5" y="0"/>
                </a:cubicBezTo>
                <a:close/>
              </a:path>
            </a:pathLst>
          </a:custGeom>
          <a:solidFill>
            <a:srgbClr val="6FA53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323" name="Freeform 8445"/>
          <p:cNvSpPr>
            <a:spLocks/>
          </p:cNvSpPr>
          <p:nvPr/>
        </p:nvSpPr>
        <p:spPr bwMode="auto">
          <a:xfrm>
            <a:off x="8169276" y="4576763"/>
            <a:ext cx="15875" cy="19050"/>
          </a:xfrm>
          <a:custGeom>
            <a:avLst/>
            <a:gdLst>
              <a:gd name="T0" fmla="*/ 3 w 9"/>
              <a:gd name="T1" fmla="*/ 0 h 10"/>
              <a:gd name="T2" fmla="*/ 7 w 9"/>
              <a:gd name="T3" fmla="*/ 10 h 10"/>
              <a:gd name="T4" fmla="*/ 3 w 9"/>
              <a:gd name="T5" fmla="*/ 0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9" h="10">
                <a:moveTo>
                  <a:pt x="3" y="0"/>
                </a:moveTo>
                <a:cubicBezTo>
                  <a:pt x="0" y="6"/>
                  <a:pt x="7" y="10"/>
                  <a:pt x="7" y="10"/>
                </a:cubicBezTo>
                <a:cubicBezTo>
                  <a:pt x="7" y="10"/>
                  <a:pt x="9" y="3"/>
                  <a:pt x="3" y="0"/>
                </a:cubicBezTo>
                <a:close/>
              </a:path>
            </a:pathLst>
          </a:custGeom>
          <a:solidFill>
            <a:srgbClr val="84C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324" name="Freeform 8446"/>
          <p:cNvSpPr>
            <a:spLocks/>
          </p:cNvSpPr>
          <p:nvPr/>
        </p:nvSpPr>
        <p:spPr bwMode="auto">
          <a:xfrm>
            <a:off x="8056563" y="4524375"/>
            <a:ext cx="28575" cy="26988"/>
          </a:xfrm>
          <a:custGeom>
            <a:avLst/>
            <a:gdLst>
              <a:gd name="T0" fmla="*/ 2 w 15"/>
              <a:gd name="T1" fmla="*/ 0 h 14"/>
              <a:gd name="T2" fmla="*/ 12 w 15"/>
              <a:gd name="T3" fmla="*/ 14 h 14"/>
              <a:gd name="T4" fmla="*/ 2 w 15"/>
              <a:gd name="T5" fmla="*/ 0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5" h="14">
                <a:moveTo>
                  <a:pt x="2" y="0"/>
                </a:moveTo>
                <a:cubicBezTo>
                  <a:pt x="2" y="0"/>
                  <a:pt x="0" y="12"/>
                  <a:pt x="12" y="14"/>
                </a:cubicBezTo>
                <a:cubicBezTo>
                  <a:pt x="15" y="2"/>
                  <a:pt x="2" y="0"/>
                  <a:pt x="2" y="0"/>
                </a:cubicBezTo>
                <a:close/>
              </a:path>
            </a:pathLst>
          </a:custGeom>
          <a:solidFill>
            <a:srgbClr val="6FA53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325" name="Freeform 8447"/>
          <p:cNvSpPr>
            <a:spLocks/>
          </p:cNvSpPr>
          <p:nvPr/>
        </p:nvSpPr>
        <p:spPr bwMode="auto">
          <a:xfrm>
            <a:off x="8066088" y="4533900"/>
            <a:ext cx="15875" cy="17463"/>
          </a:xfrm>
          <a:custGeom>
            <a:avLst/>
            <a:gdLst>
              <a:gd name="T0" fmla="*/ 1 w 8"/>
              <a:gd name="T1" fmla="*/ 0 h 9"/>
              <a:gd name="T2" fmla="*/ 7 w 8"/>
              <a:gd name="T3" fmla="*/ 9 h 9"/>
              <a:gd name="T4" fmla="*/ 1 w 8"/>
              <a:gd name="T5" fmla="*/ 0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8" h="9">
                <a:moveTo>
                  <a:pt x="1" y="0"/>
                </a:moveTo>
                <a:cubicBezTo>
                  <a:pt x="1" y="0"/>
                  <a:pt x="0" y="7"/>
                  <a:pt x="7" y="9"/>
                </a:cubicBezTo>
                <a:cubicBezTo>
                  <a:pt x="8" y="2"/>
                  <a:pt x="1" y="0"/>
                  <a:pt x="1" y="0"/>
                </a:cubicBezTo>
                <a:close/>
              </a:path>
            </a:pathLst>
          </a:custGeom>
          <a:solidFill>
            <a:srgbClr val="84C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326" name="Freeform 8448"/>
          <p:cNvSpPr>
            <a:spLocks/>
          </p:cNvSpPr>
          <p:nvPr/>
        </p:nvSpPr>
        <p:spPr bwMode="auto">
          <a:xfrm>
            <a:off x="8064501" y="4514850"/>
            <a:ext cx="33338" cy="31750"/>
          </a:xfrm>
          <a:custGeom>
            <a:avLst/>
            <a:gdLst>
              <a:gd name="T0" fmla="*/ 8 w 17"/>
              <a:gd name="T1" fmla="*/ 0 h 17"/>
              <a:gd name="T2" fmla="*/ 8 w 17"/>
              <a:gd name="T3" fmla="*/ 17 h 17"/>
              <a:gd name="T4" fmla="*/ 8 w 17"/>
              <a:gd name="T5" fmla="*/ 0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7" h="17">
                <a:moveTo>
                  <a:pt x="8" y="0"/>
                </a:moveTo>
                <a:cubicBezTo>
                  <a:pt x="8" y="0"/>
                  <a:pt x="0" y="9"/>
                  <a:pt x="8" y="17"/>
                </a:cubicBezTo>
                <a:cubicBezTo>
                  <a:pt x="17" y="9"/>
                  <a:pt x="8" y="0"/>
                  <a:pt x="8" y="0"/>
                </a:cubicBezTo>
                <a:close/>
              </a:path>
            </a:pathLst>
          </a:custGeom>
          <a:solidFill>
            <a:srgbClr val="6FA53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327" name="Freeform 8449"/>
          <p:cNvSpPr>
            <a:spLocks/>
          </p:cNvSpPr>
          <p:nvPr/>
        </p:nvSpPr>
        <p:spPr bwMode="auto">
          <a:xfrm>
            <a:off x="8072438" y="4525963"/>
            <a:ext cx="17463" cy="19050"/>
          </a:xfrm>
          <a:custGeom>
            <a:avLst/>
            <a:gdLst>
              <a:gd name="T0" fmla="*/ 5 w 9"/>
              <a:gd name="T1" fmla="*/ 10 h 10"/>
              <a:gd name="T2" fmla="*/ 4 w 9"/>
              <a:gd name="T3" fmla="*/ 0 h 10"/>
              <a:gd name="T4" fmla="*/ 5 w 9"/>
              <a:gd name="T5" fmla="*/ 10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9" h="10">
                <a:moveTo>
                  <a:pt x="5" y="10"/>
                </a:moveTo>
                <a:cubicBezTo>
                  <a:pt x="9" y="5"/>
                  <a:pt x="4" y="0"/>
                  <a:pt x="4" y="0"/>
                </a:cubicBezTo>
                <a:cubicBezTo>
                  <a:pt x="4" y="0"/>
                  <a:pt x="0" y="5"/>
                  <a:pt x="5" y="10"/>
                </a:cubicBezTo>
                <a:close/>
              </a:path>
            </a:pathLst>
          </a:custGeom>
          <a:solidFill>
            <a:srgbClr val="84C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328" name="Freeform 8450"/>
          <p:cNvSpPr>
            <a:spLocks/>
          </p:cNvSpPr>
          <p:nvPr/>
        </p:nvSpPr>
        <p:spPr bwMode="auto">
          <a:xfrm>
            <a:off x="8180388" y="4519613"/>
            <a:ext cx="25400" cy="26988"/>
          </a:xfrm>
          <a:custGeom>
            <a:avLst/>
            <a:gdLst>
              <a:gd name="T0" fmla="*/ 2 w 13"/>
              <a:gd name="T1" fmla="*/ 14 h 14"/>
              <a:gd name="T2" fmla="*/ 11 w 13"/>
              <a:gd name="T3" fmla="*/ 0 h 14"/>
              <a:gd name="T4" fmla="*/ 2 w 13"/>
              <a:gd name="T5" fmla="*/ 14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3" h="14">
                <a:moveTo>
                  <a:pt x="2" y="14"/>
                </a:moveTo>
                <a:cubicBezTo>
                  <a:pt x="13" y="13"/>
                  <a:pt x="11" y="0"/>
                  <a:pt x="11" y="0"/>
                </a:cubicBezTo>
                <a:cubicBezTo>
                  <a:pt x="11" y="0"/>
                  <a:pt x="0" y="2"/>
                  <a:pt x="2" y="14"/>
                </a:cubicBezTo>
                <a:close/>
              </a:path>
            </a:pathLst>
          </a:custGeom>
          <a:solidFill>
            <a:srgbClr val="6FA53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329" name="Freeform 8451"/>
          <p:cNvSpPr>
            <a:spLocks/>
          </p:cNvSpPr>
          <p:nvPr/>
        </p:nvSpPr>
        <p:spPr bwMode="auto">
          <a:xfrm>
            <a:off x="8181976" y="4530725"/>
            <a:ext cx="15875" cy="15875"/>
          </a:xfrm>
          <a:custGeom>
            <a:avLst/>
            <a:gdLst>
              <a:gd name="T0" fmla="*/ 1 w 8"/>
              <a:gd name="T1" fmla="*/ 9 h 9"/>
              <a:gd name="T2" fmla="*/ 7 w 8"/>
              <a:gd name="T3" fmla="*/ 0 h 9"/>
              <a:gd name="T4" fmla="*/ 1 w 8"/>
              <a:gd name="T5" fmla="*/ 9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8" h="9">
                <a:moveTo>
                  <a:pt x="1" y="9"/>
                </a:moveTo>
                <a:cubicBezTo>
                  <a:pt x="8" y="8"/>
                  <a:pt x="7" y="0"/>
                  <a:pt x="7" y="0"/>
                </a:cubicBezTo>
                <a:cubicBezTo>
                  <a:pt x="7" y="0"/>
                  <a:pt x="0" y="2"/>
                  <a:pt x="1" y="9"/>
                </a:cubicBezTo>
                <a:close/>
              </a:path>
            </a:pathLst>
          </a:custGeom>
          <a:solidFill>
            <a:srgbClr val="84C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330" name="Freeform 8452"/>
          <p:cNvSpPr>
            <a:spLocks/>
          </p:cNvSpPr>
          <p:nvPr/>
        </p:nvSpPr>
        <p:spPr bwMode="auto">
          <a:xfrm>
            <a:off x="8047038" y="4578350"/>
            <a:ext cx="26988" cy="26988"/>
          </a:xfrm>
          <a:custGeom>
            <a:avLst/>
            <a:gdLst>
              <a:gd name="T0" fmla="*/ 3 w 14"/>
              <a:gd name="T1" fmla="*/ 14 h 14"/>
              <a:gd name="T2" fmla="*/ 12 w 14"/>
              <a:gd name="T3" fmla="*/ 0 h 14"/>
              <a:gd name="T4" fmla="*/ 3 w 14"/>
              <a:gd name="T5" fmla="*/ 14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4" h="14">
                <a:moveTo>
                  <a:pt x="3" y="14"/>
                </a:moveTo>
                <a:cubicBezTo>
                  <a:pt x="3" y="14"/>
                  <a:pt x="14" y="12"/>
                  <a:pt x="12" y="0"/>
                </a:cubicBezTo>
                <a:cubicBezTo>
                  <a:pt x="0" y="1"/>
                  <a:pt x="3" y="14"/>
                  <a:pt x="3" y="14"/>
                </a:cubicBezTo>
                <a:close/>
              </a:path>
            </a:pathLst>
          </a:custGeom>
          <a:solidFill>
            <a:srgbClr val="6FA53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331" name="Freeform 8453"/>
          <p:cNvSpPr>
            <a:spLocks/>
          </p:cNvSpPr>
          <p:nvPr/>
        </p:nvSpPr>
        <p:spPr bwMode="auto">
          <a:xfrm>
            <a:off x="8056563" y="4578350"/>
            <a:ext cx="12700" cy="17463"/>
          </a:xfrm>
          <a:custGeom>
            <a:avLst/>
            <a:gdLst>
              <a:gd name="T0" fmla="*/ 1 w 7"/>
              <a:gd name="T1" fmla="*/ 9 h 9"/>
              <a:gd name="T2" fmla="*/ 7 w 7"/>
              <a:gd name="T3" fmla="*/ 0 h 9"/>
              <a:gd name="T4" fmla="*/ 1 w 7"/>
              <a:gd name="T5" fmla="*/ 9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7" h="9">
                <a:moveTo>
                  <a:pt x="1" y="9"/>
                </a:moveTo>
                <a:cubicBezTo>
                  <a:pt x="1" y="9"/>
                  <a:pt x="7" y="7"/>
                  <a:pt x="7" y="0"/>
                </a:cubicBezTo>
                <a:cubicBezTo>
                  <a:pt x="0" y="2"/>
                  <a:pt x="1" y="9"/>
                  <a:pt x="1" y="9"/>
                </a:cubicBezTo>
                <a:close/>
              </a:path>
            </a:pathLst>
          </a:custGeom>
          <a:solidFill>
            <a:srgbClr val="84C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332" name="Freeform 8454"/>
          <p:cNvSpPr>
            <a:spLocks/>
          </p:cNvSpPr>
          <p:nvPr/>
        </p:nvSpPr>
        <p:spPr bwMode="auto">
          <a:xfrm>
            <a:off x="8015288" y="4570413"/>
            <a:ext cx="33338" cy="33338"/>
          </a:xfrm>
          <a:custGeom>
            <a:avLst/>
            <a:gdLst>
              <a:gd name="T0" fmla="*/ 7 w 17"/>
              <a:gd name="T1" fmla="*/ 17 h 17"/>
              <a:gd name="T2" fmla="*/ 11 w 17"/>
              <a:gd name="T3" fmla="*/ 0 h 17"/>
              <a:gd name="T4" fmla="*/ 7 w 17"/>
              <a:gd name="T5" fmla="*/ 17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7" h="17">
                <a:moveTo>
                  <a:pt x="7" y="17"/>
                </a:moveTo>
                <a:cubicBezTo>
                  <a:pt x="7" y="17"/>
                  <a:pt x="17" y="11"/>
                  <a:pt x="11" y="0"/>
                </a:cubicBezTo>
                <a:cubicBezTo>
                  <a:pt x="0" y="5"/>
                  <a:pt x="7" y="17"/>
                  <a:pt x="7" y="17"/>
                </a:cubicBezTo>
                <a:close/>
              </a:path>
            </a:pathLst>
          </a:custGeom>
          <a:solidFill>
            <a:srgbClr val="6FA53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333" name="Freeform 8455"/>
          <p:cNvSpPr>
            <a:spLocks/>
          </p:cNvSpPr>
          <p:nvPr/>
        </p:nvSpPr>
        <p:spPr bwMode="auto">
          <a:xfrm>
            <a:off x="8026401" y="4570413"/>
            <a:ext cx="15875" cy="20638"/>
          </a:xfrm>
          <a:custGeom>
            <a:avLst/>
            <a:gdLst>
              <a:gd name="T0" fmla="*/ 3 w 9"/>
              <a:gd name="T1" fmla="*/ 11 h 11"/>
              <a:gd name="T2" fmla="*/ 6 w 9"/>
              <a:gd name="T3" fmla="*/ 0 h 11"/>
              <a:gd name="T4" fmla="*/ 3 w 9"/>
              <a:gd name="T5" fmla="*/ 11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9" h="11">
                <a:moveTo>
                  <a:pt x="3" y="11"/>
                </a:moveTo>
                <a:cubicBezTo>
                  <a:pt x="3" y="11"/>
                  <a:pt x="9" y="7"/>
                  <a:pt x="6" y="0"/>
                </a:cubicBezTo>
                <a:cubicBezTo>
                  <a:pt x="0" y="4"/>
                  <a:pt x="3" y="11"/>
                  <a:pt x="3" y="11"/>
                </a:cubicBezTo>
                <a:close/>
              </a:path>
            </a:pathLst>
          </a:custGeom>
          <a:solidFill>
            <a:srgbClr val="84C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334" name="Freeform 8456"/>
          <p:cNvSpPr>
            <a:spLocks/>
          </p:cNvSpPr>
          <p:nvPr/>
        </p:nvSpPr>
        <p:spPr bwMode="auto">
          <a:xfrm>
            <a:off x="8199438" y="4543425"/>
            <a:ext cx="33338" cy="33338"/>
          </a:xfrm>
          <a:custGeom>
            <a:avLst/>
            <a:gdLst>
              <a:gd name="T0" fmla="*/ 7 w 17"/>
              <a:gd name="T1" fmla="*/ 17 h 17"/>
              <a:gd name="T2" fmla="*/ 9 w 17"/>
              <a:gd name="T3" fmla="*/ 0 h 17"/>
              <a:gd name="T4" fmla="*/ 7 w 17"/>
              <a:gd name="T5" fmla="*/ 17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7" h="17">
                <a:moveTo>
                  <a:pt x="7" y="17"/>
                </a:moveTo>
                <a:cubicBezTo>
                  <a:pt x="17" y="10"/>
                  <a:pt x="9" y="0"/>
                  <a:pt x="9" y="0"/>
                </a:cubicBezTo>
                <a:cubicBezTo>
                  <a:pt x="9" y="0"/>
                  <a:pt x="0" y="8"/>
                  <a:pt x="7" y="17"/>
                </a:cubicBezTo>
                <a:close/>
              </a:path>
            </a:pathLst>
          </a:custGeom>
          <a:solidFill>
            <a:srgbClr val="E79B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335" name="Freeform 8457"/>
          <p:cNvSpPr>
            <a:spLocks/>
          </p:cNvSpPr>
          <p:nvPr/>
        </p:nvSpPr>
        <p:spPr bwMode="auto">
          <a:xfrm>
            <a:off x="8183563" y="4552950"/>
            <a:ext cx="30163" cy="31750"/>
          </a:xfrm>
          <a:custGeom>
            <a:avLst/>
            <a:gdLst>
              <a:gd name="T0" fmla="*/ 0 w 15"/>
              <a:gd name="T1" fmla="*/ 5 h 16"/>
              <a:gd name="T2" fmla="*/ 15 w 15"/>
              <a:gd name="T3" fmla="*/ 12 h 16"/>
              <a:gd name="T4" fmla="*/ 0 w 15"/>
              <a:gd name="T5" fmla="*/ 5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5" h="16">
                <a:moveTo>
                  <a:pt x="0" y="5"/>
                </a:moveTo>
                <a:cubicBezTo>
                  <a:pt x="0" y="5"/>
                  <a:pt x="4" y="16"/>
                  <a:pt x="15" y="12"/>
                </a:cubicBezTo>
                <a:cubicBezTo>
                  <a:pt x="12" y="0"/>
                  <a:pt x="0" y="5"/>
                  <a:pt x="0" y="5"/>
                </a:cubicBezTo>
                <a:close/>
              </a:path>
            </a:pathLst>
          </a:custGeom>
          <a:solidFill>
            <a:srgbClr val="E79B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336" name="Freeform 8458"/>
          <p:cNvSpPr>
            <a:spLocks/>
          </p:cNvSpPr>
          <p:nvPr/>
        </p:nvSpPr>
        <p:spPr bwMode="auto">
          <a:xfrm>
            <a:off x="8189913" y="4575175"/>
            <a:ext cx="25400" cy="23813"/>
          </a:xfrm>
          <a:custGeom>
            <a:avLst/>
            <a:gdLst>
              <a:gd name="T0" fmla="*/ 1 w 13"/>
              <a:gd name="T1" fmla="*/ 13 h 13"/>
              <a:gd name="T2" fmla="*/ 12 w 13"/>
              <a:gd name="T3" fmla="*/ 1 h 13"/>
              <a:gd name="T4" fmla="*/ 1 w 13"/>
              <a:gd name="T5" fmla="*/ 13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3" h="13">
                <a:moveTo>
                  <a:pt x="1" y="13"/>
                </a:moveTo>
                <a:cubicBezTo>
                  <a:pt x="1" y="13"/>
                  <a:pt x="13" y="12"/>
                  <a:pt x="12" y="1"/>
                </a:cubicBezTo>
                <a:cubicBezTo>
                  <a:pt x="0" y="0"/>
                  <a:pt x="1" y="13"/>
                  <a:pt x="1" y="13"/>
                </a:cubicBezTo>
                <a:close/>
              </a:path>
            </a:pathLst>
          </a:custGeom>
          <a:solidFill>
            <a:srgbClr val="E79B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337" name="Freeform 8459"/>
          <p:cNvSpPr>
            <a:spLocks/>
          </p:cNvSpPr>
          <p:nvPr/>
        </p:nvSpPr>
        <p:spPr bwMode="auto">
          <a:xfrm>
            <a:off x="8205788" y="4576763"/>
            <a:ext cx="28575" cy="26988"/>
          </a:xfrm>
          <a:custGeom>
            <a:avLst/>
            <a:gdLst>
              <a:gd name="T0" fmla="*/ 4 w 15"/>
              <a:gd name="T1" fmla="*/ 0 h 14"/>
              <a:gd name="T2" fmla="*/ 13 w 15"/>
              <a:gd name="T3" fmla="*/ 14 h 14"/>
              <a:gd name="T4" fmla="*/ 4 w 15"/>
              <a:gd name="T5" fmla="*/ 0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5" h="14">
                <a:moveTo>
                  <a:pt x="4" y="0"/>
                </a:moveTo>
                <a:cubicBezTo>
                  <a:pt x="0" y="11"/>
                  <a:pt x="13" y="14"/>
                  <a:pt x="13" y="14"/>
                </a:cubicBezTo>
                <a:cubicBezTo>
                  <a:pt x="13" y="14"/>
                  <a:pt x="15" y="3"/>
                  <a:pt x="4" y="0"/>
                </a:cubicBezTo>
                <a:close/>
              </a:path>
            </a:pathLst>
          </a:custGeom>
          <a:solidFill>
            <a:srgbClr val="E79B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338" name="Freeform 8460"/>
          <p:cNvSpPr>
            <a:spLocks/>
          </p:cNvSpPr>
          <p:nvPr/>
        </p:nvSpPr>
        <p:spPr bwMode="auto">
          <a:xfrm>
            <a:off x="8213726" y="4557713"/>
            <a:ext cx="30163" cy="31750"/>
          </a:xfrm>
          <a:custGeom>
            <a:avLst/>
            <a:gdLst>
              <a:gd name="T0" fmla="*/ 0 w 16"/>
              <a:gd name="T1" fmla="*/ 10 h 17"/>
              <a:gd name="T2" fmla="*/ 16 w 16"/>
              <a:gd name="T3" fmla="*/ 6 h 17"/>
              <a:gd name="T4" fmla="*/ 0 w 16"/>
              <a:gd name="T5" fmla="*/ 10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6" h="17">
                <a:moveTo>
                  <a:pt x="0" y="10"/>
                </a:moveTo>
                <a:cubicBezTo>
                  <a:pt x="9" y="17"/>
                  <a:pt x="16" y="6"/>
                  <a:pt x="16" y="6"/>
                </a:cubicBezTo>
                <a:cubicBezTo>
                  <a:pt x="16" y="6"/>
                  <a:pt x="6" y="0"/>
                  <a:pt x="0" y="10"/>
                </a:cubicBezTo>
                <a:close/>
              </a:path>
            </a:pathLst>
          </a:custGeom>
          <a:solidFill>
            <a:srgbClr val="E79B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339" name="Freeform 8461"/>
          <p:cNvSpPr>
            <a:spLocks/>
          </p:cNvSpPr>
          <p:nvPr/>
        </p:nvSpPr>
        <p:spPr bwMode="auto">
          <a:xfrm>
            <a:off x="8210551" y="4564063"/>
            <a:ext cx="6350" cy="3175"/>
          </a:xfrm>
          <a:custGeom>
            <a:avLst/>
            <a:gdLst>
              <a:gd name="T0" fmla="*/ 2 w 3"/>
              <a:gd name="T1" fmla="*/ 0 h 1"/>
              <a:gd name="T2" fmla="*/ 0 w 3"/>
              <a:gd name="T3" fmla="*/ 0 h 1"/>
              <a:gd name="T4" fmla="*/ 2 w 3"/>
              <a:gd name="T5" fmla="*/ 1 h 1"/>
              <a:gd name="T6" fmla="*/ 3 w 3"/>
              <a:gd name="T7" fmla="*/ 1 h 1"/>
              <a:gd name="T8" fmla="*/ 2 w 3"/>
              <a:gd name="T9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" h="1">
                <a:moveTo>
                  <a:pt x="2" y="0"/>
                </a:moveTo>
                <a:cubicBezTo>
                  <a:pt x="1" y="0"/>
                  <a:pt x="0" y="0"/>
                  <a:pt x="0" y="0"/>
                </a:cubicBezTo>
                <a:cubicBezTo>
                  <a:pt x="0" y="1"/>
                  <a:pt x="1" y="1"/>
                  <a:pt x="2" y="1"/>
                </a:cubicBezTo>
                <a:cubicBezTo>
                  <a:pt x="3" y="1"/>
                  <a:pt x="3" y="1"/>
                  <a:pt x="3" y="1"/>
                </a:cubicBezTo>
                <a:cubicBezTo>
                  <a:pt x="3" y="0"/>
                  <a:pt x="3" y="0"/>
                  <a:pt x="2" y="0"/>
                </a:cubicBezTo>
                <a:close/>
              </a:path>
            </a:pathLst>
          </a:custGeom>
          <a:solidFill>
            <a:srgbClr val="B7516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340" name="Freeform 8462"/>
          <p:cNvSpPr>
            <a:spLocks/>
          </p:cNvSpPr>
          <p:nvPr/>
        </p:nvSpPr>
        <p:spPr bwMode="auto">
          <a:xfrm>
            <a:off x="8201026" y="4568825"/>
            <a:ext cx="6350" cy="6350"/>
          </a:xfrm>
          <a:custGeom>
            <a:avLst/>
            <a:gdLst>
              <a:gd name="T0" fmla="*/ 2 w 3"/>
              <a:gd name="T1" fmla="*/ 0 h 3"/>
              <a:gd name="T2" fmla="*/ 1 w 3"/>
              <a:gd name="T3" fmla="*/ 1 h 3"/>
              <a:gd name="T4" fmla="*/ 1 w 3"/>
              <a:gd name="T5" fmla="*/ 3 h 3"/>
              <a:gd name="T6" fmla="*/ 2 w 3"/>
              <a:gd name="T7" fmla="*/ 2 h 3"/>
              <a:gd name="T8" fmla="*/ 2 w 3"/>
              <a:gd name="T9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" h="3">
                <a:moveTo>
                  <a:pt x="2" y="0"/>
                </a:moveTo>
                <a:cubicBezTo>
                  <a:pt x="1" y="0"/>
                  <a:pt x="1" y="0"/>
                  <a:pt x="1" y="1"/>
                </a:cubicBezTo>
                <a:cubicBezTo>
                  <a:pt x="0" y="2"/>
                  <a:pt x="0" y="3"/>
                  <a:pt x="1" y="3"/>
                </a:cubicBezTo>
                <a:cubicBezTo>
                  <a:pt x="1" y="3"/>
                  <a:pt x="2" y="3"/>
                  <a:pt x="2" y="2"/>
                </a:cubicBezTo>
                <a:cubicBezTo>
                  <a:pt x="3" y="1"/>
                  <a:pt x="2" y="0"/>
                  <a:pt x="2" y="0"/>
                </a:cubicBezTo>
                <a:close/>
              </a:path>
            </a:pathLst>
          </a:custGeom>
          <a:solidFill>
            <a:srgbClr val="B7516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341" name="Freeform 8463"/>
          <p:cNvSpPr>
            <a:spLocks/>
          </p:cNvSpPr>
          <p:nvPr/>
        </p:nvSpPr>
        <p:spPr bwMode="auto">
          <a:xfrm>
            <a:off x="8202613" y="4579938"/>
            <a:ext cx="6350" cy="6350"/>
          </a:xfrm>
          <a:custGeom>
            <a:avLst/>
            <a:gdLst>
              <a:gd name="T0" fmla="*/ 0 w 3"/>
              <a:gd name="T1" fmla="*/ 0 h 3"/>
              <a:gd name="T2" fmla="*/ 1 w 3"/>
              <a:gd name="T3" fmla="*/ 2 h 3"/>
              <a:gd name="T4" fmla="*/ 3 w 3"/>
              <a:gd name="T5" fmla="*/ 2 h 3"/>
              <a:gd name="T6" fmla="*/ 2 w 3"/>
              <a:gd name="T7" fmla="*/ 1 h 3"/>
              <a:gd name="T8" fmla="*/ 0 w 3"/>
              <a:gd name="T9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" h="3">
                <a:moveTo>
                  <a:pt x="0" y="0"/>
                </a:moveTo>
                <a:cubicBezTo>
                  <a:pt x="0" y="1"/>
                  <a:pt x="0" y="2"/>
                  <a:pt x="1" y="2"/>
                </a:cubicBezTo>
                <a:cubicBezTo>
                  <a:pt x="2" y="3"/>
                  <a:pt x="2" y="3"/>
                  <a:pt x="3" y="2"/>
                </a:cubicBezTo>
                <a:cubicBezTo>
                  <a:pt x="3" y="2"/>
                  <a:pt x="3" y="1"/>
                  <a:pt x="2" y="1"/>
                </a:cubicBezTo>
                <a:cubicBezTo>
                  <a:pt x="1" y="0"/>
                  <a:pt x="1" y="0"/>
                  <a:pt x="0" y="0"/>
                </a:cubicBezTo>
                <a:close/>
              </a:path>
            </a:pathLst>
          </a:custGeom>
          <a:solidFill>
            <a:srgbClr val="B7516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342" name="Freeform 8464"/>
          <p:cNvSpPr>
            <a:spLocks/>
          </p:cNvSpPr>
          <p:nvPr/>
        </p:nvSpPr>
        <p:spPr bwMode="auto">
          <a:xfrm>
            <a:off x="8215313" y="4581525"/>
            <a:ext cx="4763" cy="6350"/>
          </a:xfrm>
          <a:custGeom>
            <a:avLst/>
            <a:gdLst>
              <a:gd name="T0" fmla="*/ 1 w 3"/>
              <a:gd name="T1" fmla="*/ 0 h 3"/>
              <a:gd name="T2" fmla="*/ 0 w 3"/>
              <a:gd name="T3" fmla="*/ 2 h 3"/>
              <a:gd name="T4" fmla="*/ 2 w 3"/>
              <a:gd name="T5" fmla="*/ 2 h 3"/>
              <a:gd name="T6" fmla="*/ 3 w 3"/>
              <a:gd name="T7" fmla="*/ 0 h 3"/>
              <a:gd name="T8" fmla="*/ 1 w 3"/>
              <a:gd name="T9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" h="3">
                <a:moveTo>
                  <a:pt x="1" y="0"/>
                </a:moveTo>
                <a:cubicBezTo>
                  <a:pt x="0" y="1"/>
                  <a:pt x="0" y="2"/>
                  <a:pt x="0" y="2"/>
                </a:cubicBezTo>
                <a:cubicBezTo>
                  <a:pt x="0" y="3"/>
                  <a:pt x="1" y="2"/>
                  <a:pt x="2" y="2"/>
                </a:cubicBezTo>
                <a:cubicBezTo>
                  <a:pt x="3" y="2"/>
                  <a:pt x="3" y="1"/>
                  <a:pt x="3" y="0"/>
                </a:cubicBezTo>
                <a:cubicBezTo>
                  <a:pt x="3" y="0"/>
                  <a:pt x="2" y="0"/>
                  <a:pt x="1" y="0"/>
                </a:cubicBezTo>
                <a:close/>
              </a:path>
            </a:pathLst>
          </a:custGeom>
          <a:solidFill>
            <a:srgbClr val="B7516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343" name="Freeform 8465"/>
          <p:cNvSpPr>
            <a:spLocks/>
          </p:cNvSpPr>
          <p:nvPr/>
        </p:nvSpPr>
        <p:spPr bwMode="auto">
          <a:xfrm>
            <a:off x="8220076" y="4570413"/>
            <a:ext cx="4763" cy="6350"/>
          </a:xfrm>
          <a:custGeom>
            <a:avLst/>
            <a:gdLst>
              <a:gd name="T0" fmla="*/ 1 w 2"/>
              <a:gd name="T1" fmla="*/ 0 h 3"/>
              <a:gd name="T2" fmla="*/ 0 w 2"/>
              <a:gd name="T3" fmla="*/ 2 h 3"/>
              <a:gd name="T4" fmla="*/ 2 w 2"/>
              <a:gd name="T5" fmla="*/ 3 h 3"/>
              <a:gd name="T6" fmla="*/ 2 w 2"/>
              <a:gd name="T7" fmla="*/ 1 h 3"/>
              <a:gd name="T8" fmla="*/ 1 w 2"/>
              <a:gd name="T9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" h="3">
                <a:moveTo>
                  <a:pt x="1" y="0"/>
                </a:moveTo>
                <a:cubicBezTo>
                  <a:pt x="0" y="0"/>
                  <a:pt x="0" y="1"/>
                  <a:pt x="0" y="2"/>
                </a:cubicBezTo>
                <a:cubicBezTo>
                  <a:pt x="1" y="3"/>
                  <a:pt x="1" y="3"/>
                  <a:pt x="2" y="3"/>
                </a:cubicBezTo>
                <a:cubicBezTo>
                  <a:pt x="2" y="3"/>
                  <a:pt x="2" y="2"/>
                  <a:pt x="2" y="1"/>
                </a:cubicBezTo>
                <a:cubicBezTo>
                  <a:pt x="2" y="1"/>
                  <a:pt x="1" y="0"/>
                  <a:pt x="1" y="0"/>
                </a:cubicBezTo>
                <a:close/>
              </a:path>
            </a:pathLst>
          </a:custGeom>
          <a:solidFill>
            <a:srgbClr val="B7516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344" name="Freeform 8466"/>
          <p:cNvSpPr>
            <a:spLocks/>
          </p:cNvSpPr>
          <p:nvPr/>
        </p:nvSpPr>
        <p:spPr bwMode="auto">
          <a:xfrm>
            <a:off x="8210551" y="4575175"/>
            <a:ext cx="4763" cy="3175"/>
          </a:xfrm>
          <a:custGeom>
            <a:avLst/>
            <a:gdLst>
              <a:gd name="T0" fmla="*/ 1 w 2"/>
              <a:gd name="T1" fmla="*/ 0 h 2"/>
              <a:gd name="T2" fmla="*/ 0 w 2"/>
              <a:gd name="T3" fmla="*/ 1 h 2"/>
              <a:gd name="T4" fmla="*/ 1 w 2"/>
              <a:gd name="T5" fmla="*/ 2 h 2"/>
              <a:gd name="T6" fmla="*/ 2 w 2"/>
              <a:gd name="T7" fmla="*/ 1 h 2"/>
              <a:gd name="T8" fmla="*/ 1 w 2"/>
              <a:gd name="T9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" h="2">
                <a:moveTo>
                  <a:pt x="1" y="0"/>
                </a:moveTo>
                <a:cubicBezTo>
                  <a:pt x="1" y="0"/>
                  <a:pt x="0" y="0"/>
                  <a:pt x="0" y="1"/>
                </a:cubicBezTo>
                <a:cubicBezTo>
                  <a:pt x="0" y="1"/>
                  <a:pt x="0" y="2"/>
                  <a:pt x="1" y="2"/>
                </a:cubicBezTo>
                <a:cubicBezTo>
                  <a:pt x="2" y="2"/>
                  <a:pt x="2" y="1"/>
                  <a:pt x="2" y="1"/>
                </a:cubicBezTo>
                <a:cubicBezTo>
                  <a:pt x="2" y="0"/>
                  <a:pt x="2" y="0"/>
                  <a:pt x="1" y="0"/>
                </a:cubicBezTo>
                <a:close/>
              </a:path>
            </a:pathLst>
          </a:custGeom>
          <a:solidFill>
            <a:srgbClr val="B7516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345" name="Freeform 8467"/>
          <p:cNvSpPr>
            <a:spLocks/>
          </p:cNvSpPr>
          <p:nvPr/>
        </p:nvSpPr>
        <p:spPr bwMode="auto">
          <a:xfrm>
            <a:off x="8161338" y="4522788"/>
            <a:ext cx="31750" cy="31750"/>
          </a:xfrm>
          <a:custGeom>
            <a:avLst/>
            <a:gdLst>
              <a:gd name="T0" fmla="*/ 8 w 17"/>
              <a:gd name="T1" fmla="*/ 17 h 17"/>
              <a:gd name="T2" fmla="*/ 9 w 17"/>
              <a:gd name="T3" fmla="*/ 0 h 17"/>
              <a:gd name="T4" fmla="*/ 8 w 17"/>
              <a:gd name="T5" fmla="*/ 17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7" h="17">
                <a:moveTo>
                  <a:pt x="8" y="17"/>
                </a:moveTo>
                <a:cubicBezTo>
                  <a:pt x="17" y="10"/>
                  <a:pt x="9" y="0"/>
                  <a:pt x="9" y="0"/>
                </a:cubicBezTo>
                <a:cubicBezTo>
                  <a:pt x="9" y="0"/>
                  <a:pt x="0" y="8"/>
                  <a:pt x="8" y="17"/>
                </a:cubicBezTo>
                <a:close/>
              </a:path>
            </a:pathLst>
          </a:custGeom>
          <a:solidFill>
            <a:srgbClr val="B7516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346" name="Freeform 8468"/>
          <p:cNvSpPr>
            <a:spLocks/>
          </p:cNvSpPr>
          <p:nvPr/>
        </p:nvSpPr>
        <p:spPr bwMode="auto">
          <a:xfrm>
            <a:off x="8145463" y="4533900"/>
            <a:ext cx="30163" cy="28575"/>
          </a:xfrm>
          <a:custGeom>
            <a:avLst/>
            <a:gdLst>
              <a:gd name="T0" fmla="*/ 0 w 16"/>
              <a:gd name="T1" fmla="*/ 4 h 15"/>
              <a:gd name="T2" fmla="*/ 16 w 16"/>
              <a:gd name="T3" fmla="*/ 11 h 15"/>
              <a:gd name="T4" fmla="*/ 0 w 16"/>
              <a:gd name="T5" fmla="*/ 4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6" h="15">
                <a:moveTo>
                  <a:pt x="0" y="4"/>
                </a:moveTo>
                <a:cubicBezTo>
                  <a:pt x="0" y="4"/>
                  <a:pt x="5" y="15"/>
                  <a:pt x="16" y="11"/>
                </a:cubicBezTo>
                <a:cubicBezTo>
                  <a:pt x="12" y="0"/>
                  <a:pt x="0" y="4"/>
                  <a:pt x="0" y="4"/>
                </a:cubicBezTo>
                <a:close/>
              </a:path>
            </a:pathLst>
          </a:custGeom>
          <a:solidFill>
            <a:srgbClr val="B7516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347" name="Freeform 8469"/>
          <p:cNvSpPr>
            <a:spLocks/>
          </p:cNvSpPr>
          <p:nvPr/>
        </p:nvSpPr>
        <p:spPr bwMode="auto">
          <a:xfrm>
            <a:off x="8153401" y="4554538"/>
            <a:ext cx="22225" cy="25400"/>
          </a:xfrm>
          <a:custGeom>
            <a:avLst/>
            <a:gdLst>
              <a:gd name="T0" fmla="*/ 1 w 12"/>
              <a:gd name="T1" fmla="*/ 13 h 13"/>
              <a:gd name="T2" fmla="*/ 12 w 12"/>
              <a:gd name="T3" fmla="*/ 0 h 13"/>
              <a:gd name="T4" fmla="*/ 1 w 12"/>
              <a:gd name="T5" fmla="*/ 13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2" h="13">
                <a:moveTo>
                  <a:pt x="1" y="13"/>
                </a:moveTo>
                <a:cubicBezTo>
                  <a:pt x="1" y="13"/>
                  <a:pt x="12" y="12"/>
                  <a:pt x="12" y="0"/>
                </a:cubicBezTo>
                <a:cubicBezTo>
                  <a:pt x="0" y="0"/>
                  <a:pt x="1" y="13"/>
                  <a:pt x="1" y="13"/>
                </a:cubicBezTo>
                <a:close/>
              </a:path>
            </a:pathLst>
          </a:custGeom>
          <a:solidFill>
            <a:srgbClr val="B7516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348" name="Freeform 8470"/>
          <p:cNvSpPr>
            <a:spLocks/>
          </p:cNvSpPr>
          <p:nvPr/>
        </p:nvSpPr>
        <p:spPr bwMode="auto">
          <a:xfrm>
            <a:off x="8169276" y="4554538"/>
            <a:ext cx="28575" cy="26988"/>
          </a:xfrm>
          <a:custGeom>
            <a:avLst/>
            <a:gdLst>
              <a:gd name="T0" fmla="*/ 4 w 15"/>
              <a:gd name="T1" fmla="*/ 0 h 14"/>
              <a:gd name="T2" fmla="*/ 12 w 15"/>
              <a:gd name="T3" fmla="*/ 14 h 14"/>
              <a:gd name="T4" fmla="*/ 4 w 15"/>
              <a:gd name="T5" fmla="*/ 0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5" h="14">
                <a:moveTo>
                  <a:pt x="4" y="0"/>
                </a:moveTo>
                <a:cubicBezTo>
                  <a:pt x="0" y="11"/>
                  <a:pt x="12" y="14"/>
                  <a:pt x="12" y="14"/>
                </a:cubicBezTo>
                <a:cubicBezTo>
                  <a:pt x="12" y="14"/>
                  <a:pt x="15" y="3"/>
                  <a:pt x="4" y="0"/>
                </a:cubicBezTo>
                <a:close/>
              </a:path>
            </a:pathLst>
          </a:custGeom>
          <a:solidFill>
            <a:srgbClr val="B7516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349" name="Freeform 8471"/>
          <p:cNvSpPr>
            <a:spLocks/>
          </p:cNvSpPr>
          <p:nvPr/>
        </p:nvSpPr>
        <p:spPr bwMode="auto">
          <a:xfrm>
            <a:off x="8175626" y="4535488"/>
            <a:ext cx="31750" cy="33338"/>
          </a:xfrm>
          <a:custGeom>
            <a:avLst/>
            <a:gdLst>
              <a:gd name="T0" fmla="*/ 0 w 16"/>
              <a:gd name="T1" fmla="*/ 10 h 17"/>
              <a:gd name="T2" fmla="*/ 16 w 16"/>
              <a:gd name="T3" fmla="*/ 6 h 17"/>
              <a:gd name="T4" fmla="*/ 0 w 16"/>
              <a:gd name="T5" fmla="*/ 10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6" h="17">
                <a:moveTo>
                  <a:pt x="0" y="10"/>
                </a:moveTo>
                <a:cubicBezTo>
                  <a:pt x="9" y="17"/>
                  <a:pt x="16" y="6"/>
                  <a:pt x="16" y="6"/>
                </a:cubicBezTo>
                <a:cubicBezTo>
                  <a:pt x="16" y="6"/>
                  <a:pt x="6" y="0"/>
                  <a:pt x="0" y="10"/>
                </a:cubicBezTo>
                <a:close/>
              </a:path>
            </a:pathLst>
          </a:custGeom>
          <a:solidFill>
            <a:srgbClr val="B7516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350" name="Oval 8472"/>
          <p:cNvSpPr>
            <a:spLocks noChangeArrowheads="1"/>
          </p:cNvSpPr>
          <p:nvPr/>
        </p:nvSpPr>
        <p:spPr bwMode="auto">
          <a:xfrm>
            <a:off x="8174038" y="4543425"/>
            <a:ext cx="6350" cy="3175"/>
          </a:xfrm>
          <a:prstGeom prst="ellipse">
            <a:avLst/>
          </a:prstGeom>
          <a:solidFill>
            <a:srgbClr val="E79B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351" name="Freeform 8473"/>
          <p:cNvSpPr>
            <a:spLocks/>
          </p:cNvSpPr>
          <p:nvPr/>
        </p:nvSpPr>
        <p:spPr bwMode="auto">
          <a:xfrm>
            <a:off x="8164513" y="4546600"/>
            <a:ext cx="4763" cy="6350"/>
          </a:xfrm>
          <a:custGeom>
            <a:avLst/>
            <a:gdLst>
              <a:gd name="T0" fmla="*/ 2 w 2"/>
              <a:gd name="T1" fmla="*/ 0 h 3"/>
              <a:gd name="T2" fmla="*/ 0 w 2"/>
              <a:gd name="T3" fmla="*/ 1 h 3"/>
              <a:gd name="T4" fmla="*/ 0 w 2"/>
              <a:gd name="T5" fmla="*/ 3 h 3"/>
              <a:gd name="T6" fmla="*/ 2 w 2"/>
              <a:gd name="T7" fmla="*/ 2 h 3"/>
              <a:gd name="T8" fmla="*/ 2 w 2"/>
              <a:gd name="T9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" h="3">
                <a:moveTo>
                  <a:pt x="2" y="0"/>
                </a:moveTo>
                <a:cubicBezTo>
                  <a:pt x="1" y="0"/>
                  <a:pt x="0" y="1"/>
                  <a:pt x="0" y="1"/>
                </a:cubicBezTo>
                <a:cubicBezTo>
                  <a:pt x="0" y="2"/>
                  <a:pt x="0" y="3"/>
                  <a:pt x="0" y="3"/>
                </a:cubicBezTo>
                <a:cubicBezTo>
                  <a:pt x="1" y="3"/>
                  <a:pt x="1" y="3"/>
                  <a:pt x="2" y="2"/>
                </a:cubicBezTo>
                <a:cubicBezTo>
                  <a:pt x="2" y="1"/>
                  <a:pt x="2" y="0"/>
                  <a:pt x="2" y="0"/>
                </a:cubicBezTo>
                <a:close/>
              </a:path>
            </a:pathLst>
          </a:custGeom>
          <a:solidFill>
            <a:srgbClr val="E79B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352" name="Freeform 8474"/>
          <p:cNvSpPr>
            <a:spLocks/>
          </p:cNvSpPr>
          <p:nvPr/>
        </p:nvSpPr>
        <p:spPr bwMode="auto">
          <a:xfrm>
            <a:off x="8164513" y="4559300"/>
            <a:ext cx="7938" cy="4763"/>
          </a:xfrm>
          <a:custGeom>
            <a:avLst/>
            <a:gdLst>
              <a:gd name="T0" fmla="*/ 1 w 4"/>
              <a:gd name="T1" fmla="*/ 1 h 3"/>
              <a:gd name="T2" fmla="*/ 1 w 4"/>
              <a:gd name="T3" fmla="*/ 2 h 3"/>
              <a:gd name="T4" fmla="*/ 3 w 4"/>
              <a:gd name="T5" fmla="*/ 3 h 3"/>
              <a:gd name="T6" fmla="*/ 3 w 4"/>
              <a:gd name="T7" fmla="*/ 1 h 3"/>
              <a:gd name="T8" fmla="*/ 1 w 4"/>
              <a:gd name="T9" fmla="*/ 1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" h="3">
                <a:moveTo>
                  <a:pt x="1" y="1"/>
                </a:moveTo>
                <a:cubicBezTo>
                  <a:pt x="0" y="1"/>
                  <a:pt x="1" y="2"/>
                  <a:pt x="1" y="2"/>
                </a:cubicBezTo>
                <a:cubicBezTo>
                  <a:pt x="2" y="3"/>
                  <a:pt x="3" y="3"/>
                  <a:pt x="3" y="3"/>
                </a:cubicBezTo>
                <a:cubicBezTo>
                  <a:pt x="4" y="2"/>
                  <a:pt x="3" y="2"/>
                  <a:pt x="3" y="1"/>
                </a:cubicBezTo>
                <a:cubicBezTo>
                  <a:pt x="2" y="0"/>
                  <a:pt x="1" y="0"/>
                  <a:pt x="1" y="1"/>
                </a:cubicBezTo>
                <a:close/>
              </a:path>
            </a:pathLst>
          </a:custGeom>
          <a:solidFill>
            <a:srgbClr val="E79B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353" name="Freeform 8475"/>
          <p:cNvSpPr>
            <a:spLocks/>
          </p:cNvSpPr>
          <p:nvPr/>
        </p:nvSpPr>
        <p:spPr bwMode="auto">
          <a:xfrm>
            <a:off x="8175626" y="4560888"/>
            <a:ext cx="7938" cy="6350"/>
          </a:xfrm>
          <a:custGeom>
            <a:avLst/>
            <a:gdLst>
              <a:gd name="T0" fmla="*/ 2 w 4"/>
              <a:gd name="T1" fmla="*/ 1 h 3"/>
              <a:gd name="T2" fmla="*/ 1 w 4"/>
              <a:gd name="T3" fmla="*/ 2 h 3"/>
              <a:gd name="T4" fmla="*/ 3 w 4"/>
              <a:gd name="T5" fmla="*/ 2 h 3"/>
              <a:gd name="T6" fmla="*/ 3 w 4"/>
              <a:gd name="T7" fmla="*/ 1 h 3"/>
              <a:gd name="T8" fmla="*/ 2 w 4"/>
              <a:gd name="T9" fmla="*/ 1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" h="3">
                <a:moveTo>
                  <a:pt x="2" y="1"/>
                </a:moveTo>
                <a:cubicBezTo>
                  <a:pt x="1" y="1"/>
                  <a:pt x="0" y="2"/>
                  <a:pt x="1" y="2"/>
                </a:cubicBezTo>
                <a:cubicBezTo>
                  <a:pt x="1" y="3"/>
                  <a:pt x="2" y="3"/>
                  <a:pt x="3" y="2"/>
                </a:cubicBezTo>
                <a:cubicBezTo>
                  <a:pt x="3" y="2"/>
                  <a:pt x="4" y="1"/>
                  <a:pt x="3" y="1"/>
                </a:cubicBezTo>
                <a:cubicBezTo>
                  <a:pt x="3" y="0"/>
                  <a:pt x="2" y="0"/>
                  <a:pt x="2" y="1"/>
                </a:cubicBezTo>
                <a:close/>
              </a:path>
            </a:pathLst>
          </a:custGeom>
          <a:solidFill>
            <a:srgbClr val="E79B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354" name="Freeform 8476"/>
          <p:cNvSpPr>
            <a:spLocks/>
          </p:cNvSpPr>
          <p:nvPr/>
        </p:nvSpPr>
        <p:spPr bwMode="auto">
          <a:xfrm>
            <a:off x="8183563" y="4549775"/>
            <a:ext cx="4763" cy="7938"/>
          </a:xfrm>
          <a:custGeom>
            <a:avLst/>
            <a:gdLst>
              <a:gd name="T0" fmla="*/ 0 w 2"/>
              <a:gd name="T1" fmla="*/ 0 h 4"/>
              <a:gd name="T2" fmla="*/ 0 w 2"/>
              <a:gd name="T3" fmla="*/ 2 h 4"/>
              <a:gd name="T4" fmla="*/ 1 w 2"/>
              <a:gd name="T5" fmla="*/ 4 h 4"/>
              <a:gd name="T6" fmla="*/ 2 w 2"/>
              <a:gd name="T7" fmla="*/ 2 h 4"/>
              <a:gd name="T8" fmla="*/ 0 w 2"/>
              <a:gd name="T9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" h="4">
                <a:moveTo>
                  <a:pt x="0" y="0"/>
                </a:moveTo>
                <a:cubicBezTo>
                  <a:pt x="0" y="1"/>
                  <a:pt x="0" y="1"/>
                  <a:pt x="0" y="2"/>
                </a:cubicBezTo>
                <a:cubicBezTo>
                  <a:pt x="0" y="3"/>
                  <a:pt x="1" y="4"/>
                  <a:pt x="1" y="4"/>
                </a:cubicBezTo>
                <a:cubicBezTo>
                  <a:pt x="2" y="3"/>
                  <a:pt x="2" y="3"/>
                  <a:pt x="2" y="2"/>
                </a:cubicBezTo>
                <a:cubicBezTo>
                  <a:pt x="1" y="1"/>
                  <a:pt x="1" y="0"/>
                  <a:pt x="0" y="0"/>
                </a:cubicBezTo>
                <a:close/>
              </a:path>
            </a:pathLst>
          </a:custGeom>
          <a:solidFill>
            <a:srgbClr val="E79B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355" name="Freeform 8477"/>
          <p:cNvSpPr>
            <a:spLocks/>
          </p:cNvSpPr>
          <p:nvPr/>
        </p:nvSpPr>
        <p:spPr bwMode="auto">
          <a:xfrm>
            <a:off x="8174038" y="4552950"/>
            <a:ext cx="4763" cy="4763"/>
          </a:xfrm>
          <a:custGeom>
            <a:avLst/>
            <a:gdLst>
              <a:gd name="T0" fmla="*/ 1 w 2"/>
              <a:gd name="T1" fmla="*/ 0 h 2"/>
              <a:gd name="T2" fmla="*/ 0 w 2"/>
              <a:gd name="T3" fmla="*/ 1 h 2"/>
              <a:gd name="T4" fmla="*/ 1 w 2"/>
              <a:gd name="T5" fmla="*/ 2 h 2"/>
              <a:gd name="T6" fmla="*/ 2 w 2"/>
              <a:gd name="T7" fmla="*/ 1 h 2"/>
              <a:gd name="T8" fmla="*/ 1 w 2"/>
              <a:gd name="T9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" h="2">
                <a:moveTo>
                  <a:pt x="1" y="0"/>
                </a:moveTo>
                <a:cubicBezTo>
                  <a:pt x="0" y="0"/>
                  <a:pt x="0" y="0"/>
                  <a:pt x="0" y="1"/>
                </a:cubicBezTo>
                <a:cubicBezTo>
                  <a:pt x="0" y="1"/>
                  <a:pt x="0" y="2"/>
                  <a:pt x="1" y="2"/>
                </a:cubicBezTo>
                <a:cubicBezTo>
                  <a:pt x="1" y="2"/>
                  <a:pt x="2" y="2"/>
                  <a:pt x="2" y="1"/>
                </a:cubicBezTo>
                <a:cubicBezTo>
                  <a:pt x="2" y="0"/>
                  <a:pt x="1" y="0"/>
                  <a:pt x="1" y="0"/>
                </a:cubicBezTo>
                <a:close/>
              </a:path>
            </a:pathLst>
          </a:custGeom>
          <a:solidFill>
            <a:srgbClr val="E79B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356" name="Freeform 8478"/>
          <p:cNvSpPr>
            <a:spLocks/>
          </p:cNvSpPr>
          <p:nvPr/>
        </p:nvSpPr>
        <p:spPr bwMode="auto">
          <a:xfrm>
            <a:off x="8108951" y="4546600"/>
            <a:ext cx="33338" cy="31750"/>
          </a:xfrm>
          <a:custGeom>
            <a:avLst/>
            <a:gdLst>
              <a:gd name="T0" fmla="*/ 6 w 17"/>
              <a:gd name="T1" fmla="*/ 0 h 16"/>
              <a:gd name="T2" fmla="*/ 9 w 17"/>
              <a:gd name="T3" fmla="*/ 16 h 16"/>
              <a:gd name="T4" fmla="*/ 6 w 17"/>
              <a:gd name="T5" fmla="*/ 0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7" h="16">
                <a:moveTo>
                  <a:pt x="6" y="0"/>
                </a:moveTo>
                <a:cubicBezTo>
                  <a:pt x="6" y="0"/>
                  <a:pt x="0" y="10"/>
                  <a:pt x="9" y="16"/>
                </a:cubicBezTo>
                <a:cubicBezTo>
                  <a:pt x="17" y="8"/>
                  <a:pt x="6" y="0"/>
                  <a:pt x="6" y="0"/>
                </a:cubicBezTo>
                <a:close/>
              </a:path>
            </a:pathLst>
          </a:custGeom>
          <a:solidFill>
            <a:srgbClr val="CC627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357" name="Freeform 8479"/>
          <p:cNvSpPr>
            <a:spLocks/>
          </p:cNvSpPr>
          <p:nvPr/>
        </p:nvSpPr>
        <p:spPr bwMode="auto">
          <a:xfrm>
            <a:off x="8094663" y="4560888"/>
            <a:ext cx="31750" cy="30163"/>
          </a:xfrm>
          <a:custGeom>
            <a:avLst/>
            <a:gdLst>
              <a:gd name="T0" fmla="*/ 0 w 16"/>
              <a:gd name="T1" fmla="*/ 7 h 16"/>
              <a:gd name="T2" fmla="*/ 16 w 16"/>
              <a:gd name="T3" fmla="*/ 9 h 16"/>
              <a:gd name="T4" fmla="*/ 0 w 16"/>
              <a:gd name="T5" fmla="*/ 7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6" h="16">
                <a:moveTo>
                  <a:pt x="0" y="7"/>
                </a:moveTo>
                <a:cubicBezTo>
                  <a:pt x="0" y="7"/>
                  <a:pt x="7" y="16"/>
                  <a:pt x="16" y="9"/>
                </a:cubicBezTo>
                <a:cubicBezTo>
                  <a:pt x="10" y="0"/>
                  <a:pt x="0" y="7"/>
                  <a:pt x="0" y="7"/>
                </a:cubicBezTo>
                <a:close/>
              </a:path>
            </a:pathLst>
          </a:custGeom>
          <a:solidFill>
            <a:srgbClr val="CC627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358" name="Freeform 8480"/>
          <p:cNvSpPr>
            <a:spLocks/>
          </p:cNvSpPr>
          <p:nvPr/>
        </p:nvSpPr>
        <p:spPr bwMode="auto">
          <a:xfrm>
            <a:off x="8104188" y="4578350"/>
            <a:ext cx="30163" cy="30163"/>
          </a:xfrm>
          <a:custGeom>
            <a:avLst/>
            <a:gdLst>
              <a:gd name="T0" fmla="*/ 4 w 15"/>
              <a:gd name="T1" fmla="*/ 16 h 16"/>
              <a:gd name="T2" fmla="*/ 11 w 15"/>
              <a:gd name="T3" fmla="*/ 0 h 16"/>
              <a:gd name="T4" fmla="*/ 4 w 15"/>
              <a:gd name="T5" fmla="*/ 16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5" h="16">
                <a:moveTo>
                  <a:pt x="4" y="16"/>
                </a:moveTo>
                <a:cubicBezTo>
                  <a:pt x="4" y="16"/>
                  <a:pt x="15" y="12"/>
                  <a:pt x="11" y="0"/>
                </a:cubicBezTo>
                <a:cubicBezTo>
                  <a:pt x="0" y="3"/>
                  <a:pt x="4" y="16"/>
                  <a:pt x="4" y="16"/>
                </a:cubicBezTo>
                <a:close/>
              </a:path>
            </a:pathLst>
          </a:custGeom>
          <a:solidFill>
            <a:srgbClr val="CC627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359" name="Freeform 8481"/>
          <p:cNvSpPr>
            <a:spLocks/>
          </p:cNvSpPr>
          <p:nvPr/>
        </p:nvSpPr>
        <p:spPr bwMode="auto">
          <a:xfrm>
            <a:off x="8124826" y="4578350"/>
            <a:ext cx="23813" cy="23813"/>
          </a:xfrm>
          <a:custGeom>
            <a:avLst/>
            <a:gdLst>
              <a:gd name="T0" fmla="*/ 1 w 13"/>
              <a:gd name="T1" fmla="*/ 0 h 12"/>
              <a:gd name="T2" fmla="*/ 13 w 13"/>
              <a:gd name="T3" fmla="*/ 12 h 12"/>
              <a:gd name="T4" fmla="*/ 1 w 13"/>
              <a:gd name="T5" fmla="*/ 0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3" h="12">
                <a:moveTo>
                  <a:pt x="1" y="0"/>
                </a:moveTo>
                <a:cubicBezTo>
                  <a:pt x="0" y="12"/>
                  <a:pt x="13" y="12"/>
                  <a:pt x="13" y="12"/>
                </a:cubicBezTo>
                <a:cubicBezTo>
                  <a:pt x="13" y="12"/>
                  <a:pt x="13" y="0"/>
                  <a:pt x="1" y="0"/>
                </a:cubicBezTo>
                <a:close/>
              </a:path>
            </a:pathLst>
          </a:custGeom>
          <a:solidFill>
            <a:srgbClr val="CC627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360" name="Freeform 8482"/>
          <p:cNvSpPr>
            <a:spLocks/>
          </p:cNvSpPr>
          <p:nvPr/>
        </p:nvSpPr>
        <p:spPr bwMode="auto">
          <a:xfrm>
            <a:off x="8126413" y="4557713"/>
            <a:ext cx="28575" cy="30163"/>
          </a:xfrm>
          <a:custGeom>
            <a:avLst/>
            <a:gdLst>
              <a:gd name="T0" fmla="*/ 0 w 15"/>
              <a:gd name="T1" fmla="*/ 11 h 16"/>
              <a:gd name="T2" fmla="*/ 15 w 15"/>
              <a:gd name="T3" fmla="*/ 4 h 16"/>
              <a:gd name="T4" fmla="*/ 0 w 15"/>
              <a:gd name="T5" fmla="*/ 11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5" h="16">
                <a:moveTo>
                  <a:pt x="0" y="11"/>
                </a:moveTo>
                <a:cubicBezTo>
                  <a:pt x="11" y="16"/>
                  <a:pt x="15" y="4"/>
                  <a:pt x="15" y="4"/>
                </a:cubicBezTo>
                <a:cubicBezTo>
                  <a:pt x="15" y="4"/>
                  <a:pt x="4" y="0"/>
                  <a:pt x="0" y="11"/>
                </a:cubicBezTo>
                <a:close/>
              </a:path>
            </a:pathLst>
          </a:custGeom>
          <a:solidFill>
            <a:srgbClr val="CC627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361" name="Freeform 8483"/>
          <p:cNvSpPr>
            <a:spLocks/>
          </p:cNvSpPr>
          <p:nvPr/>
        </p:nvSpPr>
        <p:spPr bwMode="auto">
          <a:xfrm>
            <a:off x="8121651" y="4567238"/>
            <a:ext cx="6350" cy="3175"/>
          </a:xfrm>
          <a:custGeom>
            <a:avLst/>
            <a:gdLst>
              <a:gd name="T0" fmla="*/ 1 w 3"/>
              <a:gd name="T1" fmla="*/ 0 h 2"/>
              <a:gd name="T2" fmla="*/ 0 w 3"/>
              <a:gd name="T3" fmla="*/ 2 h 2"/>
              <a:gd name="T4" fmla="*/ 2 w 3"/>
              <a:gd name="T5" fmla="*/ 2 h 2"/>
              <a:gd name="T6" fmla="*/ 3 w 3"/>
              <a:gd name="T7" fmla="*/ 1 h 2"/>
              <a:gd name="T8" fmla="*/ 1 w 3"/>
              <a:gd name="T9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" h="2">
                <a:moveTo>
                  <a:pt x="1" y="0"/>
                </a:moveTo>
                <a:cubicBezTo>
                  <a:pt x="1" y="1"/>
                  <a:pt x="0" y="1"/>
                  <a:pt x="0" y="2"/>
                </a:cubicBezTo>
                <a:cubicBezTo>
                  <a:pt x="0" y="2"/>
                  <a:pt x="1" y="2"/>
                  <a:pt x="2" y="2"/>
                </a:cubicBezTo>
                <a:cubicBezTo>
                  <a:pt x="3" y="2"/>
                  <a:pt x="3" y="1"/>
                  <a:pt x="3" y="1"/>
                </a:cubicBezTo>
                <a:cubicBezTo>
                  <a:pt x="3" y="0"/>
                  <a:pt x="2" y="0"/>
                  <a:pt x="1" y="0"/>
                </a:cubicBezTo>
                <a:close/>
              </a:path>
            </a:pathLst>
          </a:custGeom>
          <a:solidFill>
            <a:srgbClr val="E782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362" name="Freeform 8484"/>
          <p:cNvSpPr>
            <a:spLocks/>
          </p:cNvSpPr>
          <p:nvPr/>
        </p:nvSpPr>
        <p:spPr bwMode="auto">
          <a:xfrm>
            <a:off x="8113713" y="4575175"/>
            <a:ext cx="4763" cy="4763"/>
          </a:xfrm>
          <a:custGeom>
            <a:avLst/>
            <a:gdLst>
              <a:gd name="T0" fmla="*/ 1 w 2"/>
              <a:gd name="T1" fmla="*/ 0 h 3"/>
              <a:gd name="T2" fmla="*/ 0 w 2"/>
              <a:gd name="T3" fmla="*/ 1 h 3"/>
              <a:gd name="T4" fmla="*/ 1 w 2"/>
              <a:gd name="T5" fmla="*/ 3 h 3"/>
              <a:gd name="T6" fmla="*/ 2 w 2"/>
              <a:gd name="T7" fmla="*/ 2 h 3"/>
              <a:gd name="T8" fmla="*/ 1 w 2"/>
              <a:gd name="T9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" h="3">
                <a:moveTo>
                  <a:pt x="1" y="0"/>
                </a:moveTo>
                <a:cubicBezTo>
                  <a:pt x="1" y="0"/>
                  <a:pt x="0" y="1"/>
                  <a:pt x="0" y="1"/>
                </a:cubicBezTo>
                <a:cubicBezTo>
                  <a:pt x="0" y="2"/>
                  <a:pt x="0" y="3"/>
                  <a:pt x="1" y="3"/>
                </a:cubicBezTo>
                <a:cubicBezTo>
                  <a:pt x="1" y="3"/>
                  <a:pt x="2" y="2"/>
                  <a:pt x="2" y="2"/>
                </a:cubicBezTo>
                <a:cubicBezTo>
                  <a:pt x="2" y="1"/>
                  <a:pt x="2" y="0"/>
                  <a:pt x="1" y="0"/>
                </a:cubicBezTo>
                <a:close/>
              </a:path>
            </a:pathLst>
          </a:custGeom>
          <a:solidFill>
            <a:srgbClr val="E782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363" name="Freeform 8485"/>
          <p:cNvSpPr>
            <a:spLocks/>
          </p:cNvSpPr>
          <p:nvPr/>
        </p:nvSpPr>
        <p:spPr bwMode="auto">
          <a:xfrm>
            <a:off x="8118476" y="4586288"/>
            <a:ext cx="6350" cy="3175"/>
          </a:xfrm>
          <a:custGeom>
            <a:avLst/>
            <a:gdLst>
              <a:gd name="T0" fmla="*/ 2 w 3"/>
              <a:gd name="T1" fmla="*/ 0 h 2"/>
              <a:gd name="T2" fmla="*/ 0 w 3"/>
              <a:gd name="T3" fmla="*/ 0 h 2"/>
              <a:gd name="T4" fmla="*/ 1 w 3"/>
              <a:gd name="T5" fmla="*/ 2 h 2"/>
              <a:gd name="T6" fmla="*/ 3 w 3"/>
              <a:gd name="T7" fmla="*/ 2 h 2"/>
              <a:gd name="T8" fmla="*/ 2 w 3"/>
              <a:gd name="T9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" h="2">
                <a:moveTo>
                  <a:pt x="2" y="0"/>
                </a:moveTo>
                <a:cubicBezTo>
                  <a:pt x="1" y="0"/>
                  <a:pt x="0" y="0"/>
                  <a:pt x="0" y="0"/>
                </a:cubicBezTo>
                <a:cubicBezTo>
                  <a:pt x="0" y="1"/>
                  <a:pt x="1" y="1"/>
                  <a:pt x="1" y="2"/>
                </a:cubicBezTo>
                <a:cubicBezTo>
                  <a:pt x="2" y="2"/>
                  <a:pt x="3" y="2"/>
                  <a:pt x="3" y="2"/>
                </a:cubicBezTo>
                <a:cubicBezTo>
                  <a:pt x="3" y="1"/>
                  <a:pt x="3" y="1"/>
                  <a:pt x="2" y="0"/>
                </a:cubicBezTo>
                <a:close/>
              </a:path>
            </a:pathLst>
          </a:custGeom>
          <a:solidFill>
            <a:srgbClr val="E782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364" name="Freeform 8486"/>
          <p:cNvSpPr>
            <a:spLocks/>
          </p:cNvSpPr>
          <p:nvPr/>
        </p:nvSpPr>
        <p:spPr bwMode="auto">
          <a:xfrm>
            <a:off x="8129588" y="4584700"/>
            <a:ext cx="6350" cy="4763"/>
          </a:xfrm>
          <a:custGeom>
            <a:avLst/>
            <a:gdLst>
              <a:gd name="T0" fmla="*/ 1 w 3"/>
              <a:gd name="T1" fmla="*/ 1 h 3"/>
              <a:gd name="T2" fmla="*/ 1 w 3"/>
              <a:gd name="T3" fmla="*/ 2 h 3"/>
              <a:gd name="T4" fmla="*/ 2 w 3"/>
              <a:gd name="T5" fmla="*/ 2 h 3"/>
              <a:gd name="T6" fmla="*/ 3 w 3"/>
              <a:gd name="T7" fmla="*/ 0 h 3"/>
              <a:gd name="T8" fmla="*/ 1 w 3"/>
              <a:gd name="T9" fmla="*/ 1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" h="3">
                <a:moveTo>
                  <a:pt x="1" y="1"/>
                </a:moveTo>
                <a:cubicBezTo>
                  <a:pt x="1" y="1"/>
                  <a:pt x="0" y="2"/>
                  <a:pt x="1" y="2"/>
                </a:cubicBezTo>
                <a:cubicBezTo>
                  <a:pt x="1" y="3"/>
                  <a:pt x="2" y="3"/>
                  <a:pt x="2" y="2"/>
                </a:cubicBezTo>
                <a:cubicBezTo>
                  <a:pt x="3" y="1"/>
                  <a:pt x="3" y="0"/>
                  <a:pt x="3" y="0"/>
                </a:cubicBezTo>
                <a:cubicBezTo>
                  <a:pt x="3" y="0"/>
                  <a:pt x="2" y="0"/>
                  <a:pt x="1" y="1"/>
                </a:cubicBezTo>
                <a:close/>
              </a:path>
            </a:pathLst>
          </a:custGeom>
          <a:solidFill>
            <a:srgbClr val="E782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365" name="Freeform 8487"/>
          <p:cNvSpPr>
            <a:spLocks/>
          </p:cNvSpPr>
          <p:nvPr/>
        </p:nvSpPr>
        <p:spPr bwMode="auto">
          <a:xfrm>
            <a:off x="8134351" y="4572000"/>
            <a:ext cx="3175" cy="6350"/>
          </a:xfrm>
          <a:custGeom>
            <a:avLst/>
            <a:gdLst>
              <a:gd name="T0" fmla="*/ 0 w 2"/>
              <a:gd name="T1" fmla="*/ 0 h 3"/>
              <a:gd name="T2" fmla="*/ 0 w 2"/>
              <a:gd name="T3" fmla="*/ 2 h 3"/>
              <a:gd name="T4" fmla="*/ 2 w 2"/>
              <a:gd name="T5" fmla="*/ 3 h 3"/>
              <a:gd name="T6" fmla="*/ 2 w 2"/>
              <a:gd name="T7" fmla="*/ 1 h 3"/>
              <a:gd name="T8" fmla="*/ 0 w 2"/>
              <a:gd name="T9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" h="3">
                <a:moveTo>
                  <a:pt x="0" y="0"/>
                </a:moveTo>
                <a:cubicBezTo>
                  <a:pt x="0" y="0"/>
                  <a:pt x="0" y="1"/>
                  <a:pt x="0" y="2"/>
                </a:cubicBezTo>
                <a:cubicBezTo>
                  <a:pt x="1" y="2"/>
                  <a:pt x="1" y="3"/>
                  <a:pt x="2" y="3"/>
                </a:cubicBezTo>
                <a:cubicBezTo>
                  <a:pt x="2" y="2"/>
                  <a:pt x="2" y="2"/>
                  <a:pt x="2" y="1"/>
                </a:cubicBezTo>
                <a:cubicBezTo>
                  <a:pt x="1" y="0"/>
                  <a:pt x="1" y="0"/>
                  <a:pt x="0" y="0"/>
                </a:cubicBezTo>
                <a:close/>
              </a:path>
            </a:pathLst>
          </a:custGeom>
          <a:solidFill>
            <a:srgbClr val="E782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366" name="Freeform 8488"/>
          <p:cNvSpPr>
            <a:spLocks/>
          </p:cNvSpPr>
          <p:nvPr/>
        </p:nvSpPr>
        <p:spPr bwMode="auto">
          <a:xfrm>
            <a:off x="8124826" y="4576763"/>
            <a:ext cx="3175" cy="4763"/>
          </a:xfrm>
          <a:custGeom>
            <a:avLst/>
            <a:gdLst>
              <a:gd name="T0" fmla="*/ 1 w 2"/>
              <a:gd name="T1" fmla="*/ 1 h 3"/>
              <a:gd name="T2" fmla="*/ 0 w 2"/>
              <a:gd name="T3" fmla="*/ 2 h 3"/>
              <a:gd name="T4" fmla="*/ 1 w 2"/>
              <a:gd name="T5" fmla="*/ 2 h 3"/>
              <a:gd name="T6" fmla="*/ 2 w 2"/>
              <a:gd name="T7" fmla="*/ 1 h 3"/>
              <a:gd name="T8" fmla="*/ 1 w 2"/>
              <a:gd name="T9" fmla="*/ 1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" h="3">
                <a:moveTo>
                  <a:pt x="1" y="1"/>
                </a:moveTo>
                <a:cubicBezTo>
                  <a:pt x="1" y="1"/>
                  <a:pt x="0" y="1"/>
                  <a:pt x="0" y="2"/>
                </a:cubicBezTo>
                <a:cubicBezTo>
                  <a:pt x="0" y="2"/>
                  <a:pt x="1" y="3"/>
                  <a:pt x="1" y="2"/>
                </a:cubicBezTo>
                <a:cubicBezTo>
                  <a:pt x="2" y="2"/>
                  <a:pt x="2" y="2"/>
                  <a:pt x="2" y="1"/>
                </a:cubicBezTo>
                <a:cubicBezTo>
                  <a:pt x="2" y="1"/>
                  <a:pt x="2" y="0"/>
                  <a:pt x="1" y="1"/>
                </a:cubicBezTo>
                <a:close/>
              </a:path>
            </a:pathLst>
          </a:custGeom>
          <a:solidFill>
            <a:srgbClr val="E782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367" name="Freeform 8489"/>
          <p:cNvSpPr>
            <a:spLocks/>
          </p:cNvSpPr>
          <p:nvPr/>
        </p:nvSpPr>
        <p:spPr bwMode="auto">
          <a:xfrm>
            <a:off x="8026401" y="4522788"/>
            <a:ext cx="31750" cy="31750"/>
          </a:xfrm>
          <a:custGeom>
            <a:avLst/>
            <a:gdLst>
              <a:gd name="T0" fmla="*/ 8 w 17"/>
              <a:gd name="T1" fmla="*/ 17 h 17"/>
              <a:gd name="T2" fmla="*/ 9 w 17"/>
              <a:gd name="T3" fmla="*/ 0 h 17"/>
              <a:gd name="T4" fmla="*/ 8 w 17"/>
              <a:gd name="T5" fmla="*/ 17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7" h="17">
                <a:moveTo>
                  <a:pt x="8" y="17"/>
                </a:moveTo>
                <a:cubicBezTo>
                  <a:pt x="17" y="10"/>
                  <a:pt x="9" y="0"/>
                  <a:pt x="9" y="0"/>
                </a:cubicBezTo>
                <a:cubicBezTo>
                  <a:pt x="9" y="0"/>
                  <a:pt x="0" y="8"/>
                  <a:pt x="8" y="17"/>
                </a:cubicBezTo>
                <a:close/>
              </a:path>
            </a:pathLst>
          </a:custGeom>
          <a:solidFill>
            <a:srgbClr val="B7516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368" name="Freeform 8490"/>
          <p:cNvSpPr>
            <a:spLocks/>
          </p:cNvSpPr>
          <p:nvPr/>
        </p:nvSpPr>
        <p:spPr bwMode="auto">
          <a:xfrm>
            <a:off x="8010526" y="4533900"/>
            <a:ext cx="30163" cy="28575"/>
          </a:xfrm>
          <a:custGeom>
            <a:avLst/>
            <a:gdLst>
              <a:gd name="T0" fmla="*/ 0 w 16"/>
              <a:gd name="T1" fmla="*/ 4 h 15"/>
              <a:gd name="T2" fmla="*/ 16 w 16"/>
              <a:gd name="T3" fmla="*/ 11 h 15"/>
              <a:gd name="T4" fmla="*/ 0 w 16"/>
              <a:gd name="T5" fmla="*/ 4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6" h="15">
                <a:moveTo>
                  <a:pt x="0" y="4"/>
                </a:moveTo>
                <a:cubicBezTo>
                  <a:pt x="0" y="4"/>
                  <a:pt x="5" y="15"/>
                  <a:pt x="16" y="11"/>
                </a:cubicBezTo>
                <a:cubicBezTo>
                  <a:pt x="12" y="0"/>
                  <a:pt x="0" y="4"/>
                  <a:pt x="0" y="4"/>
                </a:cubicBezTo>
                <a:close/>
              </a:path>
            </a:pathLst>
          </a:custGeom>
          <a:solidFill>
            <a:srgbClr val="B7516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369" name="Freeform 8491"/>
          <p:cNvSpPr>
            <a:spLocks/>
          </p:cNvSpPr>
          <p:nvPr/>
        </p:nvSpPr>
        <p:spPr bwMode="auto">
          <a:xfrm>
            <a:off x="8018463" y="4554538"/>
            <a:ext cx="22225" cy="23813"/>
          </a:xfrm>
          <a:custGeom>
            <a:avLst/>
            <a:gdLst>
              <a:gd name="T0" fmla="*/ 1 w 12"/>
              <a:gd name="T1" fmla="*/ 12 h 12"/>
              <a:gd name="T2" fmla="*/ 12 w 12"/>
              <a:gd name="T3" fmla="*/ 0 h 12"/>
              <a:gd name="T4" fmla="*/ 1 w 12"/>
              <a:gd name="T5" fmla="*/ 12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2" h="12">
                <a:moveTo>
                  <a:pt x="1" y="12"/>
                </a:moveTo>
                <a:cubicBezTo>
                  <a:pt x="1" y="12"/>
                  <a:pt x="12" y="11"/>
                  <a:pt x="12" y="0"/>
                </a:cubicBezTo>
                <a:cubicBezTo>
                  <a:pt x="0" y="0"/>
                  <a:pt x="1" y="12"/>
                  <a:pt x="1" y="12"/>
                </a:cubicBezTo>
                <a:close/>
              </a:path>
            </a:pathLst>
          </a:custGeom>
          <a:solidFill>
            <a:srgbClr val="B7516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370" name="Freeform 8492"/>
          <p:cNvSpPr>
            <a:spLocks/>
          </p:cNvSpPr>
          <p:nvPr/>
        </p:nvSpPr>
        <p:spPr bwMode="auto">
          <a:xfrm>
            <a:off x="8032751" y="4554538"/>
            <a:ext cx="30163" cy="26988"/>
          </a:xfrm>
          <a:custGeom>
            <a:avLst/>
            <a:gdLst>
              <a:gd name="T0" fmla="*/ 4 w 15"/>
              <a:gd name="T1" fmla="*/ 0 h 14"/>
              <a:gd name="T2" fmla="*/ 12 w 15"/>
              <a:gd name="T3" fmla="*/ 14 h 14"/>
              <a:gd name="T4" fmla="*/ 4 w 15"/>
              <a:gd name="T5" fmla="*/ 0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5" h="14">
                <a:moveTo>
                  <a:pt x="4" y="0"/>
                </a:moveTo>
                <a:cubicBezTo>
                  <a:pt x="0" y="11"/>
                  <a:pt x="12" y="14"/>
                  <a:pt x="12" y="14"/>
                </a:cubicBezTo>
                <a:cubicBezTo>
                  <a:pt x="12" y="14"/>
                  <a:pt x="15" y="3"/>
                  <a:pt x="4" y="0"/>
                </a:cubicBezTo>
                <a:close/>
              </a:path>
            </a:pathLst>
          </a:custGeom>
          <a:solidFill>
            <a:srgbClr val="B7516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371" name="Freeform 8493"/>
          <p:cNvSpPr>
            <a:spLocks/>
          </p:cNvSpPr>
          <p:nvPr/>
        </p:nvSpPr>
        <p:spPr bwMode="auto">
          <a:xfrm>
            <a:off x="8040688" y="4535488"/>
            <a:ext cx="31750" cy="33338"/>
          </a:xfrm>
          <a:custGeom>
            <a:avLst/>
            <a:gdLst>
              <a:gd name="T0" fmla="*/ 0 w 16"/>
              <a:gd name="T1" fmla="*/ 10 h 17"/>
              <a:gd name="T2" fmla="*/ 16 w 16"/>
              <a:gd name="T3" fmla="*/ 6 h 17"/>
              <a:gd name="T4" fmla="*/ 0 w 16"/>
              <a:gd name="T5" fmla="*/ 10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6" h="17">
                <a:moveTo>
                  <a:pt x="0" y="10"/>
                </a:moveTo>
                <a:cubicBezTo>
                  <a:pt x="9" y="17"/>
                  <a:pt x="16" y="6"/>
                  <a:pt x="16" y="6"/>
                </a:cubicBezTo>
                <a:cubicBezTo>
                  <a:pt x="16" y="6"/>
                  <a:pt x="6" y="0"/>
                  <a:pt x="0" y="10"/>
                </a:cubicBezTo>
                <a:close/>
              </a:path>
            </a:pathLst>
          </a:custGeom>
          <a:solidFill>
            <a:srgbClr val="B7516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372" name="Oval 8494"/>
          <p:cNvSpPr>
            <a:spLocks noChangeArrowheads="1"/>
          </p:cNvSpPr>
          <p:nvPr/>
        </p:nvSpPr>
        <p:spPr bwMode="auto">
          <a:xfrm>
            <a:off x="8039101" y="4543425"/>
            <a:ext cx="6350" cy="3175"/>
          </a:xfrm>
          <a:prstGeom prst="ellipse">
            <a:avLst/>
          </a:prstGeom>
          <a:solidFill>
            <a:srgbClr val="E79B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373" name="Freeform 8495"/>
          <p:cNvSpPr>
            <a:spLocks/>
          </p:cNvSpPr>
          <p:nvPr/>
        </p:nvSpPr>
        <p:spPr bwMode="auto">
          <a:xfrm>
            <a:off x="8029576" y="4546600"/>
            <a:ext cx="3175" cy="6350"/>
          </a:xfrm>
          <a:custGeom>
            <a:avLst/>
            <a:gdLst>
              <a:gd name="T0" fmla="*/ 1 w 2"/>
              <a:gd name="T1" fmla="*/ 0 h 3"/>
              <a:gd name="T2" fmla="*/ 0 w 2"/>
              <a:gd name="T3" fmla="*/ 1 h 3"/>
              <a:gd name="T4" fmla="*/ 0 w 2"/>
              <a:gd name="T5" fmla="*/ 3 h 3"/>
              <a:gd name="T6" fmla="*/ 2 w 2"/>
              <a:gd name="T7" fmla="*/ 2 h 3"/>
              <a:gd name="T8" fmla="*/ 1 w 2"/>
              <a:gd name="T9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" h="3">
                <a:moveTo>
                  <a:pt x="1" y="0"/>
                </a:moveTo>
                <a:cubicBezTo>
                  <a:pt x="1" y="0"/>
                  <a:pt x="0" y="0"/>
                  <a:pt x="0" y="1"/>
                </a:cubicBezTo>
                <a:cubicBezTo>
                  <a:pt x="0" y="2"/>
                  <a:pt x="0" y="3"/>
                  <a:pt x="0" y="3"/>
                </a:cubicBezTo>
                <a:cubicBezTo>
                  <a:pt x="1" y="3"/>
                  <a:pt x="1" y="3"/>
                  <a:pt x="2" y="2"/>
                </a:cubicBezTo>
                <a:cubicBezTo>
                  <a:pt x="2" y="1"/>
                  <a:pt x="2" y="0"/>
                  <a:pt x="1" y="0"/>
                </a:cubicBezTo>
                <a:close/>
              </a:path>
            </a:pathLst>
          </a:custGeom>
          <a:solidFill>
            <a:srgbClr val="E79B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374" name="Freeform 8496"/>
          <p:cNvSpPr>
            <a:spLocks/>
          </p:cNvSpPr>
          <p:nvPr/>
        </p:nvSpPr>
        <p:spPr bwMode="auto">
          <a:xfrm>
            <a:off x="8029576" y="4559300"/>
            <a:ext cx="7938" cy="4763"/>
          </a:xfrm>
          <a:custGeom>
            <a:avLst/>
            <a:gdLst>
              <a:gd name="T0" fmla="*/ 1 w 4"/>
              <a:gd name="T1" fmla="*/ 1 h 3"/>
              <a:gd name="T2" fmla="*/ 1 w 4"/>
              <a:gd name="T3" fmla="*/ 2 h 3"/>
              <a:gd name="T4" fmla="*/ 3 w 4"/>
              <a:gd name="T5" fmla="*/ 3 h 3"/>
              <a:gd name="T6" fmla="*/ 3 w 4"/>
              <a:gd name="T7" fmla="*/ 1 h 3"/>
              <a:gd name="T8" fmla="*/ 1 w 4"/>
              <a:gd name="T9" fmla="*/ 1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" h="3">
                <a:moveTo>
                  <a:pt x="1" y="1"/>
                </a:moveTo>
                <a:cubicBezTo>
                  <a:pt x="0" y="1"/>
                  <a:pt x="1" y="2"/>
                  <a:pt x="1" y="2"/>
                </a:cubicBezTo>
                <a:cubicBezTo>
                  <a:pt x="2" y="3"/>
                  <a:pt x="3" y="3"/>
                  <a:pt x="3" y="3"/>
                </a:cubicBezTo>
                <a:cubicBezTo>
                  <a:pt x="4" y="2"/>
                  <a:pt x="3" y="1"/>
                  <a:pt x="3" y="1"/>
                </a:cubicBezTo>
                <a:cubicBezTo>
                  <a:pt x="2" y="0"/>
                  <a:pt x="1" y="0"/>
                  <a:pt x="1" y="1"/>
                </a:cubicBezTo>
                <a:close/>
              </a:path>
            </a:pathLst>
          </a:custGeom>
          <a:solidFill>
            <a:srgbClr val="E79B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375" name="Freeform 8497"/>
          <p:cNvSpPr>
            <a:spLocks/>
          </p:cNvSpPr>
          <p:nvPr/>
        </p:nvSpPr>
        <p:spPr bwMode="auto">
          <a:xfrm>
            <a:off x="8040688" y="4560888"/>
            <a:ext cx="7938" cy="6350"/>
          </a:xfrm>
          <a:custGeom>
            <a:avLst/>
            <a:gdLst>
              <a:gd name="T0" fmla="*/ 2 w 4"/>
              <a:gd name="T1" fmla="*/ 1 h 3"/>
              <a:gd name="T2" fmla="*/ 1 w 4"/>
              <a:gd name="T3" fmla="*/ 2 h 3"/>
              <a:gd name="T4" fmla="*/ 2 w 4"/>
              <a:gd name="T5" fmla="*/ 2 h 3"/>
              <a:gd name="T6" fmla="*/ 3 w 4"/>
              <a:gd name="T7" fmla="*/ 1 h 3"/>
              <a:gd name="T8" fmla="*/ 2 w 4"/>
              <a:gd name="T9" fmla="*/ 1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" h="3">
                <a:moveTo>
                  <a:pt x="2" y="1"/>
                </a:moveTo>
                <a:cubicBezTo>
                  <a:pt x="1" y="1"/>
                  <a:pt x="0" y="2"/>
                  <a:pt x="1" y="2"/>
                </a:cubicBezTo>
                <a:cubicBezTo>
                  <a:pt x="1" y="3"/>
                  <a:pt x="2" y="3"/>
                  <a:pt x="2" y="2"/>
                </a:cubicBezTo>
                <a:cubicBezTo>
                  <a:pt x="3" y="2"/>
                  <a:pt x="4" y="1"/>
                  <a:pt x="3" y="1"/>
                </a:cubicBezTo>
                <a:cubicBezTo>
                  <a:pt x="3" y="0"/>
                  <a:pt x="2" y="0"/>
                  <a:pt x="2" y="1"/>
                </a:cubicBezTo>
                <a:close/>
              </a:path>
            </a:pathLst>
          </a:custGeom>
          <a:solidFill>
            <a:srgbClr val="E79B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376" name="Freeform 8498"/>
          <p:cNvSpPr>
            <a:spLocks/>
          </p:cNvSpPr>
          <p:nvPr/>
        </p:nvSpPr>
        <p:spPr bwMode="auto">
          <a:xfrm>
            <a:off x="8048626" y="4549775"/>
            <a:ext cx="4763" cy="7938"/>
          </a:xfrm>
          <a:custGeom>
            <a:avLst/>
            <a:gdLst>
              <a:gd name="T0" fmla="*/ 0 w 2"/>
              <a:gd name="T1" fmla="*/ 0 h 4"/>
              <a:gd name="T2" fmla="*/ 0 w 2"/>
              <a:gd name="T3" fmla="*/ 2 h 4"/>
              <a:gd name="T4" fmla="*/ 1 w 2"/>
              <a:gd name="T5" fmla="*/ 3 h 4"/>
              <a:gd name="T6" fmla="*/ 2 w 2"/>
              <a:gd name="T7" fmla="*/ 2 h 4"/>
              <a:gd name="T8" fmla="*/ 0 w 2"/>
              <a:gd name="T9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" h="4">
                <a:moveTo>
                  <a:pt x="0" y="0"/>
                </a:moveTo>
                <a:cubicBezTo>
                  <a:pt x="0" y="0"/>
                  <a:pt x="0" y="1"/>
                  <a:pt x="0" y="2"/>
                </a:cubicBezTo>
                <a:cubicBezTo>
                  <a:pt x="0" y="3"/>
                  <a:pt x="1" y="4"/>
                  <a:pt x="1" y="3"/>
                </a:cubicBezTo>
                <a:cubicBezTo>
                  <a:pt x="2" y="3"/>
                  <a:pt x="2" y="3"/>
                  <a:pt x="2" y="2"/>
                </a:cubicBezTo>
                <a:cubicBezTo>
                  <a:pt x="1" y="1"/>
                  <a:pt x="1" y="0"/>
                  <a:pt x="0" y="0"/>
                </a:cubicBezTo>
                <a:close/>
              </a:path>
            </a:pathLst>
          </a:custGeom>
          <a:solidFill>
            <a:srgbClr val="E79B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377" name="Freeform 8499"/>
          <p:cNvSpPr>
            <a:spLocks/>
          </p:cNvSpPr>
          <p:nvPr/>
        </p:nvSpPr>
        <p:spPr bwMode="auto">
          <a:xfrm>
            <a:off x="8039101" y="4552950"/>
            <a:ext cx="3175" cy="4763"/>
          </a:xfrm>
          <a:custGeom>
            <a:avLst/>
            <a:gdLst>
              <a:gd name="T0" fmla="*/ 1 w 2"/>
              <a:gd name="T1" fmla="*/ 0 h 2"/>
              <a:gd name="T2" fmla="*/ 0 w 2"/>
              <a:gd name="T3" fmla="*/ 1 h 2"/>
              <a:gd name="T4" fmla="*/ 0 w 2"/>
              <a:gd name="T5" fmla="*/ 2 h 2"/>
              <a:gd name="T6" fmla="*/ 1 w 2"/>
              <a:gd name="T7" fmla="*/ 1 h 2"/>
              <a:gd name="T8" fmla="*/ 1 w 2"/>
              <a:gd name="T9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" h="2">
                <a:moveTo>
                  <a:pt x="1" y="0"/>
                </a:moveTo>
                <a:cubicBezTo>
                  <a:pt x="0" y="0"/>
                  <a:pt x="0" y="0"/>
                  <a:pt x="0" y="1"/>
                </a:cubicBezTo>
                <a:cubicBezTo>
                  <a:pt x="0" y="1"/>
                  <a:pt x="0" y="2"/>
                  <a:pt x="0" y="2"/>
                </a:cubicBezTo>
                <a:cubicBezTo>
                  <a:pt x="1" y="2"/>
                  <a:pt x="1" y="1"/>
                  <a:pt x="1" y="1"/>
                </a:cubicBezTo>
                <a:cubicBezTo>
                  <a:pt x="2" y="0"/>
                  <a:pt x="1" y="0"/>
                  <a:pt x="1" y="0"/>
                </a:cubicBezTo>
                <a:close/>
              </a:path>
            </a:pathLst>
          </a:custGeom>
          <a:solidFill>
            <a:srgbClr val="E79B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378" name="Freeform 8500"/>
          <p:cNvSpPr>
            <a:spLocks/>
          </p:cNvSpPr>
          <p:nvPr/>
        </p:nvSpPr>
        <p:spPr bwMode="auto">
          <a:xfrm>
            <a:off x="8072438" y="4537075"/>
            <a:ext cx="31750" cy="31750"/>
          </a:xfrm>
          <a:custGeom>
            <a:avLst/>
            <a:gdLst>
              <a:gd name="T0" fmla="*/ 7 w 17"/>
              <a:gd name="T1" fmla="*/ 16 h 16"/>
              <a:gd name="T2" fmla="*/ 9 w 17"/>
              <a:gd name="T3" fmla="*/ 0 h 16"/>
              <a:gd name="T4" fmla="*/ 7 w 17"/>
              <a:gd name="T5" fmla="*/ 16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7" h="16">
                <a:moveTo>
                  <a:pt x="7" y="16"/>
                </a:moveTo>
                <a:cubicBezTo>
                  <a:pt x="17" y="10"/>
                  <a:pt x="9" y="0"/>
                  <a:pt x="9" y="0"/>
                </a:cubicBezTo>
                <a:cubicBezTo>
                  <a:pt x="9" y="0"/>
                  <a:pt x="0" y="7"/>
                  <a:pt x="7" y="16"/>
                </a:cubicBezTo>
                <a:close/>
              </a:path>
            </a:pathLst>
          </a:custGeom>
          <a:solidFill>
            <a:srgbClr val="E79B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379" name="Freeform 8501"/>
          <p:cNvSpPr>
            <a:spLocks/>
          </p:cNvSpPr>
          <p:nvPr/>
        </p:nvSpPr>
        <p:spPr bwMode="auto">
          <a:xfrm>
            <a:off x="8056563" y="4546600"/>
            <a:ext cx="28575" cy="31750"/>
          </a:xfrm>
          <a:custGeom>
            <a:avLst/>
            <a:gdLst>
              <a:gd name="T0" fmla="*/ 0 w 15"/>
              <a:gd name="T1" fmla="*/ 5 h 16"/>
              <a:gd name="T2" fmla="*/ 15 w 15"/>
              <a:gd name="T3" fmla="*/ 11 h 16"/>
              <a:gd name="T4" fmla="*/ 0 w 15"/>
              <a:gd name="T5" fmla="*/ 5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5" h="16">
                <a:moveTo>
                  <a:pt x="0" y="5"/>
                </a:moveTo>
                <a:cubicBezTo>
                  <a:pt x="0" y="5"/>
                  <a:pt x="5" y="16"/>
                  <a:pt x="15" y="11"/>
                </a:cubicBezTo>
                <a:cubicBezTo>
                  <a:pt x="12" y="0"/>
                  <a:pt x="0" y="5"/>
                  <a:pt x="0" y="5"/>
                </a:cubicBezTo>
                <a:close/>
              </a:path>
            </a:pathLst>
          </a:custGeom>
          <a:solidFill>
            <a:srgbClr val="E79B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380" name="Freeform 8502"/>
          <p:cNvSpPr>
            <a:spLocks/>
          </p:cNvSpPr>
          <p:nvPr/>
        </p:nvSpPr>
        <p:spPr bwMode="auto">
          <a:xfrm>
            <a:off x="8064501" y="4568825"/>
            <a:ext cx="22225" cy="25400"/>
          </a:xfrm>
          <a:custGeom>
            <a:avLst/>
            <a:gdLst>
              <a:gd name="T0" fmla="*/ 0 w 12"/>
              <a:gd name="T1" fmla="*/ 13 h 13"/>
              <a:gd name="T2" fmla="*/ 11 w 12"/>
              <a:gd name="T3" fmla="*/ 0 h 13"/>
              <a:gd name="T4" fmla="*/ 0 w 12"/>
              <a:gd name="T5" fmla="*/ 13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2" h="13">
                <a:moveTo>
                  <a:pt x="0" y="13"/>
                </a:moveTo>
                <a:cubicBezTo>
                  <a:pt x="0" y="13"/>
                  <a:pt x="12" y="12"/>
                  <a:pt x="11" y="0"/>
                </a:cubicBezTo>
                <a:cubicBezTo>
                  <a:pt x="0" y="0"/>
                  <a:pt x="0" y="13"/>
                  <a:pt x="0" y="13"/>
                </a:cubicBezTo>
                <a:close/>
              </a:path>
            </a:pathLst>
          </a:custGeom>
          <a:solidFill>
            <a:srgbClr val="E79B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381" name="Freeform 8503"/>
          <p:cNvSpPr>
            <a:spLocks/>
          </p:cNvSpPr>
          <p:nvPr/>
        </p:nvSpPr>
        <p:spPr bwMode="auto">
          <a:xfrm>
            <a:off x="8080376" y="4568825"/>
            <a:ext cx="28575" cy="28575"/>
          </a:xfrm>
          <a:custGeom>
            <a:avLst/>
            <a:gdLst>
              <a:gd name="T0" fmla="*/ 3 w 15"/>
              <a:gd name="T1" fmla="*/ 0 h 15"/>
              <a:gd name="T2" fmla="*/ 12 w 15"/>
              <a:gd name="T3" fmla="*/ 15 h 15"/>
              <a:gd name="T4" fmla="*/ 3 w 15"/>
              <a:gd name="T5" fmla="*/ 0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5" h="15">
                <a:moveTo>
                  <a:pt x="3" y="0"/>
                </a:moveTo>
                <a:cubicBezTo>
                  <a:pt x="0" y="11"/>
                  <a:pt x="12" y="15"/>
                  <a:pt x="12" y="15"/>
                </a:cubicBezTo>
                <a:cubicBezTo>
                  <a:pt x="12" y="15"/>
                  <a:pt x="15" y="3"/>
                  <a:pt x="3" y="0"/>
                </a:cubicBezTo>
                <a:close/>
              </a:path>
            </a:pathLst>
          </a:custGeom>
          <a:solidFill>
            <a:srgbClr val="E79B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382" name="Freeform 8504"/>
          <p:cNvSpPr>
            <a:spLocks/>
          </p:cNvSpPr>
          <p:nvPr/>
        </p:nvSpPr>
        <p:spPr bwMode="auto">
          <a:xfrm>
            <a:off x="8085138" y="4549775"/>
            <a:ext cx="33338" cy="31750"/>
          </a:xfrm>
          <a:custGeom>
            <a:avLst/>
            <a:gdLst>
              <a:gd name="T0" fmla="*/ 0 w 17"/>
              <a:gd name="T1" fmla="*/ 10 h 17"/>
              <a:gd name="T2" fmla="*/ 17 w 17"/>
              <a:gd name="T3" fmla="*/ 6 h 17"/>
              <a:gd name="T4" fmla="*/ 0 w 17"/>
              <a:gd name="T5" fmla="*/ 10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7" h="17">
                <a:moveTo>
                  <a:pt x="0" y="10"/>
                </a:moveTo>
                <a:cubicBezTo>
                  <a:pt x="10" y="17"/>
                  <a:pt x="17" y="6"/>
                  <a:pt x="17" y="6"/>
                </a:cubicBezTo>
                <a:cubicBezTo>
                  <a:pt x="17" y="6"/>
                  <a:pt x="7" y="0"/>
                  <a:pt x="0" y="10"/>
                </a:cubicBezTo>
                <a:close/>
              </a:path>
            </a:pathLst>
          </a:custGeom>
          <a:solidFill>
            <a:srgbClr val="E79B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383" name="Freeform 8505"/>
          <p:cNvSpPr>
            <a:spLocks/>
          </p:cNvSpPr>
          <p:nvPr/>
        </p:nvSpPr>
        <p:spPr bwMode="auto">
          <a:xfrm>
            <a:off x="8085138" y="4557713"/>
            <a:ext cx="6350" cy="3175"/>
          </a:xfrm>
          <a:custGeom>
            <a:avLst/>
            <a:gdLst>
              <a:gd name="T0" fmla="*/ 1 w 3"/>
              <a:gd name="T1" fmla="*/ 0 h 2"/>
              <a:gd name="T2" fmla="*/ 0 w 3"/>
              <a:gd name="T3" fmla="*/ 1 h 2"/>
              <a:gd name="T4" fmla="*/ 1 w 3"/>
              <a:gd name="T5" fmla="*/ 2 h 2"/>
              <a:gd name="T6" fmla="*/ 3 w 3"/>
              <a:gd name="T7" fmla="*/ 1 h 2"/>
              <a:gd name="T8" fmla="*/ 1 w 3"/>
              <a:gd name="T9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" h="2">
                <a:moveTo>
                  <a:pt x="1" y="0"/>
                </a:moveTo>
                <a:cubicBezTo>
                  <a:pt x="0" y="0"/>
                  <a:pt x="0" y="0"/>
                  <a:pt x="0" y="1"/>
                </a:cubicBezTo>
                <a:cubicBezTo>
                  <a:pt x="0" y="1"/>
                  <a:pt x="0" y="2"/>
                  <a:pt x="1" y="2"/>
                </a:cubicBezTo>
                <a:cubicBezTo>
                  <a:pt x="2" y="2"/>
                  <a:pt x="3" y="2"/>
                  <a:pt x="3" y="1"/>
                </a:cubicBezTo>
                <a:cubicBezTo>
                  <a:pt x="3" y="1"/>
                  <a:pt x="2" y="0"/>
                  <a:pt x="1" y="0"/>
                </a:cubicBezTo>
                <a:close/>
              </a:path>
            </a:pathLst>
          </a:custGeom>
          <a:solidFill>
            <a:srgbClr val="B7516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384" name="Freeform 8506"/>
          <p:cNvSpPr>
            <a:spLocks/>
          </p:cNvSpPr>
          <p:nvPr/>
        </p:nvSpPr>
        <p:spPr bwMode="auto">
          <a:xfrm>
            <a:off x="8075613" y="4560888"/>
            <a:ext cx="4763" cy="7938"/>
          </a:xfrm>
          <a:custGeom>
            <a:avLst/>
            <a:gdLst>
              <a:gd name="T0" fmla="*/ 1 w 2"/>
              <a:gd name="T1" fmla="*/ 0 h 4"/>
              <a:gd name="T2" fmla="*/ 0 w 2"/>
              <a:gd name="T3" fmla="*/ 2 h 4"/>
              <a:gd name="T4" fmla="*/ 0 w 2"/>
              <a:gd name="T5" fmla="*/ 3 h 4"/>
              <a:gd name="T6" fmla="*/ 2 w 2"/>
              <a:gd name="T7" fmla="*/ 2 h 4"/>
              <a:gd name="T8" fmla="*/ 1 w 2"/>
              <a:gd name="T9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" h="4">
                <a:moveTo>
                  <a:pt x="1" y="0"/>
                </a:moveTo>
                <a:cubicBezTo>
                  <a:pt x="1" y="0"/>
                  <a:pt x="0" y="1"/>
                  <a:pt x="0" y="2"/>
                </a:cubicBezTo>
                <a:cubicBezTo>
                  <a:pt x="0" y="2"/>
                  <a:pt x="0" y="3"/>
                  <a:pt x="0" y="3"/>
                </a:cubicBezTo>
                <a:cubicBezTo>
                  <a:pt x="1" y="4"/>
                  <a:pt x="1" y="3"/>
                  <a:pt x="2" y="2"/>
                </a:cubicBezTo>
                <a:cubicBezTo>
                  <a:pt x="2" y="1"/>
                  <a:pt x="2" y="1"/>
                  <a:pt x="1" y="0"/>
                </a:cubicBezTo>
                <a:close/>
              </a:path>
            </a:pathLst>
          </a:custGeom>
          <a:solidFill>
            <a:srgbClr val="B7516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385" name="Freeform 8507"/>
          <p:cNvSpPr>
            <a:spLocks/>
          </p:cNvSpPr>
          <p:nvPr/>
        </p:nvSpPr>
        <p:spPr bwMode="auto">
          <a:xfrm>
            <a:off x="8075613" y="4575175"/>
            <a:ext cx="6350" cy="3175"/>
          </a:xfrm>
          <a:custGeom>
            <a:avLst/>
            <a:gdLst>
              <a:gd name="T0" fmla="*/ 1 w 3"/>
              <a:gd name="T1" fmla="*/ 0 h 2"/>
              <a:gd name="T2" fmla="*/ 1 w 3"/>
              <a:gd name="T3" fmla="*/ 2 h 2"/>
              <a:gd name="T4" fmla="*/ 3 w 3"/>
              <a:gd name="T5" fmla="*/ 2 h 2"/>
              <a:gd name="T6" fmla="*/ 2 w 3"/>
              <a:gd name="T7" fmla="*/ 0 h 2"/>
              <a:gd name="T8" fmla="*/ 1 w 3"/>
              <a:gd name="T9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" h="2">
                <a:moveTo>
                  <a:pt x="1" y="0"/>
                </a:moveTo>
                <a:cubicBezTo>
                  <a:pt x="0" y="0"/>
                  <a:pt x="1" y="1"/>
                  <a:pt x="1" y="2"/>
                </a:cubicBezTo>
                <a:cubicBezTo>
                  <a:pt x="2" y="2"/>
                  <a:pt x="3" y="2"/>
                  <a:pt x="3" y="2"/>
                </a:cubicBezTo>
                <a:cubicBezTo>
                  <a:pt x="3" y="2"/>
                  <a:pt x="3" y="1"/>
                  <a:pt x="2" y="0"/>
                </a:cubicBezTo>
                <a:cubicBezTo>
                  <a:pt x="2" y="0"/>
                  <a:pt x="1" y="0"/>
                  <a:pt x="1" y="0"/>
                </a:cubicBezTo>
                <a:close/>
              </a:path>
            </a:pathLst>
          </a:custGeom>
          <a:solidFill>
            <a:srgbClr val="B7516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386" name="Freeform 8508"/>
          <p:cNvSpPr>
            <a:spLocks/>
          </p:cNvSpPr>
          <p:nvPr/>
        </p:nvSpPr>
        <p:spPr bwMode="auto">
          <a:xfrm>
            <a:off x="8086726" y="4575175"/>
            <a:ext cx="7938" cy="4763"/>
          </a:xfrm>
          <a:custGeom>
            <a:avLst/>
            <a:gdLst>
              <a:gd name="T0" fmla="*/ 1 w 4"/>
              <a:gd name="T1" fmla="*/ 1 h 3"/>
              <a:gd name="T2" fmla="*/ 1 w 4"/>
              <a:gd name="T3" fmla="*/ 3 h 3"/>
              <a:gd name="T4" fmla="*/ 2 w 4"/>
              <a:gd name="T5" fmla="*/ 3 h 3"/>
              <a:gd name="T6" fmla="*/ 3 w 4"/>
              <a:gd name="T7" fmla="*/ 1 h 3"/>
              <a:gd name="T8" fmla="*/ 1 w 4"/>
              <a:gd name="T9" fmla="*/ 1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" h="3">
                <a:moveTo>
                  <a:pt x="1" y="1"/>
                </a:moveTo>
                <a:cubicBezTo>
                  <a:pt x="1" y="1"/>
                  <a:pt x="0" y="2"/>
                  <a:pt x="1" y="3"/>
                </a:cubicBezTo>
                <a:cubicBezTo>
                  <a:pt x="1" y="3"/>
                  <a:pt x="2" y="3"/>
                  <a:pt x="2" y="3"/>
                </a:cubicBezTo>
                <a:cubicBezTo>
                  <a:pt x="3" y="2"/>
                  <a:pt x="4" y="1"/>
                  <a:pt x="3" y="1"/>
                </a:cubicBezTo>
                <a:cubicBezTo>
                  <a:pt x="3" y="0"/>
                  <a:pt x="2" y="1"/>
                  <a:pt x="1" y="1"/>
                </a:cubicBezTo>
                <a:close/>
              </a:path>
            </a:pathLst>
          </a:custGeom>
          <a:solidFill>
            <a:srgbClr val="B7516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387" name="Freeform 8509"/>
          <p:cNvSpPr>
            <a:spLocks/>
          </p:cNvSpPr>
          <p:nvPr/>
        </p:nvSpPr>
        <p:spPr bwMode="auto">
          <a:xfrm>
            <a:off x="8093076" y="4564063"/>
            <a:ext cx="6350" cy="6350"/>
          </a:xfrm>
          <a:custGeom>
            <a:avLst/>
            <a:gdLst>
              <a:gd name="T0" fmla="*/ 1 w 3"/>
              <a:gd name="T1" fmla="*/ 0 h 3"/>
              <a:gd name="T2" fmla="*/ 1 w 3"/>
              <a:gd name="T3" fmla="*/ 1 h 3"/>
              <a:gd name="T4" fmla="*/ 2 w 3"/>
              <a:gd name="T5" fmla="*/ 3 h 3"/>
              <a:gd name="T6" fmla="*/ 2 w 3"/>
              <a:gd name="T7" fmla="*/ 1 h 3"/>
              <a:gd name="T8" fmla="*/ 1 w 3"/>
              <a:gd name="T9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" h="3">
                <a:moveTo>
                  <a:pt x="1" y="0"/>
                </a:moveTo>
                <a:cubicBezTo>
                  <a:pt x="1" y="0"/>
                  <a:pt x="0" y="1"/>
                  <a:pt x="1" y="1"/>
                </a:cubicBezTo>
                <a:cubicBezTo>
                  <a:pt x="1" y="2"/>
                  <a:pt x="2" y="3"/>
                  <a:pt x="2" y="3"/>
                </a:cubicBezTo>
                <a:cubicBezTo>
                  <a:pt x="2" y="3"/>
                  <a:pt x="3" y="2"/>
                  <a:pt x="2" y="1"/>
                </a:cubicBezTo>
                <a:cubicBezTo>
                  <a:pt x="2" y="0"/>
                  <a:pt x="2" y="0"/>
                  <a:pt x="1" y="0"/>
                </a:cubicBezTo>
                <a:close/>
              </a:path>
            </a:pathLst>
          </a:custGeom>
          <a:solidFill>
            <a:srgbClr val="B7516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388" name="Freeform 8510"/>
          <p:cNvSpPr>
            <a:spLocks/>
          </p:cNvSpPr>
          <p:nvPr/>
        </p:nvSpPr>
        <p:spPr bwMode="auto">
          <a:xfrm>
            <a:off x="8083551" y="4567238"/>
            <a:ext cx="3175" cy="3175"/>
          </a:xfrm>
          <a:custGeom>
            <a:avLst/>
            <a:gdLst>
              <a:gd name="T0" fmla="*/ 2 w 2"/>
              <a:gd name="T1" fmla="*/ 0 h 2"/>
              <a:gd name="T2" fmla="*/ 1 w 2"/>
              <a:gd name="T3" fmla="*/ 1 h 2"/>
              <a:gd name="T4" fmla="*/ 1 w 2"/>
              <a:gd name="T5" fmla="*/ 2 h 2"/>
              <a:gd name="T6" fmla="*/ 2 w 2"/>
              <a:gd name="T7" fmla="*/ 1 h 2"/>
              <a:gd name="T8" fmla="*/ 2 w 2"/>
              <a:gd name="T9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" h="2">
                <a:moveTo>
                  <a:pt x="2" y="0"/>
                </a:moveTo>
                <a:cubicBezTo>
                  <a:pt x="1" y="0"/>
                  <a:pt x="1" y="1"/>
                  <a:pt x="1" y="1"/>
                </a:cubicBezTo>
                <a:cubicBezTo>
                  <a:pt x="0" y="2"/>
                  <a:pt x="1" y="2"/>
                  <a:pt x="1" y="2"/>
                </a:cubicBezTo>
                <a:cubicBezTo>
                  <a:pt x="2" y="2"/>
                  <a:pt x="2" y="2"/>
                  <a:pt x="2" y="1"/>
                </a:cubicBezTo>
                <a:cubicBezTo>
                  <a:pt x="2" y="1"/>
                  <a:pt x="2" y="0"/>
                  <a:pt x="2" y="0"/>
                </a:cubicBezTo>
                <a:close/>
              </a:path>
            </a:pathLst>
          </a:custGeom>
          <a:solidFill>
            <a:srgbClr val="B7516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389" name="Freeform 8511"/>
          <p:cNvSpPr>
            <a:spLocks/>
          </p:cNvSpPr>
          <p:nvPr/>
        </p:nvSpPr>
        <p:spPr bwMode="auto">
          <a:xfrm>
            <a:off x="8439151" y="4586288"/>
            <a:ext cx="33338" cy="30163"/>
          </a:xfrm>
          <a:custGeom>
            <a:avLst/>
            <a:gdLst>
              <a:gd name="T0" fmla="*/ 8 w 17"/>
              <a:gd name="T1" fmla="*/ 0 h 16"/>
              <a:gd name="T2" fmla="*/ 10 w 17"/>
              <a:gd name="T3" fmla="*/ 16 h 16"/>
              <a:gd name="T4" fmla="*/ 8 w 17"/>
              <a:gd name="T5" fmla="*/ 0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7" h="16">
                <a:moveTo>
                  <a:pt x="8" y="0"/>
                </a:moveTo>
                <a:cubicBezTo>
                  <a:pt x="0" y="8"/>
                  <a:pt x="10" y="16"/>
                  <a:pt x="10" y="16"/>
                </a:cubicBezTo>
                <a:cubicBezTo>
                  <a:pt x="10" y="16"/>
                  <a:pt x="17" y="7"/>
                  <a:pt x="8" y="0"/>
                </a:cubicBezTo>
                <a:close/>
              </a:path>
            </a:pathLst>
          </a:custGeom>
          <a:solidFill>
            <a:srgbClr val="6FA53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390" name="Freeform 8512"/>
          <p:cNvSpPr>
            <a:spLocks/>
          </p:cNvSpPr>
          <p:nvPr/>
        </p:nvSpPr>
        <p:spPr bwMode="auto">
          <a:xfrm>
            <a:off x="8447088" y="4586288"/>
            <a:ext cx="17463" cy="19050"/>
          </a:xfrm>
          <a:custGeom>
            <a:avLst/>
            <a:gdLst>
              <a:gd name="T0" fmla="*/ 5 w 9"/>
              <a:gd name="T1" fmla="*/ 10 h 10"/>
              <a:gd name="T2" fmla="*/ 4 w 9"/>
              <a:gd name="T3" fmla="*/ 0 h 10"/>
              <a:gd name="T4" fmla="*/ 5 w 9"/>
              <a:gd name="T5" fmla="*/ 10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9" h="10">
                <a:moveTo>
                  <a:pt x="5" y="10"/>
                </a:moveTo>
                <a:cubicBezTo>
                  <a:pt x="5" y="10"/>
                  <a:pt x="9" y="4"/>
                  <a:pt x="4" y="0"/>
                </a:cubicBezTo>
                <a:cubicBezTo>
                  <a:pt x="0" y="5"/>
                  <a:pt x="5" y="10"/>
                  <a:pt x="5" y="10"/>
                </a:cubicBezTo>
                <a:close/>
              </a:path>
            </a:pathLst>
          </a:custGeom>
          <a:solidFill>
            <a:srgbClr val="84C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391" name="Freeform 8513"/>
          <p:cNvSpPr>
            <a:spLocks/>
          </p:cNvSpPr>
          <p:nvPr/>
        </p:nvSpPr>
        <p:spPr bwMode="auto">
          <a:xfrm>
            <a:off x="8334376" y="4530725"/>
            <a:ext cx="25400" cy="23813"/>
          </a:xfrm>
          <a:custGeom>
            <a:avLst/>
            <a:gdLst>
              <a:gd name="T0" fmla="*/ 0 w 13"/>
              <a:gd name="T1" fmla="*/ 1 h 13"/>
              <a:gd name="T2" fmla="*/ 13 w 13"/>
              <a:gd name="T3" fmla="*/ 12 h 13"/>
              <a:gd name="T4" fmla="*/ 0 w 13"/>
              <a:gd name="T5" fmla="*/ 1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3" h="13">
                <a:moveTo>
                  <a:pt x="0" y="1"/>
                </a:moveTo>
                <a:cubicBezTo>
                  <a:pt x="0" y="1"/>
                  <a:pt x="1" y="13"/>
                  <a:pt x="13" y="12"/>
                </a:cubicBezTo>
                <a:cubicBezTo>
                  <a:pt x="13" y="0"/>
                  <a:pt x="0" y="1"/>
                  <a:pt x="0" y="1"/>
                </a:cubicBezTo>
                <a:close/>
              </a:path>
            </a:pathLst>
          </a:custGeom>
          <a:solidFill>
            <a:srgbClr val="6FA53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392" name="Freeform 8514"/>
          <p:cNvSpPr>
            <a:spLocks/>
          </p:cNvSpPr>
          <p:nvPr/>
        </p:nvSpPr>
        <p:spPr bwMode="auto">
          <a:xfrm>
            <a:off x="8343901" y="4540250"/>
            <a:ext cx="14288" cy="12700"/>
          </a:xfrm>
          <a:custGeom>
            <a:avLst/>
            <a:gdLst>
              <a:gd name="T0" fmla="*/ 0 w 7"/>
              <a:gd name="T1" fmla="*/ 0 h 7"/>
              <a:gd name="T2" fmla="*/ 7 w 7"/>
              <a:gd name="T3" fmla="*/ 7 h 7"/>
              <a:gd name="T4" fmla="*/ 0 w 7"/>
              <a:gd name="T5" fmla="*/ 0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7" h="7">
                <a:moveTo>
                  <a:pt x="0" y="0"/>
                </a:moveTo>
                <a:cubicBezTo>
                  <a:pt x="0" y="0"/>
                  <a:pt x="1" y="7"/>
                  <a:pt x="7" y="7"/>
                </a:cubicBezTo>
                <a:cubicBezTo>
                  <a:pt x="7" y="0"/>
                  <a:pt x="0" y="0"/>
                  <a:pt x="0" y="0"/>
                </a:cubicBezTo>
                <a:close/>
              </a:path>
            </a:pathLst>
          </a:custGeom>
          <a:solidFill>
            <a:srgbClr val="84C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393" name="Freeform 8515"/>
          <p:cNvSpPr>
            <a:spLocks/>
          </p:cNvSpPr>
          <p:nvPr/>
        </p:nvSpPr>
        <p:spPr bwMode="auto">
          <a:xfrm>
            <a:off x="8340726" y="4518025"/>
            <a:ext cx="30163" cy="31750"/>
          </a:xfrm>
          <a:custGeom>
            <a:avLst/>
            <a:gdLst>
              <a:gd name="T0" fmla="*/ 5 w 16"/>
              <a:gd name="T1" fmla="*/ 0 h 16"/>
              <a:gd name="T2" fmla="*/ 10 w 16"/>
              <a:gd name="T3" fmla="*/ 16 h 16"/>
              <a:gd name="T4" fmla="*/ 5 w 16"/>
              <a:gd name="T5" fmla="*/ 0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6" h="16">
                <a:moveTo>
                  <a:pt x="5" y="0"/>
                </a:moveTo>
                <a:cubicBezTo>
                  <a:pt x="5" y="0"/>
                  <a:pt x="0" y="10"/>
                  <a:pt x="10" y="16"/>
                </a:cubicBezTo>
                <a:cubicBezTo>
                  <a:pt x="16" y="6"/>
                  <a:pt x="5" y="0"/>
                  <a:pt x="5" y="0"/>
                </a:cubicBezTo>
                <a:close/>
              </a:path>
            </a:pathLst>
          </a:custGeom>
          <a:solidFill>
            <a:srgbClr val="6FA53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394" name="Freeform 8516"/>
          <p:cNvSpPr>
            <a:spLocks/>
          </p:cNvSpPr>
          <p:nvPr/>
        </p:nvSpPr>
        <p:spPr bwMode="auto">
          <a:xfrm>
            <a:off x="8348663" y="4527550"/>
            <a:ext cx="17463" cy="22225"/>
          </a:xfrm>
          <a:custGeom>
            <a:avLst/>
            <a:gdLst>
              <a:gd name="T0" fmla="*/ 3 w 9"/>
              <a:gd name="T1" fmla="*/ 0 h 11"/>
              <a:gd name="T2" fmla="*/ 6 w 9"/>
              <a:gd name="T3" fmla="*/ 11 h 11"/>
              <a:gd name="T4" fmla="*/ 3 w 9"/>
              <a:gd name="T5" fmla="*/ 0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9" h="11">
                <a:moveTo>
                  <a:pt x="3" y="0"/>
                </a:moveTo>
                <a:cubicBezTo>
                  <a:pt x="3" y="0"/>
                  <a:pt x="0" y="7"/>
                  <a:pt x="6" y="11"/>
                </a:cubicBezTo>
                <a:cubicBezTo>
                  <a:pt x="9" y="5"/>
                  <a:pt x="3" y="0"/>
                  <a:pt x="3" y="0"/>
                </a:cubicBezTo>
                <a:close/>
              </a:path>
            </a:pathLst>
          </a:custGeom>
          <a:solidFill>
            <a:srgbClr val="84C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395" name="Freeform 8517"/>
          <p:cNvSpPr>
            <a:spLocks/>
          </p:cNvSpPr>
          <p:nvPr/>
        </p:nvSpPr>
        <p:spPr bwMode="auto">
          <a:xfrm>
            <a:off x="8458201" y="4530725"/>
            <a:ext cx="26988" cy="26988"/>
          </a:xfrm>
          <a:custGeom>
            <a:avLst/>
            <a:gdLst>
              <a:gd name="T0" fmla="*/ 2 w 14"/>
              <a:gd name="T1" fmla="*/ 14 h 14"/>
              <a:gd name="T2" fmla="*/ 11 w 14"/>
              <a:gd name="T3" fmla="*/ 0 h 14"/>
              <a:gd name="T4" fmla="*/ 2 w 14"/>
              <a:gd name="T5" fmla="*/ 14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4" h="14">
                <a:moveTo>
                  <a:pt x="2" y="14"/>
                </a:moveTo>
                <a:cubicBezTo>
                  <a:pt x="14" y="13"/>
                  <a:pt x="11" y="0"/>
                  <a:pt x="11" y="0"/>
                </a:cubicBezTo>
                <a:cubicBezTo>
                  <a:pt x="11" y="0"/>
                  <a:pt x="0" y="3"/>
                  <a:pt x="2" y="14"/>
                </a:cubicBezTo>
                <a:close/>
              </a:path>
            </a:pathLst>
          </a:custGeom>
          <a:solidFill>
            <a:srgbClr val="6FA53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396" name="Freeform 8518"/>
          <p:cNvSpPr>
            <a:spLocks/>
          </p:cNvSpPr>
          <p:nvPr/>
        </p:nvSpPr>
        <p:spPr bwMode="auto">
          <a:xfrm>
            <a:off x="8459788" y="4540250"/>
            <a:ext cx="15875" cy="17463"/>
          </a:xfrm>
          <a:custGeom>
            <a:avLst/>
            <a:gdLst>
              <a:gd name="T0" fmla="*/ 1 w 8"/>
              <a:gd name="T1" fmla="*/ 9 h 9"/>
              <a:gd name="T2" fmla="*/ 7 w 8"/>
              <a:gd name="T3" fmla="*/ 0 h 9"/>
              <a:gd name="T4" fmla="*/ 1 w 8"/>
              <a:gd name="T5" fmla="*/ 9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8" h="9">
                <a:moveTo>
                  <a:pt x="1" y="9"/>
                </a:moveTo>
                <a:cubicBezTo>
                  <a:pt x="8" y="8"/>
                  <a:pt x="7" y="0"/>
                  <a:pt x="7" y="0"/>
                </a:cubicBezTo>
                <a:cubicBezTo>
                  <a:pt x="7" y="0"/>
                  <a:pt x="0" y="2"/>
                  <a:pt x="1" y="9"/>
                </a:cubicBezTo>
                <a:close/>
              </a:path>
            </a:pathLst>
          </a:custGeom>
          <a:solidFill>
            <a:srgbClr val="84C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397" name="Freeform 8519"/>
          <p:cNvSpPr>
            <a:spLocks/>
          </p:cNvSpPr>
          <p:nvPr/>
        </p:nvSpPr>
        <p:spPr bwMode="auto">
          <a:xfrm>
            <a:off x="8466138" y="4535488"/>
            <a:ext cx="28575" cy="31750"/>
          </a:xfrm>
          <a:custGeom>
            <a:avLst/>
            <a:gdLst>
              <a:gd name="T0" fmla="*/ 0 w 15"/>
              <a:gd name="T1" fmla="*/ 11 h 16"/>
              <a:gd name="T2" fmla="*/ 15 w 15"/>
              <a:gd name="T3" fmla="*/ 4 h 16"/>
              <a:gd name="T4" fmla="*/ 0 w 15"/>
              <a:gd name="T5" fmla="*/ 11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5" h="16">
                <a:moveTo>
                  <a:pt x="0" y="11"/>
                </a:moveTo>
                <a:cubicBezTo>
                  <a:pt x="11" y="16"/>
                  <a:pt x="15" y="4"/>
                  <a:pt x="15" y="4"/>
                </a:cubicBezTo>
                <a:cubicBezTo>
                  <a:pt x="15" y="4"/>
                  <a:pt x="4" y="0"/>
                  <a:pt x="0" y="11"/>
                </a:cubicBezTo>
                <a:close/>
              </a:path>
            </a:pathLst>
          </a:custGeom>
          <a:solidFill>
            <a:srgbClr val="6FA53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398" name="Freeform 8520"/>
          <p:cNvSpPr>
            <a:spLocks/>
          </p:cNvSpPr>
          <p:nvPr/>
        </p:nvSpPr>
        <p:spPr bwMode="auto">
          <a:xfrm>
            <a:off x="8466138" y="4545013"/>
            <a:ext cx="19050" cy="15875"/>
          </a:xfrm>
          <a:custGeom>
            <a:avLst/>
            <a:gdLst>
              <a:gd name="T0" fmla="*/ 0 w 10"/>
              <a:gd name="T1" fmla="*/ 6 h 8"/>
              <a:gd name="T2" fmla="*/ 10 w 10"/>
              <a:gd name="T3" fmla="*/ 2 h 8"/>
              <a:gd name="T4" fmla="*/ 0 w 10"/>
              <a:gd name="T5" fmla="*/ 6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0" h="8">
                <a:moveTo>
                  <a:pt x="0" y="6"/>
                </a:moveTo>
                <a:cubicBezTo>
                  <a:pt x="7" y="8"/>
                  <a:pt x="10" y="2"/>
                  <a:pt x="10" y="2"/>
                </a:cubicBezTo>
                <a:cubicBezTo>
                  <a:pt x="10" y="2"/>
                  <a:pt x="3" y="0"/>
                  <a:pt x="0" y="6"/>
                </a:cubicBezTo>
                <a:close/>
              </a:path>
            </a:pathLst>
          </a:custGeom>
          <a:solidFill>
            <a:srgbClr val="84C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399" name="Freeform 8521"/>
          <p:cNvSpPr>
            <a:spLocks/>
          </p:cNvSpPr>
          <p:nvPr/>
        </p:nvSpPr>
        <p:spPr bwMode="auto">
          <a:xfrm>
            <a:off x="8362951" y="4533900"/>
            <a:ext cx="33338" cy="30163"/>
          </a:xfrm>
          <a:custGeom>
            <a:avLst/>
            <a:gdLst>
              <a:gd name="T0" fmla="*/ 6 w 17"/>
              <a:gd name="T1" fmla="*/ 16 h 16"/>
              <a:gd name="T2" fmla="*/ 10 w 17"/>
              <a:gd name="T3" fmla="*/ 0 h 16"/>
              <a:gd name="T4" fmla="*/ 6 w 17"/>
              <a:gd name="T5" fmla="*/ 16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7" h="16">
                <a:moveTo>
                  <a:pt x="6" y="16"/>
                </a:moveTo>
                <a:cubicBezTo>
                  <a:pt x="17" y="11"/>
                  <a:pt x="10" y="0"/>
                  <a:pt x="10" y="0"/>
                </a:cubicBezTo>
                <a:cubicBezTo>
                  <a:pt x="10" y="0"/>
                  <a:pt x="0" y="6"/>
                  <a:pt x="6" y="16"/>
                </a:cubicBezTo>
                <a:close/>
              </a:path>
            </a:pathLst>
          </a:custGeom>
          <a:solidFill>
            <a:srgbClr val="6FA53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400" name="Freeform 8522"/>
          <p:cNvSpPr>
            <a:spLocks/>
          </p:cNvSpPr>
          <p:nvPr/>
        </p:nvSpPr>
        <p:spPr bwMode="auto">
          <a:xfrm>
            <a:off x="8370888" y="4543425"/>
            <a:ext cx="15875" cy="20638"/>
          </a:xfrm>
          <a:custGeom>
            <a:avLst/>
            <a:gdLst>
              <a:gd name="T0" fmla="*/ 3 w 8"/>
              <a:gd name="T1" fmla="*/ 11 h 11"/>
              <a:gd name="T2" fmla="*/ 5 w 8"/>
              <a:gd name="T3" fmla="*/ 0 h 11"/>
              <a:gd name="T4" fmla="*/ 3 w 8"/>
              <a:gd name="T5" fmla="*/ 11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8" h="11">
                <a:moveTo>
                  <a:pt x="3" y="11"/>
                </a:moveTo>
                <a:cubicBezTo>
                  <a:pt x="8" y="7"/>
                  <a:pt x="5" y="0"/>
                  <a:pt x="5" y="0"/>
                </a:cubicBezTo>
                <a:cubicBezTo>
                  <a:pt x="5" y="0"/>
                  <a:pt x="0" y="5"/>
                  <a:pt x="3" y="11"/>
                </a:cubicBezTo>
                <a:close/>
              </a:path>
            </a:pathLst>
          </a:custGeom>
          <a:solidFill>
            <a:srgbClr val="84C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401" name="Freeform 8523"/>
          <p:cNvSpPr>
            <a:spLocks/>
          </p:cNvSpPr>
          <p:nvPr/>
        </p:nvSpPr>
        <p:spPr bwMode="auto">
          <a:xfrm>
            <a:off x="8358188" y="4594225"/>
            <a:ext cx="31750" cy="30163"/>
          </a:xfrm>
          <a:custGeom>
            <a:avLst/>
            <a:gdLst>
              <a:gd name="T0" fmla="*/ 8 w 17"/>
              <a:gd name="T1" fmla="*/ 0 h 16"/>
              <a:gd name="T2" fmla="*/ 11 w 17"/>
              <a:gd name="T3" fmla="*/ 16 h 16"/>
              <a:gd name="T4" fmla="*/ 8 w 17"/>
              <a:gd name="T5" fmla="*/ 0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7" h="16">
                <a:moveTo>
                  <a:pt x="8" y="0"/>
                </a:moveTo>
                <a:cubicBezTo>
                  <a:pt x="0" y="9"/>
                  <a:pt x="11" y="16"/>
                  <a:pt x="11" y="16"/>
                </a:cubicBezTo>
                <a:cubicBezTo>
                  <a:pt x="11" y="16"/>
                  <a:pt x="17" y="6"/>
                  <a:pt x="8" y="0"/>
                </a:cubicBezTo>
                <a:close/>
              </a:path>
            </a:pathLst>
          </a:custGeom>
          <a:solidFill>
            <a:srgbClr val="6FA53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402" name="Freeform 8524"/>
          <p:cNvSpPr>
            <a:spLocks/>
          </p:cNvSpPr>
          <p:nvPr/>
        </p:nvSpPr>
        <p:spPr bwMode="auto">
          <a:xfrm>
            <a:off x="8366126" y="4594225"/>
            <a:ext cx="17463" cy="19050"/>
          </a:xfrm>
          <a:custGeom>
            <a:avLst/>
            <a:gdLst>
              <a:gd name="T0" fmla="*/ 4 w 9"/>
              <a:gd name="T1" fmla="*/ 0 h 10"/>
              <a:gd name="T2" fmla="*/ 6 w 9"/>
              <a:gd name="T3" fmla="*/ 10 h 10"/>
              <a:gd name="T4" fmla="*/ 4 w 9"/>
              <a:gd name="T5" fmla="*/ 0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9" h="10">
                <a:moveTo>
                  <a:pt x="4" y="0"/>
                </a:moveTo>
                <a:cubicBezTo>
                  <a:pt x="0" y="5"/>
                  <a:pt x="6" y="10"/>
                  <a:pt x="6" y="10"/>
                </a:cubicBezTo>
                <a:cubicBezTo>
                  <a:pt x="6" y="10"/>
                  <a:pt x="9" y="4"/>
                  <a:pt x="4" y="0"/>
                </a:cubicBezTo>
                <a:close/>
              </a:path>
            </a:pathLst>
          </a:custGeom>
          <a:solidFill>
            <a:srgbClr val="84C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403" name="Freeform 8525"/>
          <p:cNvSpPr>
            <a:spLocks/>
          </p:cNvSpPr>
          <p:nvPr/>
        </p:nvSpPr>
        <p:spPr bwMode="auto">
          <a:xfrm>
            <a:off x="8375651" y="4591050"/>
            <a:ext cx="25400" cy="23813"/>
          </a:xfrm>
          <a:custGeom>
            <a:avLst/>
            <a:gdLst>
              <a:gd name="T0" fmla="*/ 1 w 13"/>
              <a:gd name="T1" fmla="*/ 0 h 12"/>
              <a:gd name="T2" fmla="*/ 13 w 13"/>
              <a:gd name="T3" fmla="*/ 12 h 12"/>
              <a:gd name="T4" fmla="*/ 1 w 13"/>
              <a:gd name="T5" fmla="*/ 0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3" h="12">
                <a:moveTo>
                  <a:pt x="1" y="0"/>
                </a:moveTo>
                <a:cubicBezTo>
                  <a:pt x="0" y="12"/>
                  <a:pt x="13" y="12"/>
                  <a:pt x="13" y="12"/>
                </a:cubicBezTo>
                <a:cubicBezTo>
                  <a:pt x="13" y="12"/>
                  <a:pt x="13" y="0"/>
                  <a:pt x="1" y="0"/>
                </a:cubicBezTo>
                <a:close/>
              </a:path>
            </a:pathLst>
          </a:custGeom>
          <a:solidFill>
            <a:srgbClr val="6FA53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404" name="Freeform 8526"/>
          <p:cNvSpPr>
            <a:spLocks/>
          </p:cNvSpPr>
          <p:nvPr/>
        </p:nvSpPr>
        <p:spPr bwMode="auto">
          <a:xfrm>
            <a:off x="8377238" y="4594225"/>
            <a:ext cx="15875" cy="12700"/>
          </a:xfrm>
          <a:custGeom>
            <a:avLst/>
            <a:gdLst>
              <a:gd name="T0" fmla="*/ 0 w 8"/>
              <a:gd name="T1" fmla="*/ 0 h 7"/>
              <a:gd name="T2" fmla="*/ 8 w 8"/>
              <a:gd name="T3" fmla="*/ 7 h 7"/>
              <a:gd name="T4" fmla="*/ 0 w 8"/>
              <a:gd name="T5" fmla="*/ 0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8" h="7">
                <a:moveTo>
                  <a:pt x="0" y="0"/>
                </a:moveTo>
                <a:cubicBezTo>
                  <a:pt x="0" y="6"/>
                  <a:pt x="8" y="7"/>
                  <a:pt x="8" y="7"/>
                </a:cubicBezTo>
                <a:cubicBezTo>
                  <a:pt x="8" y="7"/>
                  <a:pt x="7" y="0"/>
                  <a:pt x="0" y="0"/>
                </a:cubicBezTo>
                <a:close/>
              </a:path>
            </a:pathLst>
          </a:custGeom>
          <a:solidFill>
            <a:srgbClr val="84C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405" name="Freeform 8527"/>
          <p:cNvSpPr>
            <a:spLocks/>
          </p:cNvSpPr>
          <p:nvPr/>
        </p:nvSpPr>
        <p:spPr bwMode="auto">
          <a:xfrm>
            <a:off x="8394701" y="4568825"/>
            <a:ext cx="26988" cy="26988"/>
          </a:xfrm>
          <a:custGeom>
            <a:avLst/>
            <a:gdLst>
              <a:gd name="T0" fmla="*/ 3 w 14"/>
              <a:gd name="T1" fmla="*/ 14 h 14"/>
              <a:gd name="T2" fmla="*/ 11 w 14"/>
              <a:gd name="T3" fmla="*/ 0 h 14"/>
              <a:gd name="T4" fmla="*/ 3 w 14"/>
              <a:gd name="T5" fmla="*/ 14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4" h="14">
                <a:moveTo>
                  <a:pt x="3" y="14"/>
                </a:moveTo>
                <a:cubicBezTo>
                  <a:pt x="3" y="14"/>
                  <a:pt x="14" y="11"/>
                  <a:pt x="11" y="0"/>
                </a:cubicBezTo>
                <a:cubicBezTo>
                  <a:pt x="0" y="2"/>
                  <a:pt x="3" y="14"/>
                  <a:pt x="3" y="14"/>
                </a:cubicBezTo>
                <a:close/>
              </a:path>
            </a:pathLst>
          </a:custGeom>
          <a:solidFill>
            <a:srgbClr val="6FA53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406" name="Freeform 8528"/>
          <p:cNvSpPr>
            <a:spLocks/>
          </p:cNvSpPr>
          <p:nvPr/>
        </p:nvSpPr>
        <p:spPr bwMode="auto">
          <a:xfrm>
            <a:off x="8404226" y="4568825"/>
            <a:ext cx="14288" cy="17463"/>
          </a:xfrm>
          <a:custGeom>
            <a:avLst/>
            <a:gdLst>
              <a:gd name="T0" fmla="*/ 1 w 7"/>
              <a:gd name="T1" fmla="*/ 9 h 9"/>
              <a:gd name="T2" fmla="*/ 6 w 7"/>
              <a:gd name="T3" fmla="*/ 0 h 9"/>
              <a:gd name="T4" fmla="*/ 1 w 7"/>
              <a:gd name="T5" fmla="*/ 9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7" h="9">
                <a:moveTo>
                  <a:pt x="1" y="9"/>
                </a:moveTo>
                <a:cubicBezTo>
                  <a:pt x="1" y="9"/>
                  <a:pt x="7" y="7"/>
                  <a:pt x="6" y="0"/>
                </a:cubicBezTo>
                <a:cubicBezTo>
                  <a:pt x="0" y="2"/>
                  <a:pt x="1" y="9"/>
                  <a:pt x="1" y="9"/>
                </a:cubicBezTo>
                <a:close/>
              </a:path>
            </a:pathLst>
          </a:custGeom>
          <a:solidFill>
            <a:srgbClr val="84C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407" name="Freeform 8529"/>
          <p:cNvSpPr>
            <a:spLocks/>
          </p:cNvSpPr>
          <p:nvPr/>
        </p:nvSpPr>
        <p:spPr bwMode="auto">
          <a:xfrm>
            <a:off x="8405813" y="4572000"/>
            <a:ext cx="31750" cy="30163"/>
          </a:xfrm>
          <a:custGeom>
            <a:avLst/>
            <a:gdLst>
              <a:gd name="T0" fmla="*/ 5 w 16"/>
              <a:gd name="T1" fmla="*/ 0 h 15"/>
              <a:gd name="T2" fmla="*/ 12 w 16"/>
              <a:gd name="T3" fmla="*/ 15 h 15"/>
              <a:gd name="T4" fmla="*/ 5 w 16"/>
              <a:gd name="T5" fmla="*/ 0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6" h="15">
                <a:moveTo>
                  <a:pt x="5" y="0"/>
                </a:moveTo>
                <a:cubicBezTo>
                  <a:pt x="0" y="10"/>
                  <a:pt x="12" y="15"/>
                  <a:pt x="12" y="15"/>
                </a:cubicBezTo>
                <a:cubicBezTo>
                  <a:pt x="12" y="15"/>
                  <a:pt x="16" y="4"/>
                  <a:pt x="5" y="0"/>
                </a:cubicBezTo>
                <a:close/>
              </a:path>
            </a:pathLst>
          </a:custGeom>
          <a:solidFill>
            <a:srgbClr val="6FA53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408" name="Freeform 8530"/>
          <p:cNvSpPr>
            <a:spLocks/>
          </p:cNvSpPr>
          <p:nvPr/>
        </p:nvSpPr>
        <p:spPr bwMode="auto">
          <a:xfrm>
            <a:off x="8412163" y="4572000"/>
            <a:ext cx="17463" cy="19050"/>
          </a:xfrm>
          <a:custGeom>
            <a:avLst/>
            <a:gdLst>
              <a:gd name="T0" fmla="*/ 2 w 9"/>
              <a:gd name="T1" fmla="*/ 0 h 10"/>
              <a:gd name="T2" fmla="*/ 7 w 9"/>
              <a:gd name="T3" fmla="*/ 10 h 10"/>
              <a:gd name="T4" fmla="*/ 2 w 9"/>
              <a:gd name="T5" fmla="*/ 0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9" h="10">
                <a:moveTo>
                  <a:pt x="2" y="0"/>
                </a:moveTo>
                <a:cubicBezTo>
                  <a:pt x="0" y="6"/>
                  <a:pt x="7" y="10"/>
                  <a:pt x="7" y="10"/>
                </a:cubicBezTo>
                <a:cubicBezTo>
                  <a:pt x="7" y="10"/>
                  <a:pt x="9" y="3"/>
                  <a:pt x="2" y="0"/>
                </a:cubicBezTo>
                <a:close/>
              </a:path>
            </a:pathLst>
          </a:custGeom>
          <a:solidFill>
            <a:srgbClr val="84C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409" name="Freeform 8531"/>
          <p:cNvSpPr>
            <a:spLocks/>
          </p:cNvSpPr>
          <p:nvPr/>
        </p:nvSpPr>
        <p:spPr bwMode="auto">
          <a:xfrm>
            <a:off x="8297863" y="4525963"/>
            <a:ext cx="26988" cy="25400"/>
          </a:xfrm>
          <a:custGeom>
            <a:avLst/>
            <a:gdLst>
              <a:gd name="T0" fmla="*/ 1 w 14"/>
              <a:gd name="T1" fmla="*/ 0 h 13"/>
              <a:gd name="T2" fmla="*/ 11 w 14"/>
              <a:gd name="T3" fmla="*/ 13 h 13"/>
              <a:gd name="T4" fmla="*/ 1 w 14"/>
              <a:gd name="T5" fmla="*/ 0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4" h="13">
                <a:moveTo>
                  <a:pt x="1" y="0"/>
                </a:moveTo>
                <a:cubicBezTo>
                  <a:pt x="1" y="0"/>
                  <a:pt x="0" y="12"/>
                  <a:pt x="11" y="13"/>
                </a:cubicBezTo>
                <a:cubicBezTo>
                  <a:pt x="14" y="2"/>
                  <a:pt x="1" y="0"/>
                  <a:pt x="1" y="0"/>
                </a:cubicBezTo>
                <a:close/>
              </a:path>
            </a:pathLst>
          </a:custGeom>
          <a:solidFill>
            <a:srgbClr val="6FA53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410" name="Freeform 8532"/>
          <p:cNvSpPr>
            <a:spLocks/>
          </p:cNvSpPr>
          <p:nvPr/>
        </p:nvSpPr>
        <p:spPr bwMode="auto">
          <a:xfrm>
            <a:off x="8305801" y="4535488"/>
            <a:ext cx="15875" cy="15875"/>
          </a:xfrm>
          <a:custGeom>
            <a:avLst/>
            <a:gdLst>
              <a:gd name="T0" fmla="*/ 1 w 8"/>
              <a:gd name="T1" fmla="*/ 0 h 8"/>
              <a:gd name="T2" fmla="*/ 7 w 8"/>
              <a:gd name="T3" fmla="*/ 8 h 8"/>
              <a:gd name="T4" fmla="*/ 1 w 8"/>
              <a:gd name="T5" fmla="*/ 0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8" h="8">
                <a:moveTo>
                  <a:pt x="1" y="0"/>
                </a:moveTo>
                <a:cubicBezTo>
                  <a:pt x="1" y="0"/>
                  <a:pt x="0" y="7"/>
                  <a:pt x="7" y="8"/>
                </a:cubicBezTo>
                <a:cubicBezTo>
                  <a:pt x="8" y="1"/>
                  <a:pt x="1" y="0"/>
                  <a:pt x="1" y="0"/>
                </a:cubicBezTo>
                <a:close/>
              </a:path>
            </a:pathLst>
          </a:custGeom>
          <a:solidFill>
            <a:srgbClr val="84C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411" name="Freeform 8533"/>
          <p:cNvSpPr>
            <a:spLocks/>
          </p:cNvSpPr>
          <p:nvPr/>
        </p:nvSpPr>
        <p:spPr bwMode="auto">
          <a:xfrm>
            <a:off x="8304213" y="4514850"/>
            <a:ext cx="31750" cy="31750"/>
          </a:xfrm>
          <a:custGeom>
            <a:avLst/>
            <a:gdLst>
              <a:gd name="T0" fmla="*/ 7 w 17"/>
              <a:gd name="T1" fmla="*/ 0 h 17"/>
              <a:gd name="T2" fmla="*/ 9 w 17"/>
              <a:gd name="T3" fmla="*/ 17 h 17"/>
              <a:gd name="T4" fmla="*/ 7 w 17"/>
              <a:gd name="T5" fmla="*/ 0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7" h="17">
                <a:moveTo>
                  <a:pt x="7" y="0"/>
                </a:moveTo>
                <a:cubicBezTo>
                  <a:pt x="7" y="0"/>
                  <a:pt x="0" y="10"/>
                  <a:pt x="9" y="17"/>
                </a:cubicBezTo>
                <a:cubicBezTo>
                  <a:pt x="17" y="9"/>
                  <a:pt x="7" y="0"/>
                  <a:pt x="7" y="0"/>
                </a:cubicBezTo>
                <a:close/>
              </a:path>
            </a:pathLst>
          </a:custGeom>
          <a:solidFill>
            <a:srgbClr val="6FA53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412" name="Freeform 8534"/>
          <p:cNvSpPr>
            <a:spLocks/>
          </p:cNvSpPr>
          <p:nvPr/>
        </p:nvSpPr>
        <p:spPr bwMode="auto">
          <a:xfrm>
            <a:off x="8312151" y="4525963"/>
            <a:ext cx="17463" cy="20638"/>
          </a:xfrm>
          <a:custGeom>
            <a:avLst/>
            <a:gdLst>
              <a:gd name="T0" fmla="*/ 5 w 9"/>
              <a:gd name="T1" fmla="*/ 11 h 11"/>
              <a:gd name="T2" fmla="*/ 4 w 9"/>
              <a:gd name="T3" fmla="*/ 0 h 11"/>
              <a:gd name="T4" fmla="*/ 5 w 9"/>
              <a:gd name="T5" fmla="*/ 11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9" h="11">
                <a:moveTo>
                  <a:pt x="5" y="11"/>
                </a:moveTo>
                <a:cubicBezTo>
                  <a:pt x="9" y="6"/>
                  <a:pt x="4" y="0"/>
                  <a:pt x="4" y="0"/>
                </a:cubicBezTo>
                <a:cubicBezTo>
                  <a:pt x="4" y="0"/>
                  <a:pt x="0" y="6"/>
                  <a:pt x="5" y="11"/>
                </a:cubicBezTo>
                <a:close/>
              </a:path>
            </a:pathLst>
          </a:custGeom>
          <a:solidFill>
            <a:srgbClr val="84C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413" name="Freeform 8535"/>
          <p:cNvSpPr>
            <a:spLocks/>
          </p:cNvSpPr>
          <p:nvPr/>
        </p:nvSpPr>
        <p:spPr bwMode="auto">
          <a:xfrm>
            <a:off x="8420101" y="4516438"/>
            <a:ext cx="26988" cy="26988"/>
          </a:xfrm>
          <a:custGeom>
            <a:avLst/>
            <a:gdLst>
              <a:gd name="T0" fmla="*/ 2 w 14"/>
              <a:gd name="T1" fmla="*/ 14 h 14"/>
              <a:gd name="T2" fmla="*/ 11 w 14"/>
              <a:gd name="T3" fmla="*/ 0 h 14"/>
              <a:gd name="T4" fmla="*/ 2 w 14"/>
              <a:gd name="T5" fmla="*/ 14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4" h="14">
                <a:moveTo>
                  <a:pt x="2" y="14"/>
                </a:moveTo>
                <a:cubicBezTo>
                  <a:pt x="14" y="12"/>
                  <a:pt x="11" y="0"/>
                  <a:pt x="11" y="0"/>
                </a:cubicBezTo>
                <a:cubicBezTo>
                  <a:pt x="11" y="0"/>
                  <a:pt x="0" y="2"/>
                  <a:pt x="2" y="14"/>
                </a:cubicBezTo>
                <a:close/>
              </a:path>
            </a:pathLst>
          </a:custGeom>
          <a:solidFill>
            <a:srgbClr val="6FA53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414" name="Freeform 8536"/>
          <p:cNvSpPr>
            <a:spLocks/>
          </p:cNvSpPr>
          <p:nvPr/>
        </p:nvSpPr>
        <p:spPr bwMode="auto">
          <a:xfrm>
            <a:off x="8421688" y="4525963"/>
            <a:ext cx="15875" cy="17463"/>
          </a:xfrm>
          <a:custGeom>
            <a:avLst/>
            <a:gdLst>
              <a:gd name="T0" fmla="*/ 1 w 8"/>
              <a:gd name="T1" fmla="*/ 9 h 9"/>
              <a:gd name="T2" fmla="*/ 7 w 8"/>
              <a:gd name="T3" fmla="*/ 0 h 9"/>
              <a:gd name="T4" fmla="*/ 1 w 8"/>
              <a:gd name="T5" fmla="*/ 9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8" h="9">
                <a:moveTo>
                  <a:pt x="1" y="9"/>
                </a:moveTo>
                <a:cubicBezTo>
                  <a:pt x="8" y="7"/>
                  <a:pt x="7" y="0"/>
                  <a:pt x="7" y="0"/>
                </a:cubicBezTo>
                <a:cubicBezTo>
                  <a:pt x="7" y="0"/>
                  <a:pt x="0" y="2"/>
                  <a:pt x="1" y="9"/>
                </a:cubicBezTo>
                <a:close/>
              </a:path>
            </a:pathLst>
          </a:custGeom>
          <a:solidFill>
            <a:srgbClr val="84C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415" name="Freeform 8537"/>
          <p:cNvSpPr>
            <a:spLocks/>
          </p:cNvSpPr>
          <p:nvPr/>
        </p:nvSpPr>
        <p:spPr bwMode="auto">
          <a:xfrm>
            <a:off x="8289926" y="4579938"/>
            <a:ext cx="26988" cy="26988"/>
          </a:xfrm>
          <a:custGeom>
            <a:avLst/>
            <a:gdLst>
              <a:gd name="T0" fmla="*/ 3 w 14"/>
              <a:gd name="T1" fmla="*/ 14 h 14"/>
              <a:gd name="T2" fmla="*/ 11 w 14"/>
              <a:gd name="T3" fmla="*/ 0 h 14"/>
              <a:gd name="T4" fmla="*/ 3 w 14"/>
              <a:gd name="T5" fmla="*/ 14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4" h="14">
                <a:moveTo>
                  <a:pt x="3" y="14"/>
                </a:moveTo>
                <a:cubicBezTo>
                  <a:pt x="3" y="14"/>
                  <a:pt x="14" y="11"/>
                  <a:pt x="11" y="0"/>
                </a:cubicBezTo>
                <a:cubicBezTo>
                  <a:pt x="0" y="2"/>
                  <a:pt x="3" y="14"/>
                  <a:pt x="3" y="14"/>
                </a:cubicBezTo>
                <a:close/>
              </a:path>
            </a:pathLst>
          </a:custGeom>
          <a:solidFill>
            <a:srgbClr val="6FA53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416" name="Freeform 8538"/>
          <p:cNvSpPr>
            <a:spLocks/>
          </p:cNvSpPr>
          <p:nvPr/>
        </p:nvSpPr>
        <p:spPr bwMode="auto">
          <a:xfrm>
            <a:off x="8297863" y="4579938"/>
            <a:ext cx="15875" cy="17463"/>
          </a:xfrm>
          <a:custGeom>
            <a:avLst/>
            <a:gdLst>
              <a:gd name="T0" fmla="*/ 2 w 8"/>
              <a:gd name="T1" fmla="*/ 9 h 9"/>
              <a:gd name="T2" fmla="*/ 7 w 8"/>
              <a:gd name="T3" fmla="*/ 0 h 9"/>
              <a:gd name="T4" fmla="*/ 2 w 8"/>
              <a:gd name="T5" fmla="*/ 9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8" h="9">
                <a:moveTo>
                  <a:pt x="2" y="9"/>
                </a:moveTo>
                <a:cubicBezTo>
                  <a:pt x="2" y="9"/>
                  <a:pt x="8" y="7"/>
                  <a:pt x="7" y="0"/>
                </a:cubicBezTo>
                <a:cubicBezTo>
                  <a:pt x="0" y="2"/>
                  <a:pt x="2" y="9"/>
                  <a:pt x="2" y="9"/>
                </a:cubicBezTo>
                <a:close/>
              </a:path>
            </a:pathLst>
          </a:custGeom>
          <a:solidFill>
            <a:srgbClr val="84C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417" name="Freeform 8539"/>
          <p:cNvSpPr>
            <a:spLocks/>
          </p:cNvSpPr>
          <p:nvPr/>
        </p:nvSpPr>
        <p:spPr bwMode="auto">
          <a:xfrm>
            <a:off x="8259763" y="4575175"/>
            <a:ext cx="31750" cy="31750"/>
          </a:xfrm>
          <a:custGeom>
            <a:avLst/>
            <a:gdLst>
              <a:gd name="T0" fmla="*/ 7 w 17"/>
              <a:gd name="T1" fmla="*/ 17 h 17"/>
              <a:gd name="T2" fmla="*/ 10 w 17"/>
              <a:gd name="T3" fmla="*/ 0 h 17"/>
              <a:gd name="T4" fmla="*/ 7 w 17"/>
              <a:gd name="T5" fmla="*/ 17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7" h="17">
                <a:moveTo>
                  <a:pt x="7" y="17"/>
                </a:moveTo>
                <a:cubicBezTo>
                  <a:pt x="7" y="17"/>
                  <a:pt x="17" y="10"/>
                  <a:pt x="10" y="0"/>
                </a:cubicBezTo>
                <a:cubicBezTo>
                  <a:pt x="0" y="6"/>
                  <a:pt x="7" y="17"/>
                  <a:pt x="7" y="17"/>
                </a:cubicBezTo>
                <a:close/>
              </a:path>
            </a:pathLst>
          </a:custGeom>
          <a:solidFill>
            <a:srgbClr val="6FA53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418" name="Freeform 8540"/>
          <p:cNvSpPr>
            <a:spLocks/>
          </p:cNvSpPr>
          <p:nvPr/>
        </p:nvSpPr>
        <p:spPr bwMode="auto">
          <a:xfrm>
            <a:off x="8267701" y="4575175"/>
            <a:ext cx="19050" cy="20638"/>
          </a:xfrm>
          <a:custGeom>
            <a:avLst/>
            <a:gdLst>
              <a:gd name="T0" fmla="*/ 4 w 10"/>
              <a:gd name="T1" fmla="*/ 11 h 11"/>
              <a:gd name="T2" fmla="*/ 6 w 10"/>
              <a:gd name="T3" fmla="*/ 0 h 11"/>
              <a:gd name="T4" fmla="*/ 4 w 10"/>
              <a:gd name="T5" fmla="*/ 11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0" h="11">
                <a:moveTo>
                  <a:pt x="4" y="11"/>
                </a:moveTo>
                <a:cubicBezTo>
                  <a:pt x="4" y="11"/>
                  <a:pt x="10" y="6"/>
                  <a:pt x="6" y="0"/>
                </a:cubicBezTo>
                <a:cubicBezTo>
                  <a:pt x="0" y="4"/>
                  <a:pt x="4" y="11"/>
                  <a:pt x="4" y="11"/>
                </a:cubicBezTo>
                <a:close/>
              </a:path>
            </a:pathLst>
          </a:custGeom>
          <a:solidFill>
            <a:srgbClr val="84C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419" name="Freeform 8541"/>
          <p:cNvSpPr>
            <a:spLocks/>
          </p:cNvSpPr>
          <p:nvPr/>
        </p:nvSpPr>
        <p:spPr bwMode="auto">
          <a:xfrm>
            <a:off x="8439151" y="4537075"/>
            <a:ext cx="33338" cy="33338"/>
          </a:xfrm>
          <a:custGeom>
            <a:avLst/>
            <a:gdLst>
              <a:gd name="T0" fmla="*/ 8 w 17"/>
              <a:gd name="T1" fmla="*/ 17 h 17"/>
              <a:gd name="T2" fmla="*/ 9 w 17"/>
              <a:gd name="T3" fmla="*/ 0 h 17"/>
              <a:gd name="T4" fmla="*/ 8 w 17"/>
              <a:gd name="T5" fmla="*/ 17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7" h="17">
                <a:moveTo>
                  <a:pt x="8" y="17"/>
                </a:moveTo>
                <a:cubicBezTo>
                  <a:pt x="17" y="10"/>
                  <a:pt x="9" y="0"/>
                  <a:pt x="9" y="0"/>
                </a:cubicBezTo>
                <a:cubicBezTo>
                  <a:pt x="9" y="0"/>
                  <a:pt x="0" y="8"/>
                  <a:pt x="8" y="17"/>
                </a:cubicBezTo>
                <a:close/>
              </a:path>
            </a:pathLst>
          </a:custGeom>
          <a:solidFill>
            <a:srgbClr val="E79B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420" name="Freeform 8542"/>
          <p:cNvSpPr>
            <a:spLocks/>
          </p:cNvSpPr>
          <p:nvPr/>
        </p:nvSpPr>
        <p:spPr bwMode="auto">
          <a:xfrm>
            <a:off x="8423276" y="4549775"/>
            <a:ext cx="31750" cy="30163"/>
          </a:xfrm>
          <a:custGeom>
            <a:avLst/>
            <a:gdLst>
              <a:gd name="T0" fmla="*/ 0 w 16"/>
              <a:gd name="T1" fmla="*/ 5 h 16"/>
              <a:gd name="T2" fmla="*/ 16 w 16"/>
              <a:gd name="T3" fmla="*/ 11 h 16"/>
              <a:gd name="T4" fmla="*/ 0 w 16"/>
              <a:gd name="T5" fmla="*/ 5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6" h="16">
                <a:moveTo>
                  <a:pt x="0" y="5"/>
                </a:moveTo>
                <a:cubicBezTo>
                  <a:pt x="0" y="5"/>
                  <a:pt x="6" y="16"/>
                  <a:pt x="16" y="11"/>
                </a:cubicBezTo>
                <a:cubicBezTo>
                  <a:pt x="12" y="0"/>
                  <a:pt x="0" y="5"/>
                  <a:pt x="0" y="5"/>
                </a:cubicBezTo>
                <a:close/>
              </a:path>
            </a:pathLst>
          </a:custGeom>
          <a:solidFill>
            <a:srgbClr val="E79B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421" name="Freeform 8543"/>
          <p:cNvSpPr>
            <a:spLocks/>
          </p:cNvSpPr>
          <p:nvPr/>
        </p:nvSpPr>
        <p:spPr bwMode="auto">
          <a:xfrm>
            <a:off x="8431213" y="4570413"/>
            <a:ext cx="26988" cy="25400"/>
          </a:xfrm>
          <a:custGeom>
            <a:avLst/>
            <a:gdLst>
              <a:gd name="T0" fmla="*/ 2 w 14"/>
              <a:gd name="T1" fmla="*/ 13 h 13"/>
              <a:gd name="T2" fmla="*/ 12 w 14"/>
              <a:gd name="T3" fmla="*/ 0 h 13"/>
              <a:gd name="T4" fmla="*/ 2 w 14"/>
              <a:gd name="T5" fmla="*/ 13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4" h="13">
                <a:moveTo>
                  <a:pt x="2" y="13"/>
                </a:moveTo>
                <a:cubicBezTo>
                  <a:pt x="2" y="13"/>
                  <a:pt x="14" y="11"/>
                  <a:pt x="12" y="0"/>
                </a:cubicBezTo>
                <a:cubicBezTo>
                  <a:pt x="0" y="0"/>
                  <a:pt x="2" y="13"/>
                  <a:pt x="2" y="13"/>
                </a:cubicBezTo>
                <a:close/>
              </a:path>
            </a:pathLst>
          </a:custGeom>
          <a:solidFill>
            <a:srgbClr val="E79B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422" name="Freeform 8544"/>
          <p:cNvSpPr>
            <a:spLocks/>
          </p:cNvSpPr>
          <p:nvPr/>
        </p:nvSpPr>
        <p:spPr bwMode="auto">
          <a:xfrm>
            <a:off x="8448676" y="4570413"/>
            <a:ext cx="28575" cy="26988"/>
          </a:xfrm>
          <a:custGeom>
            <a:avLst/>
            <a:gdLst>
              <a:gd name="T0" fmla="*/ 3 w 15"/>
              <a:gd name="T1" fmla="*/ 0 h 14"/>
              <a:gd name="T2" fmla="*/ 13 w 15"/>
              <a:gd name="T3" fmla="*/ 14 h 14"/>
              <a:gd name="T4" fmla="*/ 3 w 15"/>
              <a:gd name="T5" fmla="*/ 0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5" h="14">
                <a:moveTo>
                  <a:pt x="3" y="0"/>
                </a:moveTo>
                <a:cubicBezTo>
                  <a:pt x="0" y="11"/>
                  <a:pt x="13" y="14"/>
                  <a:pt x="13" y="14"/>
                </a:cubicBezTo>
                <a:cubicBezTo>
                  <a:pt x="13" y="14"/>
                  <a:pt x="15" y="2"/>
                  <a:pt x="3" y="0"/>
                </a:cubicBezTo>
                <a:close/>
              </a:path>
            </a:pathLst>
          </a:custGeom>
          <a:solidFill>
            <a:srgbClr val="E79B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423" name="Freeform 8545"/>
          <p:cNvSpPr>
            <a:spLocks/>
          </p:cNvSpPr>
          <p:nvPr/>
        </p:nvSpPr>
        <p:spPr bwMode="auto">
          <a:xfrm>
            <a:off x="8455026" y="4549775"/>
            <a:ext cx="30163" cy="31750"/>
          </a:xfrm>
          <a:custGeom>
            <a:avLst/>
            <a:gdLst>
              <a:gd name="T0" fmla="*/ 0 w 16"/>
              <a:gd name="T1" fmla="*/ 11 h 17"/>
              <a:gd name="T2" fmla="*/ 16 w 16"/>
              <a:gd name="T3" fmla="*/ 6 h 17"/>
              <a:gd name="T4" fmla="*/ 0 w 16"/>
              <a:gd name="T5" fmla="*/ 11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6" h="17">
                <a:moveTo>
                  <a:pt x="0" y="11"/>
                </a:moveTo>
                <a:cubicBezTo>
                  <a:pt x="10" y="17"/>
                  <a:pt x="16" y="6"/>
                  <a:pt x="16" y="6"/>
                </a:cubicBezTo>
                <a:cubicBezTo>
                  <a:pt x="16" y="6"/>
                  <a:pt x="6" y="0"/>
                  <a:pt x="0" y="11"/>
                </a:cubicBezTo>
                <a:close/>
              </a:path>
            </a:pathLst>
          </a:custGeom>
          <a:solidFill>
            <a:srgbClr val="E79B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424" name="Oval 8546"/>
          <p:cNvSpPr>
            <a:spLocks noChangeArrowheads="1"/>
          </p:cNvSpPr>
          <p:nvPr/>
        </p:nvSpPr>
        <p:spPr bwMode="auto">
          <a:xfrm>
            <a:off x="8451851" y="4559300"/>
            <a:ext cx="6350" cy="1588"/>
          </a:xfrm>
          <a:prstGeom prst="ellipse">
            <a:avLst/>
          </a:prstGeom>
          <a:solidFill>
            <a:srgbClr val="B7516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425" name="Freeform 8547"/>
          <p:cNvSpPr>
            <a:spLocks/>
          </p:cNvSpPr>
          <p:nvPr/>
        </p:nvSpPr>
        <p:spPr bwMode="auto">
          <a:xfrm>
            <a:off x="8442326" y="4562475"/>
            <a:ext cx="6350" cy="6350"/>
          </a:xfrm>
          <a:custGeom>
            <a:avLst/>
            <a:gdLst>
              <a:gd name="T0" fmla="*/ 2 w 3"/>
              <a:gd name="T1" fmla="*/ 0 h 3"/>
              <a:gd name="T2" fmla="*/ 1 w 3"/>
              <a:gd name="T3" fmla="*/ 1 h 3"/>
              <a:gd name="T4" fmla="*/ 1 w 3"/>
              <a:gd name="T5" fmla="*/ 3 h 3"/>
              <a:gd name="T6" fmla="*/ 2 w 3"/>
              <a:gd name="T7" fmla="*/ 2 h 3"/>
              <a:gd name="T8" fmla="*/ 2 w 3"/>
              <a:gd name="T9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" h="3">
                <a:moveTo>
                  <a:pt x="2" y="0"/>
                </a:moveTo>
                <a:cubicBezTo>
                  <a:pt x="1" y="0"/>
                  <a:pt x="1" y="0"/>
                  <a:pt x="1" y="1"/>
                </a:cubicBezTo>
                <a:cubicBezTo>
                  <a:pt x="0" y="2"/>
                  <a:pt x="0" y="3"/>
                  <a:pt x="1" y="3"/>
                </a:cubicBezTo>
                <a:cubicBezTo>
                  <a:pt x="1" y="3"/>
                  <a:pt x="2" y="3"/>
                  <a:pt x="2" y="2"/>
                </a:cubicBezTo>
                <a:cubicBezTo>
                  <a:pt x="3" y="1"/>
                  <a:pt x="2" y="0"/>
                  <a:pt x="2" y="0"/>
                </a:cubicBezTo>
                <a:close/>
              </a:path>
            </a:pathLst>
          </a:custGeom>
          <a:solidFill>
            <a:srgbClr val="B7516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426" name="Freeform 8548"/>
          <p:cNvSpPr>
            <a:spLocks/>
          </p:cNvSpPr>
          <p:nvPr/>
        </p:nvSpPr>
        <p:spPr bwMode="auto">
          <a:xfrm>
            <a:off x="8445501" y="4575175"/>
            <a:ext cx="4763" cy="4763"/>
          </a:xfrm>
          <a:custGeom>
            <a:avLst/>
            <a:gdLst>
              <a:gd name="T0" fmla="*/ 2 w 3"/>
              <a:gd name="T1" fmla="*/ 1 h 3"/>
              <a:gd name="T2" fmla="*/ 0 w 3"/>
              <a:gd name="T3" fmla="*/ 1 h 3"/>
              <a:gd name="T4" fmla="*/ 1 w 3"/>
              <a:gd name="T5" fmla="*/ 2 h 3"/>
              <a:gd name="T6" fmla="*/ 3 w 3"/>
              <a:gd name="T7" fmla="*/ 3 h 3"/>
              <a:gd name="T8" fmla="*/ 2 w 3"/>
              <a:gd name="T9" fmla="*/ 1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" h="3">
                <a:moveTo>
                  <a:pt x="2" y="1"/>
                </a:moveTo>
                <a:cubicBezTo>
                  <a:pt x="2" y="0"/>
                  <a:pt x="1" y="0"/>
                  <a:pt x="0" y="1"/>
                </a:cubicBezTo>
                <a:cubicBezTo>
                  <a:pt x="0" y="1"/>
                  <a:pt x="1" y="2"/>
                  <a:pt x="1" y="2"/>
                </a:cubicBezTo>
                <a:cubicBezTo>
                  <a:pt x="2" y="3"/>
                  <a:pt x="3" y="3"/>
                  <a:pt x="3" y="3"/>
                </a:cubicBezTo>
                <a:cubicBezTo>
                  <a:pt x="3" y="2"/>
                  <a:pt x="3" y="1"/>
                  <a:pt x="2" y="1"/>
                </a:cubicBezTo>
                <a:close/>
              </a:path>
            </a:pathLst>
          </a:custGeom>
          <a:solidFill>
            <a:srgbClr val="B7516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427" name="Freeform 8549"/>
          <p:cNvSpPr>
            <a:spLocks/>
          </p:cNvSpPr>
          <p:nvPr/>
        </p:nvSpPr>
        <p:spPr bwMode="auto">
          <a:xfrm>
            <a:off x="8456613" y="4576763"/>
            <a:ext cx="4763" cy="3175"/>
          </a:xfrm>
          <a:custGeom>
            <a:avLst/>
            <a:gdLst>
              <a:gd name="T0" fmla="*/ 1 w 3"/>
              <a:gd name="T1" fmla="*/ 0 h 2"/>
              <a:gd name="T2" fmla="*/ 1 w 3"/>
              <a:gd name="T3" fmla="*/ 2 h 2"/>
              <a:gd name="T4" fmla="*/ 2 w 3"/>
              <a:gd name="T5" fmla="*/ 2 h 2"/>
              <a:gd name="T6" fmla="*/ 3 w 3"/>
              <a:gd name="T7" fmla="*/ 0 h 2"/>
              <a:gd name="T8" fmla="*/ 1 w 3"/>
              <a:gd name="T9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" h="2">
                <a:moveTo>
                  <a:pt x="1" y="0"/>
                </a:moveTo>
                <a:cubicBezTo>
                  <a:pt x="1" y="1"/>
                  <a:pt x="0" y="2"/>
                  <a:pt x="1" y="2"/>
                </a:cubicBezTo>
                <a:cubicBezTo>
                  <a:pt x="1" y="2"/>
                  <a:pt x="2" y="2"/>
                  <a:pt x="2" y="2"/>
                </a:cubicBezTo>
                <a:cubicBezTo>
                  <a:pt x="3" y="1"/>
                  <a:pt x="3" y="1"/>
                  <a:pt x="3" y="0"/>
                </a:cubicBezTo>
                <a:cubicBezTo>
                  <a:pt x="3" y="0"/>
                  <a:pt x="2" y="0"/>
                  <a:pt x="1" y="0"/>
                </a:cubicBezTo>
                <a:close/>
              </a:path>
            </a:pathLst>
          </a:custGeom>
          <a:solidFill>
            <a:srgbClr val="B7516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428" name="Freeform 8550"/>
          <p:cNvSpPr>
            <a:spLocks/>
          </p:cNvSpPr>
          <p:nvPr/>
        </p:nvSpPr>
        <p:spPr bwMode="auto">
          <a:xfrm>
            <a:off x="8461376" y="4564063"/>
            <a:ext cx="4763" cy="6350"/>
          </a:xfrm>
          <a:custGeom>
            <a:avLst/>
            <a:gdLst>
              <a:gd name="T0" fmla="*/ 1 w 2"/>
              <a:gd name="T1" fmla="*/ 0 h 3"/>
              <a:gd name="T2" fmla="*/ 0 w 2"/>
              <a:gd name="T3" fmla="*/ 2 h 3"/>
              <a:gd name="T4" fmla="*/ 2 w 2"/>
              <a:gd name="T5" fmla="*/ 3 h 3"/>
              <a:gd name="T6" fmla="*/ 2 w 2"/>
              <a:gd name="T7" fmla="*/ 1 h 3"/>
              <a:gd name="T8" fmla="*/ 1 w 2"/>
              <a:gd name="T9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" h="3">
                <a:moveTo>
                  <a:pt x="1" y="0"/>
                </a:moveTo>
                <a:cubicBezTo>
                  <a:pt x="0" y="0"/>
                  <a:pt x="0" y="1"/>
                  <a:pt x="0" y="2"/>
                </a:cubicBezTo>
                <a:cubicBezTo>
                  <a:pt x="1" y="3"/>
                  <a:pt x="1" y="3"/>
                  <a:pt x="2" y="3"/>
                </a:cubicBezTo>
                <a:cubicBezTo>
                  <a:pt x="2" y="3"/>
                  <a:pt x="2" y="2"/>
                  <a:pt x="2" y="1"/>
                </a:cubicBezTo>
                <a:cubicBezTo>
                  <a:pt x="2" y="0"/>
                  <a:pt x="1" y="0"/>
                  <a:pt x="1" y="0"/>
                </a:cubicBezTo>
                <a:close/>
              </a:path>
            </a:pathLst>
          </a:custGeom>
          <a:solidFill>
            <a:srgbClr val="B7516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429" name="Oval 8551"/>
          <p:cNvSpPr>
            <a:spLocks noChangeArrowheads="1"/>
          </p:cNvSpPr>
          <p:nvPr/>
        </p:nvSpPr>
        <p:spPr bwMode="auto">
          <a:xfrm>
            <a:off x="8451851" y="4568825"/>
            <a:ext cx="4763" cy="3175"/>
          </a:xfrm>
          <a:prstGeom prst="ellipse">
            <a:avLst/>
          </a:prstGeom>
          <a:solidFill>
            <a:srgbClr val="B7516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430" name="Freeform 8552"/>
          <p:cNvSpPr>
            <a:spLocks/>
          </p:cNvSpPr>
          <p:nvPr/>
        </p:nvSpPr>
        <p:spPr bwMode="auto">
          <a:xfrm>
            <a:off x="8401051" y="4518025"/>
            <a:ext cx="31750" cy="33338"/>
          </a:xfrm>
          <a:custGeom>
            <a:avLst/>
            <a:gdLst>
              <a:gd name="T0" fmla="*/ 8 w 17"/>
              <a:gd name="T1" fmla="*/ 17 h 17"/>
              <a:gd name="T2" fmla="*/ 9 w 17"/>
              <a:gd name="T3" fmla="*/ 0 h 17"/>
              <a:gd name="T4" fmla="*/ 8 w 17"/>
              <a:gd name="T5" fmla="*/ 17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7" h="17">
                <a:moveTo>
                  <a:pt x="8" y="17"/>
                </a:moveTo>
                <a:cubicBezTo>
                  <a:pt x="17" y="10"/>
                  <a:pt x="9" y="0"/>
                  <a:pt x="9" y="0"/>
                </a:cubicBezTo>
                <a:cubicBezTo>
                  <a:pt x="9" y="0"/>
                  <a:pt x="0" y="8"/>
                  <a:pt x="8" y="17"/>
                </a:cubicBezTo>
                <a:close/>
              </a:path>
            </a:pathLst>
          </a:custGeom>
          <a:solidFill>
            <a:srgbClr val="B7516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431" name="Freeform 8553"/>
          <p:cNvSpPr>
            <a:spLocks/>
          </p:cNvSpPr>
          <p:nvPr/>
        </p:nvSpPr>
        <p:spPr bwMode="auto">
          <a:xfrm>
            <a:off x="8386763" y="4530725"/>
            <a:ext cx="28575" cy="30163"/>
          </a:xfrm>
          <a:custGeom>
            <a:avLst/>
            <a:gdLst>
              <a:gd name="T0" fmla="*/ 0 w 15"/>
              <a:gd name="T1" fmla="*/ 5 h 16"/>
              <a:gd name="T2" fmla="*/ 15 w 15"/>
              <a:gd name="T3" fmla="*/ 11 h 16"/>
              <a:gd name="T4" fmla="*/ 0 w 15"/>
              <a:gd name="T5" fmla="*/ 5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5" h="16">
                <a:moveTo>
                  <a:pt x="0" y="5"/>
                </a:moveTo>
                <a:cubicBezTo>
                  <a:pt x="0" y="5"/>
                  <a:pt x="5" y="16"/>
                  <a:pt x="15" y="11"/>
                </a:cubicBezTo>
                <a:cubicBezTo>
                  <a:pt x="11" y="0"/>
                  <a:pt x="0" y="5"/>
                  <a:pt x="0" y="5"/>
                </a:cubicBezTo>
                <a:close/>
              </a:path>
            </a:pathLst>
          </a:custGeom>
          <a:solidFill>
            <a:srgbClr val="B7516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432" name="Freeform 8554"/>
          <p:cNvSpPr>
            <a:spLocks/>
          </p:cNvSpPr>
          <p:nvPr/>
        </p:nvSpPr>
        <p:spPr bwMode="auto">
          <a:xfrm>
            <a:off x="8394701" y="4551363"/>
            <a:ext cx="25400" cy="25400"/>
          </a:xfrm>
          <a:custGeom>
            <a:avLst/>
            <a:gdLst>
              <a:gd name="T0" fmla="*/ 1 w 13"/>
              <a:gd name="T1" fmla="*/ 13 h 13"/>
              <a:gd name="T2" fmla="*/ 11 w 13"/>
              <a:gd name="T3" fmla="*/ 0 h 13"/>
              <a:gd name="T4" fmla="*/ 1 w 13"/>
              <a:gd name="T5" fmla="*/ 13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3" h="13">
                <a:moveTo>
                  <a:pt x="1" y="13"/>
                </a:moveTo>
                <a:cubicBezTo>
                  <a:pt x="1" y="13"/>
                  <a:pt x="13" y="12"/>
                  <a:pt x="11" y="0"/>
                </a:cubicBezTo>
                <a:cubicBezTo>
                  <a:pt x="0" y="0"/>
                  <a:pt x="1" y="13"/>
                  <a:pt x="1" y="13"/>
                </a:cubicBezTo>
                <a:close/>
              </a:path>
            </a:pathLst>
          </a:custGeom>
          <a:solidFill>
            <a:srgbClr val="B7516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433" name="Freeform 8555"/>
          <p:cNvSpPr>
            <a:spLocks/>
          </p:cNvSpPr>
          <p:nvPr/>
        </p:nvSpPr>
        <p:spPr bwMode="auto">
          <a:xfrm>
            <a:off x="8410576" y="4551363"/>
            <a:ext cx="28575" cy="26988"/>
          </a:xfrm>
          <a:custGeom>
            <a:avLst/>
            <a:gdLst>
              <a:gd name="T0" fmla="*/ 3 w 15"/>
              <a:gd name="T1" fmla="*/ 0 h 14"/>
              <a:gd name="T2" fmla="*/ 13 w 15"/>
              <a:gd name="T3" fmla="*/ 14 h 14"/>
              <a:gd name="T4" fmla="*/ 3 w 15"/>
              <a:gd name="T5" fmla="*/ 0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5" h="14">
                <a:moveTo>
                  <a:pt x="3" y="0"/>
                </a:moveTo>
                <a:cubicBezTo>
                  <a:pt x="0" y="11"/>
                  <a:pt x="13" y="14"/>
                  <a:pt x="13" y="14"/>
                </a:cubicBezTo>
                <a:cubicBezTo>
                  <a:pt x="13" y="14"/>
                  <a:pt x="15" y="2"/>
                  <a:pt x="3" y="0"/>
                </a:cubicBezTo>
                <a:close/>
              </a:path>
            </a:pathLst>
          </a:custGeom>
          <a:solidFill>
            <a:srgbClr val="B7516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434" name="Freeform 8556"/>
          <p:cNvSpPr>
            <a:spLocks/>
          </p:cNvSpPr>
          <p:nvPr/>
        </p:nvSpPr>
        <p:spPr bwMode="auto">
          <a:xfrm>
            <a:off x="8415338" y="4532313"/>
            <a:ext cx="31750" cy="31750"/>
          </a:xfrm>
          <a:custGeom>
            <a:avLst/>
            <a:gdLst>
              <a:gd name="T0" fmla="*/ 0 w 16"/>
              <a:gd name="T1" fmla="*/ 10 h 17"/>
              <a:gd name="T2" fmla="*/ 16 w 16"/>
              <a:gd name="T3" fmla="*/ 5 h 17"/>
              <a:gd name="T4" fmla="*/ 0 w 16"/>
              <a:gd name="T5" fmla="*/ 10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6" h="17">
                <a:moveTo>
                  <a:pt x="0" y="10"/>
                </a:moveTo>
                <a:cubicBezTo>
                  <a:pt x="10" y="17"/>
                  <a:pt x="16" y="5"/>
                  <a:pt x="16" y="5"/>
                </a:cubicBezTo>
                <a:cubicBezTo>
                  <a:pt x="16" y="5"/>
                  <a:pt x="6" y="0"/>
                  <a:pt x="0" y="10"/>
                </a:cubicBezTo>
                <a:close/>
              </a:path>
            </a:pathLst>
          </a:custGeom>
          <a:solidFill>
            <a:srgbClr val="B7516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435" name="Oval 8557"/>
          <p:cNvSpPr>
            <a:spLocks noChangeArrowheads="1"/>
          </p:cNvSpPr>
          <p:nvPr/>
        </p:nvSpPr>
        <p:spPr bwMode="auto">
          <a:xfrm>
            <a:off x="8413751" y="4540250"/>
            <a:ext cx="6350" cy="3175"/>
          </a:xfrm>
          <a:prstGeom prst="ellipse">
            <a:avLst/>
          </a:prstGeom>
          <a:solidFill>
            <a:srgbClr val="E79B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436" name="Freeform 8558"/>
          <p:cNvSpPr>
            <a:spLocks/>
          </p:cNvSpPr>
          <p:nvPr/>
        </p:nvSpPr>
        <p:spPr bwMode="auto">
          <a:xfrm>
            <a:off x="8404226" y="4543425"/>
            <a:ext cx="6350" cy="7938"/>
          </a:xfrm>
          <a:custGeom>
            <a:avLst/>
            <a:gdLst>
              <a:gd name="T0" fmla="*/ 2 w 3"/>
              <a:gd name="T1" fmla="*/ 0 h 4"/>
              <a:gd name="T2" fmla="*/ 1 w 3"/>
              <a:gd name="T3" fmla="*/ 2 h 4"/>
              <a:gd name="T4" fmla="*/ 1 w 3"/>
              <a:gd name="T5" fmla="*/ 3 h 4"/>
              <a:gd name="T6" fmla="*/ 2 w 3"/>
              <a:gd name="T7" fmla="*/ 2 h 4"/>
              <a:gd name="T8" fmla="*/ 2 w 3"/>
              <a:gd name="T9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" h="4">
                <a:moveTo>
                  <a:pt x="2" y="0"/>
                </a:moveTo>
                <a:cubicBezTo>
                  <a:pt x="1" y="0"/>
                  <a:pt x="1" y="1"/>
                  <a:pt x="1" y="2"/>
                </a:cubicBezTo>
                <a:cubicBezTo>
                  <a:pt x="0" y="2"/>
                  <a:pt x="0" y="3"/>
                  <a:pt x="1" y="3"/>
                </a:cubicBezTo>
                <a:cubicBezTo>
                  <a:pt x="1" y="4"/>
                  <a:pt x="2" y="3"/>
                  <a:pt x="2" y="2"/>
                </a:cubicBezTo>
                <a:cubicBezTo>
                  <a:pt x="3" y="1"/>
                  <a:pt x="2" y="1"/>
                  <a:pt x="2" y="0"/>
                </a:cubicBezTo>
                <a:close/>
              </a:path>
            </a:pathLst>
          </a:custGeom>
          <a:solidFill>
            <a:srgbClr val="E79B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437" name="Freeform 8559"/>
          <p:cNvSpPr>
            <a:spLocks/>
          </p:cNvSpPr>
          <p:nvPr/>
        </p:nvSpPr>
        <p:spPr bwMode="auto">
          <a:xfrm>
            <a:off x="8405813" y="4557713"/>
            <a:ext cx="6350" cy="3175"/>
          </a:xfrm>
          <a:custGeom>
            <a:avLst/>
            <a:gdLst>
              <a:gd name="T0" fmla="*/ 2 w 3"/>
              <a:gd name="T1" fmla="*/ 0 h 2"/>
              <a:gd name="T2" fmla="*/ 1 w 3"/>
              <a:gd name="T3" fmla="*/ 0 h 2"/>
              <a:gd name="T4" fmla="*/ 1 w 3"/>
              <a:gd name="T5" fmla="*/ 2 h 2"/>
              <a:gd name="T6" fmla="*/ 3 w 3"/>
              <a:gd name="T7" fmla="*/ 2 h 2"/>
              <a:gd name="T8" fmla="*/ 2 w 3"/>
              <a:gd name="T9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" h="2">
                <a:moveTo>
                  <a:pt x="2" y="0"/>
                </a:moveTo>
                <a:cubicBezTo>
                  <a:pt x="2" y="0"/>
                  <a:pt x="1" y="0"/>
                  <a:pt x="1" y="0"/>
                </a:cubicBezTo>
                <a:cubicBezTo>
                  <a:pt x="0" y="0"/>
                  <a:pt x="1" y="1"/>
                  <a:pt x="1" y="2"/>
                </a:cubicBezTo>
                <a:cubicBezTo>
                  <a:pt x="2" y="2"/>
                  <a:pt x="3" y="2"/>
                  <a:pt x="3" y="2"/>
                </a:cubicBezTo>
                <a:cubicBezTo>
                  <a:pt x="3" y="1"/>
                  <a:pt x="3" y="1"/>
                  <a:pt x="2" y="0"/>
                </a:cubicBezTo>
                <a:close/>
              </a:path>
            </a:pathLst>
          </a:custGeom>
          <a:solidFill>
            <a:srgbClr val="E79B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438" name="Freeform 8560"/>
          <p:cNvSpPr>
            <a:spLocks/>
          </p:cNvSpPr>
          <p:nvPr/>
        </p:nvSpPr>
        <p:spPr bwMode="auto">
          <a:xfrm>
            <a:off x="8418513" y="4557713"/>
            <a:ext cx="6350" cy="4763"/>
          </a:xfrm>
          <a:custGeom>
            <a:avLst/>
            <a:gdLst>
              <a:gd name="T0" fmla="*/ 1 w 4"/>
              <a:gd name="T1" fmla="*/ 1 h 3"/>
              <a:gd name="T2" fmla="*/ 1 w 4"/>
              <a:gd name="T3" fmla="*/ 2 h 3"/>
              <a:gd name="T4" fmla="*/ 2 w 4"/>
              <a:gd name="T5" fmla="*/ 2 h 3"/>
              <a:gd name="T6" fmla="*/ 3 w 4"/>
              <a:gd name="T7" fmla="*/ 0 h 3"/>
              <a:gd name="T8" fmla="*/ 1 w 4"/>
              <a:gd name="T9" fmla="*/ 1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" h="3">
                <a:moveTo>
                  <a:pt x="1" y="1"/>
                </a:moveTo>
                <a:cubicBezTo>
                  <a:pt x="1" y="1"/>
                  <a:pt x="0" y="2"/>
                  <a:pt x="1" y="2"/>
                </a:cubicBezTo>
                <a:cubicBezTo>
                  <a:pt x="1" y="3"/>
                  <a:pt x="2" y="3"/>
                  <a:pt x="2" y="2"/>
                </a:cubicBezTo>
                <a:cubicBezTo>
                  <a:pt x="3" y="2"/>
                  <a:pt x="4" y="1"/>
                  <a:pt x="3" y="0"/>
                </a:cubicBezTo>
                <a:cubicBezTo>
                  <a:pt x="3" y="0"/>
                  <a:pt x="2" y="0"/>
                  <a:pt x="1" y="1"/>
                </a:cubicBezTo>
                <a:close/>
              </a:path>
            </a:pathLst>
          </a:custGeom>
          <a:solidFill>
            <a:srgbClr val="E79B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439" name="Freeform 8561"/>
          <p:cNvSpPr>
            <a:spLocks/>
          </p:cNvSpPr>
          <p:nvPr/>
        </p:nvSpPr>
        <p:spPr bwMode="auto">
          <a:xfrm>
            <a:off x="8423276" y="4545013"/>
            <a:ext cx="4763" cy="6350"/>
          </a:xfrm>
          <a:custGeom>
            <a:avLst/>
            <a:gdLst>
              <a:gd name="T0" fmla="*/ 1 w 2"/>
              <a:gd name="T1" fmla="*/ 0 h 3"/>
              <a:gd name="T2" fmla="*/ 0 w 2"/>
              <a:gd name="T3" fmla="*/ 2 h 3"/>
              <a:gd name="T4" fmla="*/ 2 w 2"/>
              <a:gd name="T5" fmla="*/ 3 h 3"/>
              <a:gd name="T6" fmla="*/ 2 w 2"/>
              <a:gd name="T7" fmla="*/ 2 h 3"/>
              <a:gd name="T8" fmla="*/ 1 w 2"/>
              <a:gd name="T9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" h="3">
                <a:moveTo>
                  <a:pt x="1" y="0"/>
                </a:moveTo>
                <a:cubicBezTo>
                  <a:pt x="0" y="0"/>
                  <a:pt x="0" y="1"/>
                  <a:pt x="0" y="2"/>
                </a:cubicBezTo>
                <a:cubicBezTo>
                  <a:pt x="1" y="3"/>
                  <a:pt x="1" y="3"/>
                  <a:pt x="2" y="3"/>
                </a:cubicBezTo>
                <a:cubicBezTo>
                  <a:pt x="2" y="3"/>
                  <a:pt x="2" y="2"/>
                  <a:pt x="2" y="2"/>
                </a:cubicBezTo>
                <a:cubicBezTo>
                  <a:pt x="2" y="1"/>
                  <a:pt x="1" y="0"/>
                  <a:pt x="1" y="0"/>
                </a:cubicBezTo>
                <a:close/>
              </a:path>
            </a:pathLst>
          </a:custGeom>
          <a:solidFill>
            <a:srgbClr val="E79B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440" name="Oval 8562"/>
          <p:cNvSpPr>
            <a:spLocks noChangeArrowheads="1"/>
          </p:cNvSpPr>
          <p:nvPr/>
        </p:nvSpPr>
        <p:spPr bwMode="auto">
          <a:xfrm>
            <a:off x="8413751" y="4549775"/>
            <a:ext cx="4763" cy="3175"/>
          </a:xfrm>
          <a:prstGeom prst="ellipse">
            <a:avLst/>
          </a:prstGeom>
          <a:solidFill>
            <a:srgbClr val="E79B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441" name="Freeform 8563"/>
          <p:cNvSpPr>
            <a:spLocks/>
          </p:cNvSpPr>
          <p:nvPr/>
        </p:nvSpPr>
        <p:spPr bwMode="auto">
          <a:xfrm>
            <a:off x="8350251" y="4545013"/>
            <a:ext cx="33338" cy="33338"/>
          </a:xfrm>
          <a:custGeom>
            <a:avLst/>
            <a:gdLst>
              <a:gd name="T0" fmla="*/ 6 w 17"/>
              <a:gd name="T1" fmla="*/ 0 h 17"/>
              <a:gd name="T2" fmla="*/ 10 w 17"/>
              <a:gd name="T3" fmla="*/ 17 h 17"/>
              <a:gd name="T4" fmla="*/ 6 w 17"/>
              <a:gd name="T5" fmla="*/ 0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7" h="17">
                <a:moveTo>
                  <a:pt x="6" y="0"/>
                </a:moveTo>
                <a:cubicBezTo>
                  <a:pt x="6" y="0"/>
                  <a:pt x="0" y="10"/>
                  <a:pt x="10" y="17"/>
                </a:cubicBezTo>
                <a:cubicBezTo>
                  <a:pt x="17" y="7"/>
                  <a:pt x="6" y="0"/>
                  <a:pt x="6" y="0"/>
                </a:cubicBezTo>
                <a:close/>
              </a:path>
            </a:pathLst>
          </a:custGeom>
          <a:solidFill>
            <a:srgbClr val="CC627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442" name="Freeform 8564"/>
          <p:cNvSpPr>
            <a:spLocks/>
          </p:cNvSpPr>
          <p:nvPr/>
        </p:nvSpPr>
        <p:spPr bwMode="auto">
          <a:xfrm>
            <a:off x="8335963" y="4559300"/>
            <a:ext cx="33338" cy="31750"/>
          </a:xfrm>
          <a:custGeom>
            <a:avLst/>
            <a:gdLst>
              <a:gd name="T0" fmla="*/ 0 w 17"/>
              <a:gd name="T1" fmla="*/ 8 h 17"/>
              <a:gd name="T2" fmla="*/ 17 w 17"/>
              <a:gd name="T3" fmla="*/ 10 h 17"/>
              <a:gd name="T4" fmla="*/ 0 w 17"/>
              <a:gd name="T5" fmla="*/ 8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7" h="17">
                <a:moveTo>
                  <a:pt x="0" y="8"/>
                </a:moveTo>
                <a:cubicBezTo>
                  <a:pt x="0" y="8"/>
                  <a:pt x="8" y="17"/>
                  <a:pt x="17" y="10"/>
                </a:cubicBezTo>
                <a:cubicBezTo>
                  <a:pt x="10" y="0"/>
                  <a:pt x="0" y="8"/>
                  <a:pt x="0" y="8"/>
                </a:cubicBezTo>
                <a:close/>
              </a:path>
            </a:pathLst>
          </a:custGeom>
          <a:solidFill>
            <a:srgbClr val="CC627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443" name="Freeform 8565"/>
          <p:cNvSpPr>
            <a:spLocks/>
          </p:cNvSpPr>
          <p:nvPr/>
        </p:nvSpPr>
        <p:spPr bwMode="auto">
          <a:xfrm>
            <a:off x="8345488" y="4578350"/>
            <a:ext cx="31750" cy="28575"/>
          </a:xfrm>
          <a:custGeom>
            <a:avLst/>
            <a:gdLst>
              <a:gd name="T0" fmla="*/ 5 w 16"/>
              <a:gd name="T1" fmla="*/ 15 h 15"/>
              <a:gd name="T2" fmla="*/ 12 w 16"/>
              <a:gd name="T3" fmla="*/ 0 h 15"/>
              <a:gd name="T4" fmla="*/ 5 w 16"/>
              <a:gd name="T5" fmla="*/ 15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6" h="15">
                <a:moveTo>
                  <a:pt x="5" y="15"/>
                </a:moveTo>
                <a:cubicBezTo>
                  <a:pt x="5" y="15"/>
                  <a:pt x="16" y="11"/>
                  <a:pt x="12" y="0"/>
                </a:cubicBezTo>
                <a:cubicBezTo>
                  <a:pt x="0" y="3"/>
                  <a:pt x="5" y="15"/>
                  <a:pt x="5" y="15"/>
                </a:cubicBezTo>
                <a:close/>
              </a:path>
            </a:pathLst>
          </a:custGeom>
          <a:solidFill>
            <a:srgbClr val="CC627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444" name="Freeform 8566"/>
          <p:cNvSpPr>
            <a:spLocks/>
          </p:cNvSpPr>
          <p:nvPr/>
        </p:nvSpPr>
        <p:spPr bwMode="auto">
          <a:xfrm>
            <a:off x="8367713" y="4576763"/>
            <a:ext cx="25400" cy="22225"/>
          </a:xfrm>
          <a:custGeom>
            <a:avLst/>
            <a:gdLst>
              <a:gd name="T0" fmla="*/ 1 w 13"/>
              <a:gd name="T1" fmla="*/ 1 h 12"/>
              <a:gd name="T2" fmla="*/ 13 w 13"/>
              <a:gd name="T3" fmla="*/ 12 h 12"/>
              <a:gd name="T4" fmla="*/ 1 w 13"/>
              <a:gd name="T5" fmla="*/ 1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3" h="12">
                <a:moveTo>
                  <a:pt x="1" y="1"/>
                </a:moveTo>
                <a:cubicBezTo>
                  <a:pt x="0" y="12"/>
                  <a:pt x="13" y="12"/>
                  <a:pt x="13" y="12"/>
                </a:cubicBezTo>
                <a:cubicBezTo>
                  <a:pt x="13" y="12"/>
                  <a:pt x="12" y="0"/>
                  <a:pt x="1" y="1"/>
                </a:cubicBezTo>
                <a:close/>
              </a:path>
            </a:pathLst>
          </a:custGeom>
          <a:solidFill>
            <a:srgbClr val="CC627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445" name="Freeform 8567"/>
          <p:cNvSpPr>
            <a:spLocks/>
          </p:cNvSpPr>
          <p:nvPr/>
        </p:nvSpPr>
        <p:spPr bwMode="auto">
          <a:xfrm>
            <a:off x="8369301" y="4554538"/>
            <a:ext cx="26988" cy="31750"/>
          </a:xfrm>
          <a:custGeom>
            <a:avLst/>
            <a:gdLst>
              <a:gd name="T0" fmla="*/ 0 w 14"/>
              <a:gd name="T1" fmla="*/ 12 h 16"/>
              <a:gd name="T2" fmla="*/ 14 w 14"/>
              <a:gd name="T3" fmla="*/ 3 h 16"/>
              <a:gd name="T4" fmla="*/ 0 w 14"/>
              <a:gd name="T5" fmla="*/ 12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4" h="16">
                <a:moveTo>
                  <a:pt x="0" y="12"/>
                </a:moveTo>
                <a:cubicBezTo>
                  <a:pt x="11" y="16"/>
                  <a:pt x="14" y="3"/>
                  <a:pt x="14" y="3"/>
                </a:cubicBezTo>
                <a:cubicBezTo>
                  <a:pt x="14" y="3"/>
                  <a:pt x="2" y="0"/>
                  <a:pt x="0" y="12"/>
                </a:cubicBezTo>
                <a:close/>
              </a:path>
            </a:pathLst>
          </a:custGeom>
          <a:solidFill>
            <a:srgbClr val="CC627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446" name="Freeform 8568"/>
          <p:cNvSpPr>
            <a:spLocks/>
          </p:cNvSpPr>
          <p:nvPr/>
        </p:nvSpPr>
        <p:spPr bwMode="auto">
          <a:xfrm>
            <a:off x="8362951" y="4564063"/>
            <a:ext cx="6350" cy="6350"/>
          </a:xfrm>
          <a:custGeom>
            <a:avLst/>
            <a:gdLst>
              <a:gd name="T0" fmla="*/ 1 w 3"/>
              <a:gd name="T1" fmla="*/ 1 h 3"/>
              <a:gd name="T2" fmla="*/ 0 w 3"/>
              <a:gd name="T3" fmla="*/ 2 h 3"/>
              <a:gd name="T4" fmla="*/ 2 w 3"/>
              <a:gd name="T5" fmla="*/ 2 h 3"/>
              <a:gd name="T6" fmla="*/ 3 w 3"/>
              <a:gd name="T7" fmla="*/ 1 h 3"/>
              <a:gd name="T8" fmla="*/ 1 w 3"/>
              <a:gd name="T9" fmla="*/ 1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" h="3">
                <a:moveTo>
                  <a:pt x="1" y="1"/>
                </a:moveTo>
                <a:cubicBezTo>
                  <a:pt x="1" y="1"/>
                  <a:pt x="0" y="2"/>
                  <a:pt x="0" y="2"/>
                </a:cubicBezTo>
                <a:cubicBezTo>
                  <a:pt x="0" y="3"/>
                  <a:pt x="1" y="3"/>
                  <a:pt x="2" y="2"/>
                </a:cubicBezTo>
                <a:cubicBezTo>
                  <a:pt x="3" y="2"/>
                  <a:pt x="3" y="2"/>
                  <a:pt x="3" y="1"/>
                </a:cubicBezTo>
                <a:cubicBezTo>
                  <a:pt x="3" y="1"/>
                  <a:pt x="2" y="0"/>
                  <a:pt x="1" y="1"/>
                </a:cubicBezTo>
                <a:close/>
              </a:path>
            </a:pathLst>
          </a:custGeom>
          <a:solidFill>
            <a:srgbClr val="E782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447" name="Freeform 8569"/>
          <p:cNvSpPr>
            <a:spLocks/>
          </p:cNvSpPr>
          <p:nvPr/>
        </p:nvSpPr>
        <p:spPr bwMode="auto">
          <a:xfrm>
            <a:off x="8356601" y="4572000"/>
            <a:ext cx="3175" cy="7938"/>
          </a:xfrm>
          <a:custGeom>
            <a:avLst/>
            <a:gdLst>
              <a:gd name="T0" fmla="*/ 1 w 2"/>
              <a:gd name="T1" fmla="*/ 0 h 4"/>
              <a:gd name="T2" fmla="*/ 0 w 2"/>
              <a:gd name="T3" fmla="*/ 2 h 4"/>
              <a:gd name="T4" fmla="*/ 1 w 2"/>
              <a:gd name="T5" fmla="*/ 4 h 4"/>
              <a:gd name="T6" fmla="*/ 2 w 2"/>
              <a:gd name="T7" fmla="*/ 2 h 4"/>
              <a:gd name="T8" fmla="*/ 1 w 2"/>
              <a:gd name="T9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" h="4">
                <a:moveTo>
                  <a:pt x="1" y="0"/>
                </a:moveTo>
                <a:cubicBezTo>
                  <a:pt x="1" y="0"/>
                  <a:pt x="1" y="1"/>
                  <a:pt x="0" y="2"/>
                </a:cubicBezTo>
                <a:cubicBezTo>
                  <a:pt x="0" y="3"/>
                  <a:pt x="1" y="4"/>
                  <a:pt x="1" y="4"/>
                </a:cubicBezTo>
                <a:cubicBezTo>
                  <a:pt x="2" y="4"/>
                  <a:pt x="2" y="3"/>
                  <a:pt x="2" y="2"/>
                </a:cubicBezTo>
                <a:cubicBezTo>
                  <a:pt x="2" y="1"/>
                  <a:pt x="2" y="0"/>
                  <a:pt x="1" y="0"/>
                </a:cubicBezTo>
                <a:close/>
              </a:path>
            </a:pathLst>
          </a:custGeom>
          <a:solidFill>
            <a:srgbClr val="E782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448" name="Freeform 8570"/>
          <p:cNvSpPr>
            <a:spLocks/>
          </p:cNvSpPr>
          <p:nvPr/>
        </p:nvSpPr>
        <p:spPr bwMode="auto">
          <a:xfrm>
            <a:off x="8361363" y="4584700"/>
            <a:ext cx="6350" cy="4763"/>
          </a:xfrm>
          <a:custGeom>
            <a:avLst/>
            <a:gdLst>
              <a:gd name="T0" fmla="*/ 2 w 3"/>
              <a:gd name="T1" fmla="*/ 1 h 3"/>
              <a:gd name="T2" fmla="*/ 0 w 3"/>
              <a:gd name="T3" fmla="*/ 1 h 3"/>
              <a:gd name="T4" fmla="*/ 1 w 3"/>
              <a:gd name="T5" fmla="*/ 2 h 3"/>
              <a:gd name="T6" fmla="*/ 3 w 3"/>
              <a:gd name="T7" fmla="*/ 2 h 3"/>
              <a:gd name="T8" fmla="*/ 2 w 3"/>
              <a:gd name="T9" fmla="*/ 1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" h="3">
                <a:moveTo>
                  <a:pt x="2" y="1"/>
                </a:moveTo>
                <a:cubicBezTo>
                  <a:pt x="1" y="0"/>
                  <a:pt x="0" y="0"/>
                  <a:pt x="0" y="1"/>
                </a:cubicBezTo>
                <a:cubicBezTo>
                  <a:pt x="0" y="1"/>
                  <a:pt x="0" y="2"/>
                  <a:pt x="1" y="2"/>
                </a:cubicBezTo>
                <a:cubicBezTo>
                  <a:pt x="2" y="3"/>
                  <a:pt x="3" y="2"/>
                  <a:pt x="3" y="2"/>
                </a:cubicBezTo>
                <a:cubicBezTo>
                  <a:pt x="3" y="2"/>
                  <a:pt x="2" y="1"/>
                  <a:pt x="2" y="1"/>
                </a:cubicBezTo>
                <a:close/>
              </a:path>
            </a:pathLst>
          </a:custGeom>
          <a:solidFill>
            <a:srgbClr val="E782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449" name="Freeform 8571"/>
          <p:cNvSpPr>
            <a:spLocks/>
          </p:cNvSpPr>
          <p:nvPr/>
        </p:nvSpPr>
        <p:spPr bwMode="auto">
          <a:xfrm>
            <a:off x="8374063" y="4581525"/>
            <a:ext cx="4763" cy="6350"/>
          </a:xfrm>
          <a:custGeom>
            <a:avLst/>
            <a:gdLst>
              <a:gd name="T0" fmla="*/ 1 w 3"/>
              <a:gd name="T1" fmla="*/ 1 h 3"/>
              <a:gd name="T2" fmla="*/ 0 w 3"/>
              <a:gd name="T3" fmla="*/ 3 h 3"/>
              <a:gd name="T4" fmla="*/ 2 w 3"/>
              <a:gd name="T5" fmla="*/ 2 h 3"/>
              <a:gd name="T6" fmla="*/ 2 w 3"/>
              <a:gd name="T7" fmla="*/ 0 h 3"/>
              <a:gd name="T8" fmla="*/ 1 w 3"/>
              <a:gd name="T9" fmla="*/ 1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" h="3">
                <a:moveTo>
                  <a:pt x="1" y="1"/>
                </a:moveTo>
                <a:cubicBezTo>
                  <a:pt x="0" y="1"/>
                  <a:pt x="0" y="2"/>
                  <a:pt x="0" y="3"/>
                </a:cubicBezTo>
                <a:cubicBezTo>
                  <a:pt x="1" y="3"/>
                  <a:pt x="1" y="3"/>
                  <a:pt x="2" y="2"/>
                </a:cubicBezTo>
                <a:cubicBezTo>
                  <a:pt x="3" y="1"/>
                  <a:pt x="3" y="0"/>
                  <a:pt x="2" y="0"/>
                </a:cubicBezTo>
                <a:cubicBezTo>
                  <a:pt x="2" y="0"/>
                  <a:pt x="1" y="0"/>
                  <a:pt x="1" y="1"/>
                </a:cubicBezTo>
                <a:close/>
              </a:path>
            </a:pathLst>
          </a:custGeom>
          <a:solidFill>
            <a:srgbClr val="E782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450" name="Freeform 8572"/>
          <p:cNvSpPr>
            <a:spLocks/>
          </p:cNvSpPr>
          <p:nvPr/>
        </p:nvSpPr>
        <p:spPr bwMode="auto">
          <a:xfrm>
            <a:off x="8375651" y="4570413"/>
            <a:ext cx="3175" cy="6350"/>
          </a:xfrm>
          <a:custGeom>
            <a:avLst/>
            <a:gdLst>
              <a:gd name="T0" fmla="*/ 0 w 2"/>
              <a:gd name="T1" fmla="*/ 0 h 3"/>
              <a:gd name="T2" fmla="*/ 0 w 2"/>
              <a:gd name="T3" fmla="*/ 2 h 3"/>
              <a:gd name="T4" fmla="*/ 2 w 2"/>
              <a:gd name="T5" fmla="*/ 3 h 3"/>
              <a:gd name="T6" fmla="*/ 2 w 2"/>
              <a:gd name="T7" fmla="*/ 1 h 3"/>
              <a:gd name="T8" fmla="*/ 0 w 2"/>
              <a:gd name="T9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" h="3">
                <a:moveTo>
                  <a:pt x="0" y="0"/>
                </a:moveTo>
                <a:cubicBezTo>
                  <a:pt x="0" y="0"/>
                  <a:pt x="0" y="1"/>
                  <a:pt x="0" y="2"/>
                </a:cubicBezTo>
                <a:cubicBezTo>
                  <a:pt x="1" y="3"/>
                  <a:pt x="2" y="3"/>
                  <a:pt x="2" y="3"/>
                </a:cubicBezTo>
                <a:cubicBezTo>
                  <a:pt x="2" y="2"/>
                  <a:pt x="2" y="2"/>
                  <a:pt x="2" y="1"/>
                </a:cubicBezTo>
                <a:cubicBezTo>
                  <a:pt x="1" y="0"/>
                  <a:pt x="1" y="0"/>
                  <a:pt x="0" y="0"/>
                </a:cubicBezTo>
                <a:close/>
              </a:path>
            </a:pathLst>
          </a:custGeom>
          <a:solidFill>
            <a:srgbClr val="E782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451" name="Freeform 8573"/>
          <p:cNvSpPr>
            <a:spLocks/>
          </p:cNvSpPr>
          <p:nvPr/>
        </p:nvSpPr>
        <p:spPr bwMode="auto">
          <a:xfrm>
            <a:off x="8366126" y="4576763"/>
            <a:ext cx="4763" cy="3175"/>
          </a:xfrm>
          <a:custGeom>
            <a:avLst/>
            <a:gdLst>
              <a:gd name="T0" fmla="*/ 1 w 3"/>
              <a:gd name="T1" fmla="*/ 0 h 2"/>
              <a:gd name="T2" fmla="*/ 1 w 3"/>
              <a:gd name="T3" fmla="*/ 1 h 2"/>
              <a:gd name="T4" fmla="*/ 2 w 3"/>
              <a:gd name="T5" fmla="*/ 2 h 2"/>
              <a:gd name="T6" fmla="*/ 2 w 3"/>
              <a:gd name="T7" fmla="*/ 0 h 2"/>
              <a:gd name="T8" fmla="*/ 1 w 3"/>
              <a:gd name="T9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" h="2">
                <a:moveTo>
                  <a:pt x="1" y="0"/>
                </a:moveTo>
                <a:cubicBezTo>
                  <a:pt x="1" y="0"/>
                  <a:pt x="0" y="0"/>
                  <a:pt x="1" y="1"/>
                </a:cubicBezTo>
                <a:cubicBezTo>
                  <a:pt x="1" y="1"/>
                  <a:pt x="1" y="2"/>
                  <a:pt x="2" y="2"/>
                </a:cubicBezTo>
                <a:cubicBezTo>
                  <a:pt x="2" y="2"/>
                  <a:pt x="3" y="1"/>
                  <a:pt x="2" y="0"/>
                </a:cubicBezTo>
                <a:cubicBezTo>
                  <a:pt x="2" y="0"/>
                  <a:pt x="2" y="0"/>
                  <a:pt x="1" y="0"/>
                </a:cubicBezTo>
                <a:close/>
              </a:path>
            </a:pathLst>
          </a:custGeom>
          <a:solidFill>
            <a:srgbClr val="E782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452" name="Freeform 8574"/>
          <p:cNvSpPr>
            <a:spLocks/>
          </p:cNvSpPr>
          <p:nvPr/>
        </p:nvSpPr>
        <p:spPr bwMode="auto">
          <a:xfrm>
            <a:off x="8264526" y="4525963"/>
            <a:ext cx="34925" cy="31750"/>
          </a:xfrm>
          <a:custGeom>
            <a:avLst/>
            <a:gdLst>
              <a:gd name="T0" fmla="*/ 8 w 18"/>
              <a:gd name="T1" fmla="*/ 16 h 16"/>
              <a:gd name="T2" fmla="*/ 9 w 18"/>
              <a:gd name="T3" fmla="*/ 0 h 16"/>
              <a:gd name="T4" fmla="*/ 8 w 18"/>
              <a:gd name="T5" fmla="*/ 16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8" h="16">
                <a:moveTo>
                  <a:pt x="8" y="16"/>
                </a:moveTo>
                <a:cubicBezTo>
                  <a:pt x="18" y="9"/>
                  <a:pt x="9" y="0"/>
                  <a:pt x="9" y="0"/>
                </a:cubicBezTo>
                <a:cubicBezTo>
                  <a:pt x="9" y="0"/>
                  <a:pt x="0" y="8"/>
                  <a:pt x="8" y="16"/>
                </a:cubicBezTo>
                <a:close/>
              </a:path>
            </a:pathLst>
          </a:custGeom>
          <a:solidFill>
            <a:srgbClr val="B7516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453" name="Freeform 8575"/>
          <p:cNvSpPr>
            <a:spLocks/>
          </p:cNvSpPr>
          <p:nvPr/>
        </p:nvSpPr>
        <p:spPr bwMode="auto">
          <a:xfrm>
            <a:off x="8251826" y="4535488"/>
            <a:ext cx="28575" cy="31750"/>
          </a:xfrm>
          <a:custGeom>
            <a:avLst/>
            <a:gdLst>
              <a:gd name="T0" fmla="*/ 0 w 15"/>
              <a:gd name="T1" fmla="*/ 6 h 16"/>
              <a:gd name="T2" fmla="*/ 15 w 15"/>
              <a:gd name="T3" fmla="*/ 11 h 16"/>
              <a:gd name="T4" fmla="*/ 0 w 15"/>
              <a:gd name="T5" fmla="*/ 6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5" h="16">
                <a:moveTo>
                  <a:pt x="0" y="6"/>
                </a:moveTo>
                <a:cubicBezTo>
                  <a:pt x="0" y="6"/>
                  <a:pt x="5" y="16"/>
                  <a:pt x="15" y="11"/>
                </a:cubicBezTo>
                <a:cubicBezTo>
                  <a:pt x="11" y="0"/>
                  <a:pt x="0" y="6"/>
                  <a:pt x="0" y="6"/>
                </a:cubicBezTo>
                <a:close/>
              </a:path>
            </a:pathLst>
          </a:custGeom>
          <a:solidFill>
            <a:srgbClr val="B7516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454" name="Freeform 8576"/>
          <p:cNvSpPr>
            <a:spLocks/>
          </p:cNvSpPr>
          <p:nvPr/>
        </p:nvSpPr>
        <p:spPr bwMode="auto">
          <a:xfrm>
            <a:off x="8259763" y="4557713"/>
            <a:ext cx="25400" cy="26988"/>
          </a:xfrm>
          <a:custGeom>
            <a:avLst/>
            <a:gdLst>
              <a:gd name="T0" fmla="*/ 1 w 13"/>
              <a:gd name="T1" fmla="*/ 14 h 14"/>
              <a:gd name="T2" fmla="*/ 11 w 13"/>
              <a:gd name="T3" fmla="*/ 0 h 14"/>
              <a:gd name="T4" fmla="*/ 1 w 13"/>
              <a:gd name="T5" fmla="*/ 14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3" h="14">
                <a:moveTo>
                  <a:pt x="1" y="14"/>
                </a:moveTo>
                <a:cubicBezTo>
                  <a:pt x="1" y="14"/>
                  <a:pt x="13" y="12"/>
                  <a:pt x="11" y="0"/>
                </a:cubicBezTo>
                <a:cubicBezTo>
                  <a:pt x="0" y="1"/>
                  <a:pt x="1" y="14"/>
                  <a:pt x="1" y="14"/>
                </a:cubicBezTo>
                <a:close/>
              </a:path>
            </a:pathLst>
          </a:custGeom>
          <a:solidFill>
            <a:srgbClr val="B7516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455" name="Freeform 8577"/>
          <p:cNvSpPr>
            <a:spLocks/>
          </p:cNvSpPr>
          <p:nvPr/>
        </p:nvSpPr>
        <p:spPr bwMode="auto">
          <a:xfrm>
            <a:off x="8274051" y="4557713"/>
            <a:ext cx="30163" cy="26988"/>
          </a:xfrm>
          <a:custGeom>
            <a:avLst/>
            <a:gdLst>
              <a:gd name="T0" fmla="*/ 3 w 15"/>
              <a:gd name="T1" fmla="*/ 0 h 14"/>
              <a:gd name="T2" fmla="*/ 13 w 15"/>
              <a:gd name="T3" fmla="*/ 14 h 14"/>
              <a:gd name="T4" fmla="*/ 3 w 15"/>
              <a:gd name="T5" fmla="*/ 0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5" h="14">
                <a:moveTo>
                  <a:pt x="3" y="0"/>
                </a:moveTo>
                <a:cubicBezTo>
                  <a:pt x="0" y="12"/>
                  <a:pt x="13" y="14"/>
                  <a:pt x="13" y="14"/>
                </a:cubicBezTo>
                <a:cubicBezTo>
                  <a:pt x="13" y="14"/>
                  <a:pt x="15" y="3"/>
                  <a:pt x="3" y="0"/>
                </a:cubicBezTo>
                <a:close/>
              </a:path>
            </a:pathLst>
          </a:custGeom>
          <a:solidFill>
            <a:srgbClr val="B7516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456" name="Freeform 8578"/>
          <p:cNvSpPr>
            <a:spLocks/>
          </p:cNvSpPr>
          <p:nvPr/>
        </p:nvSpPr>
        <p:spPr bwMode="auto">
          <a:xfrm>
            <a:off x="8280401" y="4537075"/>
            <a:ext cx="31750" cy="33338"/>
          </a:xfrm>
          <a:custGeom>
            <a:avLst/>
            <a:gdLst>
              <a:gd name="T0" fmla="*/ 0 w 16"/>
              <a:gd name="T1" fmla="*/ 10 h 17"/>
              <a:gd name="T2" fmla="*/ 16 w 16"/>
              <a:gd name="T3" fmla="*/ 6 h 17"/>
              <a:gd name="T4" fmla="*/ 0 w 16"/>
              <a:gd name="T5" fmla="*/ 10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6" h="17">
                <a:moveTo>
                  <a:pt x="0" y="10"/>
                </a:moveTo>
                <a:cubicBezTo>
                  <a:pt x="10" y="17"/>
                  <a:pt x="16" y="6"/>
                  <a:pt x="16" y="6"/>
                </a:cubicBezTo>
                <a:cubicBezTo>
                  <a:pt x="16" y="6"/>
                  <a:pt x="6" y="0"/>
                  <a:pt x="0" y="10"/>
                </a:cubicBezTo>
                <a:close/>
              </a:path>
            </a:pathLst>
          </a:custGeom>
          <a:solidFill>
            <a:srgbClr val="B7516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457" name="Oval 8579"/>
          <p:cNvSpPr>
            <a:spLocks noChangeArrowheads="1"/>
          </p:cNvSpPr>
          <p:nvPr/>
        </p:nvSpPr>
        <p:spPr bwMode="auto">
          <a:xfrm>
            <a:off x="8278813" y="4545013"/>
            <a:ext cx="6350" cy="4763"/>
          </a:xfrm>
          <a:prstGeom prst="ellipse">
            <a:avLst/>
          </a:prstGeom>
          <a:solidFill>
            <a:srgbClr val="E79B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458" name="Freeform 8580"/>
          <p:cNvSpPr>
            <a:spLocks/>
          </p:cNvSpPr>
          <p:nvPr/>
        </p:nvSpPr>
        <p:spPr bwMode="auto">
          <a:xfrm>
            <a:off x="8269288" y="4551363"/>
            <a:ext cx="4763" cy="6350"/>
          </a:xfrm>
          <a:custGeom>
            <a:avLst/>
            <a:gdLst>
              <a:gd name="T0" fmla="*/ 2 w 3"/>
              <a:gd name="T1" fmla="*/ 0 h 3"/>
              <a:gd name="T2" fmla="*/ 1 w 3"/>
              <a:gd name="T3" fmla="*/ 1 h 3"/>
              <a:gd name="T4" fmla="*/ 1 w 3"/>
              <a:gd name="T5" fmla="*/ 3 h 3"/>
              <a:gd name="T6" fmla="*/ 2 w 3"/>
              <a:gd name="T7" fmla="*/ 2 h 3"/>
              <a:gd name="T8" fmla="*/ 2 w 3"/>
              <a:gd name="T9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" h="3">
                <a:moveTo>
                  <a:pt x="2" y="0"/>
                </a:moveTo>
                <a:cubicBezTo>
                  <a:pt x="1" y="0"/>
                  <a:pt x="1" y="0"/>
                  <a:pt x="1" y="1"/>
                </a:cubicBezTo>
                <a:cubicBezTo>
                  <a:pt x="0" y="2"/>
                  <a:pt x="0" y="3"/>
                  <a:pt x="1" y="3"/>
                </a:cubicBezTo>
                <a:cubicBezTo>
                  <a:pt x="1" y="3"/>
                  <a:pt x="2" y="2"/>
                  <a:pt x="2" y="2"/>
                </a:cubicBezTo>
                <a:cubicBezTo>
                  <a:pt x="3" y="1"/>
                  <a:pt x="2" y="0"/>
                  <a:pt x="2" y="0"/>
                </a:cubicBezTo>
                <a:close/>
              </a:path>
            </a:pathLst>
          </a:custGeom>
          <a:solidFill>
            <a:srgbClr val="E79B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459" name="Freeform 8581"/>
          <p:cNvSpPr>
            <a:spLocks/>
          </p:cNvSpPr>
          <p:nvPr/>
        </p:nvSpPr>
        <p:spPr bwMode="auto">
          <a:xfrm>
            <a:off x="8270876" y="4562475"/>
            <a:ext cx="6350" cy="6350"/>
          </a:xfrm>
          <a:custGeom>
            <a:avLst/>
            <a:gdLst>
              <a:gd name="T0" fmla="*/ 2 w 3"/>
              <a:gd name="T1" fmla="*/ 1 h 3"/>
              <a:gd name="T2" fmla="*/ 1 w 3"/>
              <a:gd name="T3" fmla="*/ 0 h 3"/>
              <a:gd name="T4" fmla="*/ 1 w 3"/>
              <a:gd name="T5" fmla="*/ 2 h 3"/>
              <a:gd name="T6" fmla="*/ 3 w 3"/>
              <a:gd name="T7" fmla="*/ 2 h 3"/>
              <a:gd name="T8" fmla="*/ 2 w 3"/>
              <a:gd name="T9" fmla="*/ 1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" h="3">
                <a:moveTo>
                  <a:pt x="2" y="1"/>
                </a:moveTo>
                <a:cubicBezTo>
                  <a:pt x="2" y="0"/>
                  <a:pt x="1" y="0"/>
                  <a:pt x="1" y="0"/>
                </a:cubicBezTo>
                <a:cubicBezTo>
                  <a:pt x="0" y="1"/>
                  <a:pt x="1" y="1"/>
                  <a:pt x="1" y="2"/>
                </a:cubicBezTo>
                <a:cubicBezTo>
                  <a:pt x="2" y="3"/>
                  <a:pt x="3" y="3"/>
                  <a:pt x="3" y="2"/>
                </a:cubicBezTo>
                <a:cubicBezTo>
                  <a:pt x="3" y="2"/>
                  <a:pt x="3" y="1"/>
                  <a:pt x="2" y="1"/>
                </a:cubicBezTo>
                <a:close/>
              </a:path>
            </a:pathLst>
          </a:custGeom>
          <a:solidFill>
            <a:srgbClr val="E79B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460" name="Freeform 8582"/>
          <p:cNvSpPr>
            <a:spLocks/>
          </p:cNvSpPr>
          <p:nvPr/>
        </p:nvSpPr>
        <p:spPr bwMode="auto">
          <a:xfrm>
            <a:off x="8281988" y="4562475"/>
            <a:ext cx="7938" cy="6350"/>
          </a:xfrm>
          <a:custGeom>
            <a:avLst/>
            <a:gdLst>
              <a:gd name="T0" fmla="*/ 1 w 4"/>
              <a:gd name="T1" fmla="*/ 1 h 3"/>
              <a:gd name="T2" fmla="*/ 1 w 4"/>
              <a:gd name="T3" fmla="*/ 3 h 3"/>
              <a:gd name="T4" fmla="*/ 2 w 4"/>
              <a:gd name="T5" fmla="*/ 3 h 3"/>
              <a:gd name="T6" fmla="*/ 3 w 4"/>
              <a:gd name="T7" fmla="*/ 1 h 3"/>
              <a:gd name="T8" fmla="*/ 1 w 4"/>
              <a:gd name="T9" fmla="*/ 1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" h="3">
                <a:moveTo>
                  <a:pt x="1" y="1"/>
                </a:moveTo>
                <a:cubicBezTo>
                  <a:pt x="1" y="2"/>
                  <a:pt x="0" y="2"/>
                  <a:pt x="1" y="3"/>
                </a:cubicBezTo>
                <a:cubicBezTo>
                  <a:pt x="1" y="3"/>
                  <a:pt x="2" y="3"/>
                  <a:pt x="2" y="3"/>
                </a:cubicBezTo>
                <a:cubicBezTo>
                  <a:pt x="3" y="2"/>
                  <a:pt x="4" y="1"/>
                  <a:pt x="3" y="1"/>
                </a:cubicBezTo>
                <a:cubicBezTo>
                  <a:pt x="3" y="0"/>
                  <a:pt x="2" y="1"/>
                  <a:pt x="1" y="1"/>
                </a:cubicBezTo>
                <a:close/>
              </a:path>
            </a:pathLst>
          </a:custGeom>
          <a:solidFill>
            <a:srgbClr val="E79B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461" name="Freeform 8583"/>
          <p:cNvSpPr>
            <a:spLocks/>
          </p:cNvSpPr>
          <p:nvPr/>
        </p:nvSpPr>
        <p:spPr bwMode="auto">
          <a:xfrm>
            <a:off x="8288338" y="4551363"/>
            <a:ext cx="3175" cy="7938"/>
          </a:xfrm>
          <a:custGeom>
            <a:avLst/>
            <a:gdLst>
              <a:gd name="T0" fmla="*/ 1 w 2"/>
              <a:gd name="T1" fmla="*/ 1 h 4"/>
              <a:gd name="T2" fmla="*/ 0 w 2"/>
              <a:gd name="T3" fmla="*/ 2 h 4"/>
              <a:gd name="T4" fmla="*/ 2 w 2"/>
              <a:gd name="T5" fmla="*/ 4 h 4"/>
              <a:gd name="T6" fmla="*/ 2 w 2"/>
              <a:gd name="T7" fmla="*/ 2 h 4"/>
              <a:gd name="T8" fmla="*/ 1 w 2"/>
              <a:gd name="T9" fmla="*/ 1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" h="4">
                <a:moveTo>
                  <a:pt x="1" y="1"/>
                </a:moveTo>
                <a:cubicBezTo>
                  <a:pt x="0" y="1"/>
                  <a:pt x="0" y="2"/>
                  <a:pt x="0" y="2"/>
                </a:cubicBezTo>
                <a:cubicBezTo>
                  <a:pt x="1" y="3"/>
                  <a:pt x="1" y="4"/>
                  <a:pt x="2" y="4"/>
                </a:cubicBezTo>
                <a:cubicBezTo>
                  <a:pt x="2" y="4"/>
                  <a:pt x="2" y="3"/>
                  <a:pt x="2" y="2"/>
                </a:cubicBezTo>
                <a:cubicBezTo>
                  <a:pt x="2" y="1"/>
                  <a:pt x="1" y="0"/>
                  <a:pt x="1" y="1"/>
                </a:cubicBezTo>
                <a:close/>
              </a:path>
            </a:pathLst>
          </a:custGeom>
          <a:solidFill>
            <a:srgbClr val="E79B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462" name="Oval 8584"/>
          <p:cNvSpPr>
            <a:spLocks noChangeArrowheads="1"/>
          </p:cNvSpPr>
          <p:nvPr/>
        </p:nvSpPr>
        <p:spPr bwMode="auto">
          <a:xfrm>
            <a:off x="8278813" y="4554538"/>
            <a:ext cx="3175" cy="4763"/>
          </a:xfrm>
          <a:prstGeom prst="ellipse">
            <a:avLst/>
          </a:prstGeom>
          <a:solidFill>
            <a:srgbClr val="E79B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463" name="Freeform 8585"/>
          <p:cNvSpPr>
            <a:spLocks/>
          </p:cNvSpPr>
          <p:nvPr/>
        </p:nvSpPr>
        <p:spPr bwMode="auto">
          <a:xfrm>
            <a:off x="8313738" y="4537075"/>
            <a:ext cx="31750" cy="31750"/>
          </a:xfrm>
          <a:custGeom>
            <a:avLst/>
            <a:gdLst>
              <a:gd name="T0" fmla="*/ 8 w 17"/>
              <a:gd name="T1" fmla="*/ 16 h 16"/>
              <a:gd name="T2" fmla="*/ 8 w 17"/>
              <a:gd name="T3" fmla="*/ 0 h 16"/>
              <a:gd name="T4" fmla="*/ 8 w 17"/>
              <a:gd name="T5" fmla="*/ 16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7" h="16">
                <a:moveTo>
                  <a:pt x="8" y="16"/>
                </a:moveTo>
                <a:cubicBezTo>
                  <a:pt x="17" y="9"/>
                  <a:pt x="8" y="0"/>
                  <a:pt x="8" y="0"/>
                </a:cubicBezTo>
                <a:cubicBezTo>
                  <a:pt x="8" y="0"/>
                  <a:pt x="0" y="8"/>
                  <a:pt x="8" y="16"/>
                </a:cubicBezTo>
                <a:close/>
              </a:path>
            </a:pathLst>
          </a:custGeom>
          <a:solidFill>
            <a:srgbClr val="E79B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464" name="Freeform 8586"/>
          <p:cNvSpPr>
            <a:spLocks/>
          </p:cNvSpPr>
          <p:nvPr/>
        </p:nvSpPr>
        <p:spPr bwMode="auto">
          <a:xfrm>
            <a:off x="8297863" y="4546600"/>
            <a:ext cx="31750" cy="31750"/>
          </a:xfrm>
          <a:custGeom>
            <a:avLst/>
            <a:gdLst>
              <a:gd name="T0" fmla="*/ 0 w 16"/>
              <a:gd name="T1" fmla="*/ 6 h 16"/>
              <a:gd name="T2" fmla="*/ 16 w 16"/>
              <a:gd name="T3" fmla="*/ 11 h 16"/>
              <a:gd name="T4" fmla="*/ 0 w 16"/>
              <a:gd name="T5" fmla="*/ 6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6" h="16">
                <a:moveTo>
                  <a:pt x="0" y="6"/>
                </a:moveTo>
                <a:cubicBezTo>
                  <a:pt x="0" y="6"/>
                  <a:pt x="5" y="16"/>
                  <a:pt x="16" y="11"/>
                </a:cubicBezTo>
                <a:cubicBezTo>
                  <a:pt x="12" y="0"/>
                  <a:pt x="0" y="6"/>
                  <a:pt x="0" y="6"/>
                </a:cubicBezTo>
                <a:close/>
              </a:path>
            </a:pathLst>
          </a:custGeom>
          <a:solidFill>
            <a:srgbClr val="E79B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465" name="Freeform 8587"/>
          <p:cNvSpPr>
            <a:spLocks/>
          </p:cNvSpPr>
          <p:nvPr/>
        </p:nvSpPr>
        <p:spPr bwMode="auto">
          <a:xfrm>
            <a:off x="8305801" y="4568825"/>
            <a:ext cx="25400" cy="26988"/>
          </a:xfrm>
          <a:custGeom>
            <a:avLst/>
            <a:gdLst>
              <a:gd name="T0" fmla="*/ 1 w 13"/>
              <a:gd name="T1" fmla="*/ 14 h 14"/>
              <a:gd name="T2" fmla="*/ 12 w 13"/>
              <a:gd name="T3" fmla="*/ 0 h 14"/>
              <a:gd name="T4" fmla="*/ 1 w 13"/>
              <a:gd name="T5" fmla="*/ 14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3" h="14">
                <a:moveTo>
                  <a:pt x="1" y="14"/>
                </a:moveTo>
                <a:cubicBezTo>
                  <a:pt x="1" y="14"/>
                  <a:pt x="13" y="12"/>
                  <a:pt x="12" y="0"/>
                </a:cubicBezTo>
                <a:cubicBezTo>
                  <a:pt x="0" y="1"/>
                  <a:pt x="1" y="14"/>
                  <a:pt x="1" y="14"/>
                </a:cubicBezTo>
                <a:close/>
              </a:path>
            </a:pathLst>
          </a:custGeom>
          <a:solidFill>
            <a:srgbClr val="E79B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466" name="Freeform 8588"/>
          <p:cNvSpPr>
            <a:spLocks/>
          </p:cNvSpPr>
          <p:nvPr/>
        </p:nvSpPr>
        <p:spPr bwMode="auto">
          <a:xfrm>
            <a:off x="8321676" y="4568825"/>
            <a:ext cx="28575" cy="26988"/>
          </a:xfrm>
          <a:custGeom>
            <a:avLst/>
            <a:gdLst>
              <a:gd name="T0" fmla="*/ 4 w 15"/>
              <a:gd name="T1" fmla="*/ 0 h 14"/>
              <a:gd name="T2" fmla="*/ 13 w 15"/>
              <a:gd name="T3" fmla="*/ 14 h 14"/>
              <a:gd name="T4" fmla="*/ 4 w 15"/>
              <a:gd name="T5" fmla="*/ 0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5" h="14">
                <a:moveTo>
                  <a:pt x="4" y="0"/>
                </a:moveTo>
                <a:cubicBezTo>
                  <a:pt x="0" y="12"/>
                  <a:pt x="13" y="14"/>
                  <a:pt x="13" y="14"/>
                </a:cubicBezTo>
                <a:cubicBezTo>
                  <a:pt x="13" y="14"/>
                  <a:pt x="15" y="3"/>
                  <a:pt x="4" y="0"/>
                </a:cubicBezTo>
                <a:close/>
              </a:path>
            </a:pathLst>
          </a:custGeom>
          <a:solidFill>
            <a:srgbClr val="E79B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467" name="Freeform 8589"/>
          <p:cNvSpPr>
            <a:spLocks/>
          </p:cNvSpPr>
          <p:nvPr/>
        </p:nvSpPr>
        <p:spPr bwMode="auto">
          <a:xfrm>
            <a:off x="8329613" y="4549775"/>
            <a:ext cx="30163" cy="31750"/>
          </a:xfrm>
          <a:custGeom>
            <a:avLst/>
            <a:gdLst>
              <a:gd name="T0" fmla="*/ 0 w 16"/>
              <a:gd name="T1" fmla="*/ 10 h 17"/>
              <a:gd name="T2" fmla="*/ 16 w 16"/>
              <a:gd name="T3" fmla="*/ 6 h 17"/>
              <a:gd name="T4" fmla="*/ 0 w 16"/>
              <a:gd name="T5" fmla="*/ 10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6" h="17">
                <a:moveTo>
                  <a:pt x="0" y="10"/>
                </a:moveTo>
                <a:cubicBezTo>
                  <a:pt x="9" y="17"/>
                  <a:pt x="16" y="6"/>
                  <a:pt x="16" y="6"/>
                </a:cubicBezTo>
                <a:cubicBezTo>
                  <a:pt x="16" y="6"/>
                  <a:pt x="5" y="0"/>
                  <a:pt x="0" y="10"/>
                </a:cubicBezTo>
                <a:close/>
              </a:path>
            </a:pathLst>
          </a:custGeom>
          <a:solidFill>
            <a:srgbClr val="E79B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468" name="Oval 8590"/>
          <p:cNvSpPr>
            <a:spLocks noChangeArrowheads="1"/>
          </p:cNvSpPr>
          <p:nvPr/>
        </p:nvSpPr>
        <p:spPr bwMode="auto">
          <a:xfrm>
            <a:off x="8324851" y="4557713"/>
            <a:ext cx="7938" cy="3175"/>
          </a:xfrm>
          <a:prstGeom prst="ellipse">
            <a:avLst/>
          </a:prstGeom>
          <a:solidFill>
            <a:srgbClr val="B7516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469" name="Freeform 8591"/>
          <p:cNvSpPr>
            <a:spLocks/>
          </p:cNvSpPr>
          <p:nvPr/>
        </p:nvSpPr>
        <p:spPr bwMode="auto">
          <a:xfrm>
            <a:off x="8316913" y="4562475"/>
            <a:ext cx="4763" cy="6350"/>
          </a:xfrm>
          <a:custGeom>
            <a:avLst/>
            <a:gdLst>
              <a:gd name="T0" fmla="*/ 1 w 2"/>
              <a:gd name="T1" fmla="*/ 0 h 3"/>
              <a:gd name="T2" fmla="*/ 0 w 2"/>
              <a:gd name="T3" fmla="*/ 1 h 3"/>
              <a:gd name="T4" fmla="*/ 0 w 2"/>
              <a:gd name="T5" fmla="*/ 3 h 3"/>
              <a:gd name="T6" fmla="*/ 2 w 2"/>
              <a:gd name="T7" fmla="*/ 2 h 3"/>
              <a:gd name="T8" fmla="*/ 1 w 2"/>
              <a:gd name="T9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" h="3">
                <a:moveTo>
                  <a:pt x="1" y="0"/>
                </a:moveTo>
                <a:cubicBezTo>
                  <a:pt x="1" y="0"/>
                  <a:pt x="0" y="0"/>
                  <a:pt x="0" y="1"/>
                </a:cubicBezTo>
                <a:cubicBezTo>
                  <a:pt x="0" y="2"/>
                  <a:pt x="0" y="3"/>
                  <a:pt x="0" y="3"/>
                </a:cubicBezTo>
                <a:cubicBezTo>
                  <a:pt x="1" y="3"/>
                  <a:pt x="1" y="3"/>
                  <a:pt x="2" y="2"/>
                </a:cubicBezTo>
                <a:cubicBezTo>
                  <a:pt x="2" y="1"/>
                  <a:pt x="2" y="0"/>
                  <a:pt x="1" y="0"/>
                </a:cubicBezTo>
                <a:close/>
              </a:path>
            </a:pathLst>
          </a:custGeom>
          <a:solidFill>
            <a:srgbClr val="B7516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470" name="Freeform 8592"/>
          <p:cNvSpPr>
            <a:spLocks/>
          </p:cNvSpPr>
          <p:nvPr/>
        </p:nvSpPr>
        <p:spPr bwMode="auto">
          <a:xfrm>
            <a:off x="8316913" y="4575175"/>
            <a:ext cx="7938" cy="4763"/>
          </a:xfrm>
          <a:custGeom>
            <a:avLst/>
            <a:gdLst>
              <a:gd name="T0" fmla="*/ 3 w 4"/>
              <a:gd name="T1" fmla="*/ 1 h 3"/>
              <a:gd name="T2" fmla="*/ 1 w 4"/>
              <a:gd name="T3" fmla="*/ 0 h 3"/>
              <a:gd name="T4" fmla="*/ 2 w 4"/>
              <a:gd name="T5" fmla="*/ 2 h 3"/>
              <a:gd name="T6" fmla="*/ 3 w 4"/>
              <a:gd name="T7" fmla="*/ 2 h 3"/>
              <a:gd name="T8" fmla="*/ 3 w 4"/>
              <a:gd name="T9" fmla="*/ 1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" h="3">
                <a:moveTo>
                  <a:pt x="3" y="1"/>
                </a:moveTo>
                <a:cubicBezTo>
                  <a:pt x="2" y="0"/>
                  <a:pt x="1" y="0"/>
                  <a:pt x="1" y="0"/>
                </a:cubicBezTo>
                <a:cubicBezTo>
                  <a:pt x="0" y="1"/>
                  <a:pt x="1" y="2"/>
                  <a:pt x="2" y="2"/>
                </a:cubicBezTo>
                <a:cubicBezTo>
                  <a:pt x="2" y="3"/>
                  <a:pt x="3" y="3"/>
                  <a:pt x="3" y="2"/>
                </a:cubicBezTo>
                <a:cubicBezTo>
                  <a:pt x="4" y="2"/>
                  <a:pt x="3" y="1"/>
                  <a:pt x="3" y="1"/>
                </a:cubicBezTo>
                <a:close/>
              </a:path>
            </a:pathLst>
          </a:custGeom>
          <a:solidFill>
            <a:srgbClr val="B7516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471" name="Freeform 8593"/>
          <p:cNvSpPr>
            <a:spLocks/>
          </p:cNvSpPr>
          <p:nvPr/>
        </p:nvSpPr>
        <p:spPr bwMode="auto">
          <a:xfrm>
            <a:off x="8331201" y="4576763"/>
            <a:ext cx="4763" cy="3175"/>
          </a:xfrm>
          <a:custGeom>
            <a:avLst/>
            <a:gdLst>
              <a:gd name="T0" fmla="*/ 1 w 3"/>
              <a:gd name="T1" fmla="*/ 0 h 2"/>
              <a:gd name="T2" fmla="*/ 0 w 3"/>
              <a:gd name="T3" fmla="*/ 2 h 2"/>
              <a:gd name="T4" fmla="*/ 2 w 3"/>
              <a:gd name="T5" fmla="*/ 2 h 2"/>
              <a:gd name="T6" fmla="*/ 3 w 3"/>
              <a:gd name="T7" fmla="*/ 0 h 2"/>
              <a:gd name="T8" fmla="*/ 1 w 3"/>
              <a:gd name="T9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" h="2">
                <a:moveTo>
                  <a:pt x="1" y="0"/>
                </a:moveTo>
                <a:cubicBezTo>
                  <a:pt x="0" y="1"/>
                  <a:pt x="0" y="1"/>
                  <a:pt x="0" y="2"/>
                </a:cubicBezTo>
                <a:cubicBezTo>
                  <a:pt x="0" y="2"/>
                  <a:pt x="1" y="2"/>
                  <a:pt x="2" y="2"/>
                </a:cubicBezTo>
                <a:cubicBezTo>
                  <a:pt x="2" y="1"/>
                  <a:pt x="3" y="0"/>
                  <a:pt x="3" y="0"/>
                </a:cubicBezTo>
                <a:cubicBezTo>
                  <a:pt x="2" y="0"/>
                  <a:pt x="1" y="0"/>
                  <a:pt x="1" y="0"/>
                </a:cubicBezTo>
                <a:close/>
              </a:path>
            </a:pathLst>
          </a:custGeom>
          <a:solidFill>
            <a:srgbClr val="B7516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472" name="Freeform 8594"/>
          <p:cNvSpPr>
            <a:spLocks/>
          </p:cNvSpPr>
          <p:nvPr/>
        </p:nvSpPr>
        <p:spPr bwMode="auto">
          <a:xfrm>
            <a:off x="8334376" y="4564063"/>
            <a:ext cx="6350" cy="6350"/>
          </a:xfrm>
          <a:custGeom>
            <a:avLst/>
            <a:gdLst>
              <a:gd name="T0" fmla="*/ 1 w 3"/>
              <a:gd name="T1" fmla="*/ 0 h 3"/>
              <a:gd name="T2" fmla="*/ 1 w 3"/>
              <a:gd name="T3" fmla="*/ 2 h 3"/>
              <a:gd name="T4" fmla="*/ 2 w 3"/>
              <a:gd name="T5" fmla="*/ 3 h 3"/>
              <a:gd name="T6" fmla="*/ 2 w 3"/>
              <a:gd name="T7" fmla="*/ 1 h 3"/>
              <a:gd name="T8" fmla="*/ 1 w 3"/>
              <a:gd name="T9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" h="3">
                <a:moveTo>
                  <a:pt x="1" y="0"/>
                </a:moveTo>
                <a:cubicBezTo>
                  <a:pt x="1" y="0"/>
                  <a:pt x="0" y="1"/>
                  <a:pt x="1" y="2"/>
                </a:cubicBezTo>
                <a:cubicBezTo>
                  <a:pt x="1" y="2"/>
                  <a:pt x="2" y="3"/>
                  <a:pt x="2" y="3"/>
                </a:cubicBezTo>
                <a:cubicBezTo>
                  <a:pt x="3" y="3"/>
                  <a:pt x="3" y="2"/>
                  <a:pt x="2" y="1"/>
                </a:cubicBezTo>
                <a:cubicBezTo>
                  <a:pt x="2" y="0"/>
                  <a:pt x="2" y="0"/>
                  <a:pt x="1" y="0"/>
                </a:cubicBezTo>
                <a:close/>
              </a:path>
            </a:pathLst>
          </a:custGeom>
          <a:solidFill>
            <a:srgbClr val="B7516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473" name="Freeform 8595"/>
          <p:cNvSpPr>
            <a:spLocks/>
          </p:cNvSpPr>
          <p:nvPr/>
        </p:nvSpPr>
        <p:spPr bwMode="auto">
          <a:xfrm>
            <a:off x="8326438" y="4568825"/>
            <a:ext cx="3175" cy="1588"/>
          </a:xfrm>
          <a:custGeom>
            <a:avLst/>
            <a:gdLst>
              <a:gd name="T0" fmla="*/ 1 w 1"/>
              <a:gd name="T1" fmla="*/ 0 h 1"/>
              <a:gd name="T2" fmla="*/ 0 w 1"/>
              <a:gd name="T3" fmla="*/ 0 h 1"/>
              <a:gd name="T4" fmla="*/ 0 w 1"/>
              <a:gd name="T5" fmla="*/ 1 h 1"/>
              <a:gd name="T6" fmla="*/ 1 w 1"/>
              <a:gd name="T7" fmla="*/ 1 h 1"/>
              <a:gd name="T8" fmla="*/ 1 w 1"/>
              <a:gd name="T9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" h="1">
                <a:moveTo>
                  <a:pt x="1" y="0"/>
                </a:moveTo>
                <a:cubicBezTo>
                  <a:pt x="0" y="0"/>
                  <a:pt x="0" y="0"/>
                  <a:pt x="0" y="0"/>
                </a:cubicBezTo>
                <a:cubicBezTo>
                  <a:pt x="0" y="1"/>
                  <a:pt x="0" y="1"/>
                  <a:pt x="0" y="1"/>
                </a:cubicBezTo>
                <a:cubicBezTo>
                  <a:pt x="1" y="1"/>
                  <a:pt x="1" y="1"/>
                  <a:pt x="1" y="1"/>
                </a:cubicBezTo>
                <a:cubicBezTo>
                  <a:pt x="1" y="0"/>
                  <a:pt x="1" y="0"/>
                  <a:pt x="1" y="0"/>
                </a:cubicBezTo>
                <a:close/>
              </a:path>
            </a:pathLst>
          </a:custGeom>
          <a:solidFill>
            <a:srgbClr val="B7516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10885" name="Group 10884"/>
          <p:cNvGrpSpPr/>
          <p:nvPr/>
        </p:nvGrpSpPr>
        <p:grpSpPr>
          <a:xfrm>
            <a:off x="8566730" y="5414128"/>
            <a:ext cx="376237" cy="479152"/>
            <a:chOff x="3591719" y="5970382"/>
            <a:chExt cx="376237" cy="479152"/>
          </a:xfrm>
        </p:grpSpPr>
        <p:sp>
          <p:nvSpPr>
            <p:cNvPr id="10886" name="AutoShape 3"/>
            <p:cNvSpPr>
              <a:spLocks noChangeAspect="1" noChangeArrowheads="1" noTextEdit="1"/>
            </p:cNvSpPr>
            <p:nvPr/>
          </p:nvSpPr>
          <p:spPr bwMode="auto">
            <a:xfrm>
              <a:off x="3611099" y="5975060"/>
              <a:ext cx="336141" cy="4731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87" name="Freeform 5"/>
            <p:cNvSpPr>
              <a:spLocks/>
            </p:cNvSpPr>
            <p:nvPr/>
          </p:nvSpPr>
          <p:spPr bwMode="auto">
            <a:xfrm>
              <a:off x="3591719" y="5984416"/>
              <a:ext cx="174419" cy="263300"/>
            </a:xfrm>
            <a:custGeom>
              <a:avLst/>
              <a:gdLst>
                <a:gd name="T0" fmla="*/ 23 w 109"/>
                <a:gd name="T1" fmla="*/ 78 h 165"/>
                <a:gd name="T2" fmla="*/ 42 w 109"/>
                <a:gd name="T3" fmla="*/ 51 h 165"/>
                <a:gd name="T4" fmla="*/ 59 w 109"/>
                <a:gd name="T5" fmla="*/ 31 h 165"/>
                <a:gd name="T6" fmla="*/ 88 w 109"/>
                <a:gd name="T7" fmla="*/ 15 h 165"/>
                <a:gd name="T8" fmla="*/ 88 w 109"/>
                <a:gd name="T9" fmla="*/ 66 h 165"/>
                <a:gd name="T10" fmla="*/ 72 w 109"/>
                <a:gd name="T11" fmla="*/ 109 h 165"/>
                <a:gd name="T12" fmla="*/ 61 w 109"/>
                <a:gd name="T13" fmla="*/ 137 h 165"/>
                <a:gd name="T14" fmla="*/ 43 w 109"/>
                <a:gd name="T15" fmla="*/ 165 h 165"/>
                <a:gd name="T16" fmla="*/ 30 w 109"/>
                <a:gd name="T17" fmla="*/ 143 h 165"/>
                <a:gd name="T18" fmla="*/ 23 w 109"/>
                <a:gd name="T19" fmla="*/ 109 h 165"/>
                <a:gd name="T20" fmla="*/ 23 w 109"/>
                <a:gd name="T21" fmla="*/ 78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9" h="165">
                  <a:moveTo>
                    <a:pt x="23" y="78"/>
                  </a:moveTo>
                  <a:cubicBezTo>
                    <a:pt x="11" y="41"/>
                    <a:pt x="42" y="51"/>
                    <a:pt x="42" y="51"/>
                  </a:cubicBezTo>
                  <a:cubicBezTo>
                    <a:pt x="40" y="29"/>
                    <a:pt x="59" y="31"/>
                    <a:pt x="59" y="31"/>
                  </a:cubicBezTo>
                  <a:cubicBezTo>
                    <a:pt x="62" y="0"/>
                    <a:pt x="88" y="15"/>
                    <a:pt x="88" y="15"/>
                  </a:cubicBezTo>
                  <a:cubicBezTo>
                    <a:pt x="102" y="24"/>
                    <a:pt x="88" y="66"/>
                    <a:pt x="88" y="66"/>
                  </a:cubicBezTo>
                  <a:cubicBezTo>
                    <a:pt x="109" y="82"/>
                    <a:pt x="72" y="109"/>
                    <a:pt x="72" y="109"/>
                  </a:cubicBezTo>
                  <a:cubicBezTo>
                    <a:pt x="88" y="127"/>
                    <a:pt x="61" y="137"/>
                    <a:pt x="61" y="137"/>
                  </a:cubicBezTo>
                  <a:cubicBezTo>
                    <a:pt x="65" y="164"/>
                    <a:pt x="43" y="165"/>
                    <a:pt x="43" y="165"/>
                  </a:cubicBezTo>
                  <a:cubicBezTo>
                    <a:pt x="25" y="163"/>
                    <a:pt x="30" y="143"/>
                    <a:pt x="30" y="143"/>
                  </a:cubicBezTo>
                  <a:cubicBezTo>
                    <a:pt x="3" y="132"/>
                    <a:pt x="23" y="109"/>
                    <a:pt x="23" y="109"/>
                  </a:cubicBezTo>
                  <a:cubicBezTo>
                    <a:pt x="0" y="92"/>
                    <a:pt x="23" y="78"/>
                    <a:pt x="23" y="78"/>
                  </a:cubicBezTo>
                  <a:close/>
                </a:path>
              </a:pathLst>
            </a:custGeom>
            <a:solidFill>
              <a:srgbClr val="09B89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88" name="Freeform 6"/>
            <p:cNvSpPr>
              <a:spLocks/>
            </p:cNvSpPr>
            <p:nvPr/>
          </p:nvSpPr>
          <p:spPr bwMode="auto">
            <a:xfrm>
              <a:off x="3726042" y="6226999"/>
              <a:ext cx="82197" cy="222535"/>
            </a:xfrm>
            <a:custGeom>
              <a:avLst/>
              <a:gdLst>
                <a:gd name="T0" fmla="*/ 4 w 51"/>
                <a:gd name="T1" fmla="*/ 12 h 140"/>
                <a:gd name="T2" fmla="*/ 18 w 51"/>
                <a:gd name="T3" fmla="*/ 38 h 140"/>
                <a:gd name="T4" fmla="*/ 19 w 51"/>
                <a:gd name="T5" fmla="*/ 39 h 140"/>
                <a:gd name="T6" fmla="*/ 18 w 51"/>
                <a:gd name="T7" fmla="*/ 38 h 140"/>
                <a:gd name="T8" fmla="*/ 23 w 51"/>
                <a:gd name="T9" fmla="*/ 0 h 140"/>
                <a:gd name="T10" fmla="*/ 32 w 51"/>
                <a:gd name="T11" fmla="*/ 5 h 140"/>
                <a:gd name="T12" fmla="*/ 26 w 51"/>
                <a:gd name="T13" fmla="*/ 46 h 140"/>
                <a:gd name="T14" fmla="*/ 26 w 51"/>
                <a:gd name="T15" fmla="*/ 48 h 140"/>
                <a:gd name="T16" fmla="*/ 26 w 51"/>
                <a:gd name="T17" fmla="*/ 46 h 140"/>
                <a:gd name="T18" fmla="*/ 50 w 51"/>
                <a:gd name="T19" fmla="*/ 6 h 140"/>
                <a:gd name="T20" fmla="*/ 51 w 51"/>
                <a:gd name="T21" fmla="*/ 19 h 140"/>
                <a:gd name="T22" fmla="*/ 32 w 51"/>
                <a:gd name="T23" fmla="*/ 63 h 140"/>
                <a:gd name="T24" fmla="*/ 35 w 51"/>
                <a:gd name="T25" fmla="*/ 137 h 140"/>
                <a:gd name="T26" fmla="*/ 19 w 51"/>
                <a:gd name="T27" fmla="*/ 140 h 140"/>
                <a:gd name="T28" fmla="*/ 7 w 51"/>
                <a:gd name="T29" fmla="*/ 138 h 140"/>
                <a:gd name="T30" fmla="*/ 4 w 51"/>
                <a:gd name="T31" fmla="*/ 137 h 140"/>
                <a:gd name="T32" fmla="*/ 10 w 51"/>
                <a:gd name="T33" fmla="*/ 81 h 140"/>
                <a:gd name="T34" fmla="*/ 0 w 51"/>
                <a:gd name="T35" fmla="*/ 25 h 140"/>
                <a:gd name="T36" fmla="*/ 4 w 51"/>
                <a:gd name="T37" fmla="*/ 12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1" h="140">
                  <a:moveTo>
                    <a:pt x="4" y="12"/>
                  </a:moveTo>
                  <a:cubicBezTo>
                    <a:pt x="14" y="21"/>
                    <a:pt x="18" y="34"/>
                    <a:pt x="18" y="38"/>
                  </a:cubicBezTo>
                  <a:cubicBezTo>
                    <a:pt x="18" y="39"/>
                    <a:pt x="19" y="39"/>
                    <a:pt x="19" y="39"/>
                  </a:cubicBezTo>
                  <a:cubicBezTo>
                    <a:pt x="19" y="39"/>
                    <a:pt x="19" y="39"/>
                    <a:pt x="18" y="38"/>
                  </a:cubicBezTo>
                  <a:cubicBezTo>
                    <a:pt x="18" y="32"/>
                    <a:pt x="23" y="0"/>
                    <a:pt x="23" y="0"/>
                  </a:cubicBezTo>
                  <a:cubicBezTo>
                    <a:pt x="32" y="5"/>
                    <a:pt x="32" y="5"/>
                    <a:pt x="32" y="5"/>
                  </a:cubicBezTo>
                  <a:cubicBezTo>
                    <a:pt x="28" y="11"/>
                    <a:pt x="26" y="38"/>
                    <a:pt x="26" y="46"/>
                  </a:cubicBezTo>
                  <a:cubicBezTo>
                    <a:pt x="26" y="47"/>
                    <a:pt x="26" y="47"/>
                    <a:pt x="26" y="48"/>
                  </a:cubicBezTo>
                  <a:cubicBezTo>
                    <a:pt x="26" y="48"/>
                    <a:pt x="26" y="47"/>
                    <a:pt x="26" y="46"/>
                  </a:cubicBezTo>
                  <a:cubicBezTo>
                    <a:pt x="28" y="29"/>
                    <a:pt x="50" y="6"/>
                    <a:pt x="50" y="6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44" y="21"/>
                    <a:pt x="37" y="41"/>
                    <a:pt x="32" y="63"/>
                  </a:cubicBezTo>
                  <a:cubicBezTo>
                    <a:pt x="27" y="85"/>
                    <a:pt x="35" y="137"/>
                    <a:pt x="35" y="137"/>
                  </a:cubicBezTo>
                  <a:cubicBezTo>
                    <a:pt x="35" y="137"/>
                    <a:pt x="23" y="140"/>
                    <a:pt x="19" y="140"/>
                  </a:cubicBezTo>
                  <a:cubicBezTo>
                    <a:pt x="16" y="140"/>
                    <a:pt x="7" y="138"/>
                    <a:pt x="7" y="138"/>
                  </a:cubicBezTo>
                  <a:cubicBezTo>
                    <a:pt x="4" y="137"/>
                    <a:pt x="4" y="137"/>
                    <a:pt x="4" y="137"/>
                  </a:cubicBezTo>
                  <a:cubicBezTo>
                    <a:pt x="7" y="130"/>
                    <a:pt x="10" y="81"/>
                    <a:pt x="10" y="81"/>
                  </a:cubicBezTo>
                  <a:cubicBezTo>
                    <a:pt x="13" y="38"/>
                    <a:pt x="0" y="25"/>
                    <a:pt x="0" y="25"/>
                  </a:cubicBezTo>
                  <a:lnTo>
                    <a:pt x="4" y="12"/>
                  </a:lnTo>
                  <a:close/>
                </a:path>
              </a:pathLst>
            </a:custGeom>
            <a:solidFill>
              <a:srgbClr val="543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89" name="Freeform 7"/>
            <p:cNvSpPr>
              <a:spLocks/>
            </p:cNvSpPr>
            <p:nvPr/>
          </p:nvSpPr>
          <p:spPr bwMode="auto">
            <a:xfrm>
              <a:off x="3754777" y="6287143"/>
              <a:ext cx="2005" cy="2005"/>
            </a:xfrm>
            <a:custGeom>
              <a:avLst/>
              <a:gdLst>
                <a:gd name="T0" fmla="*/ 0 w 1"/>
                <a:gd name="T1" fmla="*/ 0 h 1"/>
                <a:gd name="T2" fmla="*/ 1 w 1"/>
                <a:gd name="T3" fmla="*/ 1 h 1"/>
                <a:gd name="T4" fmla="*/ 0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0" y="1"/>
                    <a:pt x="0" y="0"/>
                  </a:cubicBezTo>
                  <a:close/>
                </a:path>
              </a:pathLst>
            </a:custGeom>
            <a:solidFill>
              <a:srgbClr val="543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90" name="Freeform 8"/>
            <p:cNvSpPr>
              <a:spLocks/>
            </p:cNvSpPr>
            <p:nvPr/>
          </p:nvSpPr>
          <p:spPr bwMode="auto">
            <a:xfrm>
              <a:off x="3768143" y="6299840"/>
              <a:ext cx="0" cy="3342"/>
            </a:xfrm>
            <a:custGeom>
              <a:avLst/>
              <a:gdLst>
                <a:gd name="T0" fmla="*/ 0 h 2"/>
                <a:gd name="T1" fmla="*/ 2 h 2"/>
                <a:gd name="T2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1"/>
                    <a:pt x="0" y="1"/>
                    <a:pt x="0" y="0"/>
                  </a:cubicBezTo>
                  <a:close/>
                </a:path>
              </a:pathLst>
            </a:custGeom>
            <a:solidFill>
              <a:srgbClr val="543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91" name="Freeform 9"/>
            <p:cNvSpPr>
              <a:spLocks/>
            </p:cNvSpPr>
            <p:nvPr/>
          </p:nvSpPr>
          <p:spPr bwMode="auto">
            <a:xfrm>
              <a:off x="3638498" y="6092676"/>
              <a:ext cx="87544" cy="126304"/>
            </a:xfrm>
            <a:custGeom>
              <a:avLst/>
              <a:gdLst>
                <a:gd name="T0" fmla="*/ 18 w 55"/>
                <a:gd name="T1" fmla="*/ 26 h 79"/>
                <a:gd name="T2" fmla="*/ 36 w 55"/>
                <a:gd name="T3" fmla="*/ 6 h 79"/>
                <a:gd name="T4" fmla="*/ 32 w 55"/>
                <a:gd name="T5" fmla="*/ 73 h 79"/>
                <a:gd name="T6" fmla="*/ 16 w 55"/>
                <a:gd name="T7" fmla="*/ 51 h 79"/>
                <a:gd name="T8" fmla="*/ 18 w 55"/>
                <a:gd name="T9" fmla="*/ 2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79">
                  <a:moveTo>
                    <a:pt x="18" y="26"/>
                  </a:moveTo>
                  <a:cubicBezTo>
                    <a:pt x="7" y="0"/>
                    <a:pt x="36" y="6"/>
                    <a:pt x="36" y="6"/>
                  </a:cubicBezTo>
                  <a:cubicBezTo>
                    <a:pt x="55" y="10"/>
                    <a:pt x="32" y="73"/>
                    <a:pt x="32" y="73"/>
                  </a:cubicBezTo>
                  <a:cubicBezTo>
                    <a:pt x="5" y="79"/>
                    <a:pt x="16" y="51"/>
                    <a:pt x="16" y="51"/>
                  </a:cubicBezTo>
                  <a:cubicBezTo>
                    <a:pt x="0" y="35"/>
                    <a:pt x="18" y="26"/>
                    <a:pt x="18" y="26"/>
                  </a:cubicBezTo>
                  <a:close/>
                </a:path>
              </a:pathLst>
            </a:custGeom>
            <a:solidFill>
              <a:srgbClr val="5EC3A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92" name="Freeform 10"/>
            <p:cNvSpPr>
              <a:spLocks/>
            </p:cNvSpPr>
            <p:nvPr/>
          </p:nvSpPr>
          <p:spPr bwMode="auto">
            <a:xfrm>
              <a:off x="3729383" y="6051243"/>
              <a:ext cx="4678" cy="2005"/>
            </a:xfrm>
            <a:custGeom>
              <a:avLst/>
              <a:gdLst>
                <a:gd name="T0" fmla="*/ 0 w 3"/>
                <a:gd name="T1" fmla="*/ 0 h 1"/>
                <a:gd name="T2" fmla="*/ 3 w 3"/>
                <a:gd name="T3" fmla="*/ 1 h 1"/>
                <a:gd name="T4" fmla="*/ 0 w 3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1">
                  <a:moveTo>
                    <a:pt x="0" y="0"/>
                  </a:moveTo>
                  <a:cubicBezTo>
                    <a:pt x="2" y="0"/>
                    <a:pt x="3" y="1"/>
                    <a:pt x="3" y="1"/>
                  </a:cubicBezTo>
                  <a:cubicBezTo>
                    <a:pt x="2" y="1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57B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93" name="Freeform 11"/>
            <p:cNvSpPr>
              <a:spLocks/>
            </p:cNvSpPr>
            <p:nvPr/>
          </p:nvSpPr>
          <p:spPr bwMode="auto">
            <a:xfrm>
              <a:off x="3691291" y="5970382"/>
              <a:ext cx="142342" cy="173751"/>
            </a:xfrm>
            <a:custGeom>
              <a:avLst/>
              <a:gdLst>
                <a:gd name="T0" fmla="*/ 12 w 89"/>
                <a:gd name="T1" fmla="*/ 77 h 109"/>
                <a:gd name="T2" fmla="*/ 9 w 89"/>
                <a:gd name="T3" fmla="*/ 60 h 109"/>
                <a:gd name="T4" fmla="*/ 24 w 89"/>
                <a:gd name="T5" fmla="*/ 51 h 109"/>
                <a:gd name="T6" fmla="*/ 27 w 89"/>
                <a:gd name="T7" fmla="*/ 52 h 109"/>
                <a:gd name="T8" fmla="*/ 24 w 89"/>
                <a:gd name="T9" fmla="*/ 51 h 109"/>
                <a:gd name="T10" fmla="*/ 20 w 89"/>
                <a:gd name="T11" fmla="*/ 33 h 109"/>
                <a:gd name="T12" fmla="*/ 46 w 89"/>
                <a:gd name="T13" fmla="*/ 19 h 109"/>
                <a:gd name="T14" fmla="*/ 67 w 89"/>
                <a:gd name="T15" fmla="*/ 3 h 109"/>
                <a:gd name="T16" fmla="*/ 79 w 89"/>
                <a:gd name="T17" fmla="*/ 19 h 109"/>
                <a:gd name="T18" fmla="*/ 71 w 89"/>
                <a:gd name="T19" fmla="*/ 40 h 109"/>
                <a:gd name="T20" fmla="*/ 59 w 89"/>
                <a:gd name="T21" fmla="*/ 59 h 109"/>
                <a:gd name="T22" fmla="*/ 45 w 89"/>
                <a:gd name="T23" fmla="*/ 83 h 109"/>
                <a:gd name="T24" fmla="*/ 23 w 89"/>
                <a:gd name="T25" fmla="*/ 107 h 109"/>
                <a:gd name="T26" fmla="*/ 3 w 89"/>
                <a:gd name="T27" fmla="*/ 94 h 109"/>
                <a:gd name="T28" fmla="*/ 12 w 89"/>
                <a:gd name="T29" fmla="*/ 7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9" h="109">
                  <a:moveTo>
                    <a:pt x="12" y="77"/>
                  </a:moveTo>
                  <a:cubicBezTo>
                    <a:pt x="6" y="64"/>
                    <a:pt x="9" y="60"/>
                    <a:pt x="9" y="60"/>
                  </a:cubicBezTo>
                  <a:cubicBezTo>
                    <a:pt x="11" y="50"/>
                    <a:pt x="20" y="50"/>
                    <a:pt x="24" y="51"/>
                  </a:cubicBezTo>
                  <a:cubicBezTo>
                    <a:pt x="25" y="51"/>
                    <a:pt x="26" y="52"/>
                    <a:pt x="27" y="52"/>
                  </a:cubicBezTo>
                  <a:cubicBezTo>
                    <a:pt x="27" y="52"/>
                    <a:pt x="26" y="51"/>
                    <a:pt x="24" y="51"/>
                  </a:cubicBezTo>
                  <a:cubicBezTo>
                    <a:pt x="18" y="48"/>
                    <a:pt x="20" y="33"/>
                    <a:pt x="20" y="33"/>
                  </a:cubicBezTo>
                  <a:cubicBezTo>
                    <a:pt x="23" y="9"/>
                    <a:pt x="46" y="19"/>
                    <a:pt x="46" y="19"/>
                  </a:cubicBezTo>
                  <a:cubicBezTo>
                    <a:pt x="47" y="0"/>
                    <a:pt x="67" y="3"/>
                    <a:pt x="67" y="3"/>
                  </a:cubicBezTo>
                  <a:cubicBezTo>
                    <a:pt x="80" y="4"/>
                    <a:pt x="79" y="19"/>
                    <a:pt x="79" y="19"/>
                  </a:cubicBezTo>
                  <a:cubicBezTo>
                    <a:pt x="81" y="27"/>
                    <a:pt x="71" y="40"/>
                    <a:pt x="71" y="40"/>
                  </a:cubicBezTo>
                  <a:cubicBezTo>
                    <a:pt x="89" y="68"/>
                    <a:pt x="59" y="59"/>
                    <a:pt x="59" y="59"/>
                  </a:cubicBezTo>
                  <a:cubicBezTo>
                    <a:pt x="80" y="75"/>
                    <a:pt x="45" y="83"/>
                    <a:pt x="45" y="83"/>
                  </a:cubicBezTo>
                  <a:cubicBezTo>
                    <a:pt x="51" y="109"/>
                    <a:pt x="23" y="107"/>
                    <a:pt x="23" y="107"/>
                  </a:cubicBezTo>
                  <a:cubicBezTo>
                    <a:pt x="5" y="109"/>
                    <a:pt x="3" y="94"/>
                    <a:pt x="3" y="94"/>
                  </a:cubicBezTo>
                  <a:cubicBezTo>
                    <a:pt x="0" y="84"/>
                    <a:pt x="12" y="77"/>
                    <a:pt x="12" y="77"/>
                  </a:cubicBezTo>
                  <a:close/>
                </a:path>
              </a:pathLst>
            </a:custGeom>
            <a:solidFill>
              <a:srgbClr val="5EC3A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94" name="Freeform 12"/>
            <p:cNvSpPr>
              <a:spLocks/>
            </p:cNvSpPr>
            <p:nvPr/>
          </p:nvSpPr>
          <p:spPr bwMode="auto">
            <a:xfrm>
              <a:off x="3742080" y="5987757"/>
              <a:ext cx="176424" cy="170410"/>
            </a:xfrm>
            <a:custGeom>
              <a:avLst/>
              <a:gdLst>
                <a:gd name="T0" fmla="*/ 24 w 110"/>
                <a:gd name="T1" fmla="*/ 35 h 107"/>
                <a:gd name="T2" fmla="*/ 39 w 110"/>
                <a:gd name="T3" fmla="*/ 21 h 107"/>
                <a:gd name="T4" fmla="*/ 55 w 110"/>
                <a:gd name="T5" fmla="*/ 2 h 107"/>
                <a:gd name="T6" fmla="*/ 69 w 110"/>
                <a:gd name="T7" fmla="*/ 20 h 107"/>
                <a:gd name="T8" fmla="*/ 88 w 110"/>
                <a:gd name="T9" fmla="*/ 38 h 107"/>
                <a:gd name="T10" fmla="*/ 78 w 110"/>
                <a:gd name="T11" fmla="*/ 72 h 107"/>
                <a:gd name="T12" fmla="*/ 58 w 110"/>
                <a:gd name="T13" fmla="*/ 88 h 107"/>
                <a:gd name="T14" fmla="*/ 33 w 110"/>
                <a:gd name="T15" fmla="*/ 83 h 107"/>
                <a:gd name="T16" fmla="*/ 24 w 110"/>
                <a:gd name="T17" fmla="*/ 56 h 107"/>
                <a:gd name="T18" fmla="*/ 24 w 110"/>
                <a:gd name="T19" fmla="*/ 35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0" h="107">
                  <a:moveTo>
                    <a:pt x="24" y="35"/>
                  </a:moveTo>
                  <a:cubicBezTo>
                    <a:pt x="22" y="17"/>
                    <a:pt x="39" y="21"/>
                    <a:pt x="39" y="21"/>
                  </a:cubicBezTo>
                  <a:cubicBezTo>
                    <a:pt x="42" y="0"/>
                    <a:pt x="55" y="2"/>
                    <a:pt x="55" y="2"/>
                  </a:cubicBezTo>
                  <a:cubicBezTo>
                    <a:pt x="68" y="3"/>
                    <a:pt x="69" y="20"/>
                    <a:pt x="69" y="20"/>
                  </a:cubicBezTo>
                  <a:cubicBezTo>
                    <a:pt x="93" y="19"/>
                    <a:pt x="88" y="38"/>
                    <a:pt x="88" y="38"/>
                  </a:cubicBezTo>
                  <a:cubicBezTo>
                    <a:pt x="110" y="59"/>
                    <a:pt x="78" y="72"/>
                    <a:pt x="78" y="72"/>
                  </a:cubicBezTo>
                  <a:cubicBezTo>
                    <a:pt x="84" y="98"/>
                    <a:pt x="58" y="88"/>
                    <a:pt x="58" y="88"/>
                  </a:cubicBezTo>
                  <a:cubicBezTo>
                    <a:pt x="42" y="107"/>
                    <a:pt x="33" y="83"/>
                    <a:pt x="33" y="83"/>
                  </a:cubicBezTo>
                  <a:cubicBezTo>
                    <a:pt x="18" y="85"/>
                    <a:pt x="24" y="56"/>
                    <a:pt x="24" y="56"/>
                  </a:cubicBezTo>
                  <a:cubicBezTo>
                    <a:pt x="0" y="43"/>
                    <a:pt x="24" y="35"/>
                    <a:pt x="24" y="35"/>
                  </a:cubicBezTo>
                  <a:close/>
                </a:path>
              </a:pathLst>
            </a:custGeom>
            <a:solidFill>
              <a:srgbClr val="09B89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95" name="Freeform 13"/>
            <p:cNvSpPr>
              <a:spLocks/>
            </p:cNvSpPr>
            <p:nvPr/>
          </p:nvSpPr>
          <p:spPr bwMode="auto">
            <a:xfrm>
              <a:off x="3802893" y="6048570"/>
              <a:ext cx="161722" cy="160386"/>
            </a:xfrm>
            <a:custGeom>
              <a:avLst/>
              <a:gdLst>
                <a:gd name="T0" fmla="*/ 23 w 101"/>
                <a:gd name="T1" fmla="*/ 43 h 101"/>
                <a:gd name="T2" fmla="*/ 20 w 101"/>
                <a:gd name="T3" fmla="*/ 25 h 101"/>
                <a:gd name="T4" fmla="*/ 42 w 101"/>
                <a:gd name="T5" fmla="*/ 22 h 101"/>
                <a:gd name="T6" fmla="*/ 55 w 101"/>
                <a:gd name="T7" fmla="*/ 0 h 101"/>
                <a:gd name="T8" fmla="*/ 69 w 101"/>
                <a:gd name="T9" fmla="*/ 20 h 101"/>
                <a:gd name="T10" fmla="*/ 79 w 101"/>
                <a:gd name="T11" fmla="*/ 39 h 101"/>
                <a:gd name="T12" fmla="*/ 83 w 101"/>
                <a:gd name="T13" fmla="*/ 69 h 101"/>
                <a:gd name="T14" fmla="*/ 80 w 101"/>
                <a:gd name="T15" fmla="*/ 69 h 101"/>
                <a:gd name="T16" fmla="*/ 61 w 101"/>
                <a:gd name="T17" fmla="*/ 79 h 101"/>
                <a:gd name="T18" fmla="*/ 43 w 101"/>
                <a:gd name="T19" fmla="*/ 78 h 101"/>
                <a:gd name="T20" fmla="*/ 8 w 101"/>
                <a:gd name="T21" fmla="*/ 66 h 101"/>
                <a:gd name="T22" fmla="*/ 23 w 101"/>
                <a:gd name="T23" fmla="*/ 43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1" h="101">
                  <a:moveTo>
                    <a:pt x="23" y="43"/>
                  </a:moveTo>
                  <a:cubicBezTo>
                    <a:pt x="14" y="40"/>
                    <a:pt x="20" y="25"/>
                    <a:pt x="20" y="25"/>
                  </a:cubicBezTo>
                  <a:cubicBezTo>
                    <a:pt x="25" y="11"/>
                    <a:pt x="42" y="22"/>
                    <a:pt x="42" y="22"/>
                  </a:cubicBezTo>
                  <a:cubicBezTo>
                    <a:pt x="35" y="0"/>
                    <a:pt x="55" y="0"/>
                    <a:pt x="55" y="0"/>
                  </a:cubicBezTo>
                  <a:cubicBezTo>
                    <a:pt x="68" y="0"/>
                    <a:pt x="69" y="20"/>
                    <a:pt x="69" y="20"/>
                  </a:cubicBezTo>
                  <a:cubicBezTo>
                    <a:pt x="91" y="21"/>
                    <a:pt x="79" y="39"/>
                    <a:pt x="79" y="39"/>
                  </a:cubicBezTo>
                  <a:cubicBezTo>
                    <a:pt x="101" y="49"/>
                    <a:pt x="83" y="69"/>
                    <a:pt x="83" y="69"/>
                  </a:cubicBezTo>
                  <a:cubicBezTo>
                    <a:pt x="82" y="70"/>
                    <a:pt x="80" y="69"/>
                    <a:pt x="80" y="69"/>
                  </a:cubicBezTo>
                  <a:cubicBezTo>
                    <a:pt x="82" y="94"/>
                    <a:pt x="61" y="79"/>
                    <a:pt x="61" y="79"/>
                  </a:cubicBezTo>
                  <a:cubicBezTo>
                    <a:pt x="59" y="92"/>
                    <a:pt x="43" y="78"/>
                    <a:pt x="43" y="78"/>
                  </a:cubicBezTo>
                  <a:cubicBezTo>
                    <a:pt x="21" y="101"/>
                    <a:pt x="8" y="66"/>
                    <a:pt x="8" y="66"/>
                  </a:cubicBezTo>
                  <a:cubicBezTo>
                    <a:pt x="0" y="46"/>
                    <a:pt x="23" y="43"/>
                    <a:pt x="23" y="43"/>
                  </a:cubicBezTo>
                  <a:close/>
                </a:path>
              </a:pathLst>
            </a:custGeom>
            <a:solidFill>
              <a:srgbClr val="5EC3A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96" name="Freeform 14"/>
            <p:cNvSpPr>
              <a:spLocks/>
            </p:cNvSpPr>
            <p:nvPr/>
          </p:nvSpPr>
          <p:spPr bwMode="auto">
            <a:xfrm>
              <a:off x="3881749" y="6250388"/>
              <a:ext cx="20716" cy="30741"/>
            </a:xfrm>
            <a:custGeom>
              <a:avLst/>
              <a:gdLst>
                <a:gd name="T0" fmla="*/ 0 w 13"/>
                <a:gd name="T1" fmla="*/ 19 h 19"/>
                <a:gd name="T2" fmla="*/ 0 w 13"/>
                <a:gd name="T3" fmla="*/ 19 h 19"/>
                <a:gd name="T4" fmla="*/ 0 w 13"/>
                <a:gd name="T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9">
                  <a:moveTo>
                    <a:pt x="0" y="19"/>
                  </a:moveTo>
                  <a:cubicBezTo>
                    <a:pt x="0" y="19"/>
                    <a:pt x="0" y="19"/>
                    <a:pt x="0" y="19"/>
                  </a:cubicBezTo>
                  <a:cubicBezTo>
                    <a:pt x="2" y="17"/>
                    <a:pt x="13" y="0"/>
                    <a:pt x="0" y="19"/>
                  </a:cubicBezTo>
                  <a:close/>
                </a:path>
              </a:pathLst>
            </a:custGeom>
            <a:solidFill>
              <a:srgbClr val="4DA0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97" name="Freeform 15"/>
            <p:cNvSpPr>
              <a:spLocks/>
            </p:cNvSpPr>
            <p:nvPr/>
          </p:nvSpPr>
          <p:spPr bwMode="auto">
            <a:xfrm>
              <a:off x="3792200" y="6132772"/>
              <a:ext cx="175756" cy="181770"/>
            </a:xfrm>
            <a:custGeom>
              <a:avLst/>
              <a:gdLst>
                <a:gd name="T0" fmla="*/ 20 w 110"/>
                <a:gd name="T1" fmla="*/ 36 h 114"/>
                <a:gd name="T2" fmla="*/ 38 w 110"/>
                <a:gd name="T3" fmla="*/ 23 h 114"/>
                <a:gd name="T4" fmla="*/ 58 w 110"/>
                <a:gd name="T5" fmla="*/ 10 h 114"/>
                <a:gd name="T6" fmla="*/ 67 w 110"/>
                <a:gd name="T7" fmla="*/ 1 h 114"/>
                <a:gd name="T8" fmla="*/ 67 w 110"/>
                <a:gd name="T9" fmla="*/ 1 h 114"/>
                <a:gd name="T10" fmla="*/ 85 w 110"/>
                <a:gd name="T11" fmla="*/ 16 h 114"/>
                <a:gd name="T12" fmla="*/ 87 w 110"/>
                <a:gd name="T13" fmla="*/ 40 h 114"/>
                <a:gd name="T14" fmla="*/ 85 w 110"/>
                <a:gd name="T15" fmla="*/ 60 h 114"/>
                <a:gd name="T16" fmla="*/ 73 w 110"/>
                <a:gd name="T17" fmla="*/ 75 h 114"/>
                <a:gd name="T18" fmla="*/ 56 w 110"/>
                <a:gd name="T19" fmla="*/ 94 h 114"/>
                <a:gd name="T20" fmla="*/ 56 w 110"/>
                <a:gd name="T21" fmla="*/ 93 h 114"/>
                <a:gd name="T22" fmla="*/ 56 w 110"/>
                <a:gd name="T23" fmla="*/ 93 h 114"/>
                <a:gd name="T24" fmla="*/ 56 w 110"/>
                <a:gd name="T25" fmla="*/ 93 h 114"/>
                <a:gd name="T26" fmla="*/ 55 w 110"/>
                <a:gd name="T27" fmla="*/ 95 h 114"/>
                <a:gd name="T28" fmla="*/ 34 w 110"/>
                <a:gd name="T29" fmla="*/ 96 h 114"/>
                <a:gd name="T30" fmla="*/ 33 w 110"/>
                <a:gd name="T31" fmla="*/ 97 h 114"/>
                <a:gd name="T32" fmla="*/ 16 w 110"/>
                <a:gd name="T33" fmla="*/ 86 h 114"/>
                <a:gd name="T34" fmla="*/ 14 w 110"/>
                <a:gd name="T35" fmla="*/ 72 h 114"/>
                <a:gd name="T36" fmla="*/ 12 w 110"/>
                <a:gd name="T37" fmla="*/ 53 h 114"/>
                <a:gd name="T38" fmla="*/ 20 w 110"/>
                <a:gd name="T39" fmla="*/ 36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10" h="114">
                  <a:moveTo>
                    <a:pt x="20" y="36"/>
                  </a:moveTo>
                  <a:cubicBezTo>
                    <a:pt x="19" y="15"/>
                    <a:pt x="38" y="23"/>
                    <a:pt x="38" y="23"/>
                  </a:cubicBezTo>
                  <a:cubicBezTo>
                    <a:pt x="45" y="0"/>
                    <a:pt x="58" y="10"/>
                    <a:pt x="58" y="10"/>
                  </a:cubicBezTo>
                  <a:cubicBezTo>
                    <a:pt x="58" y="5"/>
                    <a:pt x="67" y="1"/>
                    <a:pt x="67" y="1"/>
                  </a:cubicBezTo>
                  <a:cubicBezTo>
                    <a:pt x="67" y="1"/>
                    <a:pt x="67" y="1"/>
                    <a:pt x="67" y="1"/>
                  </a:cubicBezTo>
                  <a:cubicBezTo>
                    <a:pt x="86" y="0"/>
                    <a:pt x="85" y="16"/>
                    <a:pt x="85" y="16"/>
                  </a:cubicBezTo>
                  <a:cubicBezTo>
                    <a:pt x="110" y="27"/>
                    <a:pt x="87" y="40"/>
                    <a:pt x="87" y="40"/>
                  </a:cubicBezTo>
                  <a:cubicBezTo>
                    <a:pt x="106" y="51"/>
                    <a:pt x="85" y="60"/>
                    <a:pt x="85" y="60"/>
                  </a:cubicBezTo>
                  <a:cubicBezTo>
                    <a:pt x="89" y="83"/>
                    <a:pt x="73" y="75"/>
                    <a:pt x="73" y="75"/>
                  </a:cubicBezTo>
                  <a:cubicBezTo>
                    <a:pt x="77" y="105"/>
                    <a:pt x="56" y="94"/>
                    <a:pt x="56" y="94"/>
                  </a:cubicBezTo>
                  <a:cubicBezTo>
                    <a:pt x="56" y="94"/>
                    <a:pt x="56" y="94"/>
                    <a:pt x="56" y="93"/>
                  </a:cubicBezTo>
                  <a:cubicBezTo>
                    <a:pt x="56" y="93"/>
                    <a:pt x="56" y="93"/>
                    <a:pt x="56" y="93"/>
                  </a:cubicBezTo>
                  <a:cubicBezTo>
                    <a:pt x="69" y="74"/>
                    <a:pt x="58" y="91"/>
                    <a:pt x="56" y="93"/>
                  </a:cubicBezTo>
                  <a:cubicBezTo>
                    <a:pt x="56" y="94"/>
                    <a:pt x="55" y="94"/>
                    <a:pt x="55" y="95"/>
                  </a:cubicBezTo>
                  <a:cubicBezTo>
                    <a:pt x="42" y="114"/>
                    <a:pt x="34" y="96"/>
                    <a:pt x="34" y="96"/>
                  </a:cubicBezTo>
                  <a:cubicBezTo>
                    <a:pt x="34" y="97"/>
                    <a:pt x="33" y="97"/>
                    <a:pt x="33" y="97"/>
                  </a:cubicBezTo>
                  <a:cubicBezTo>
                    <a:pt x="10" y="111"/>
                    <a:pt x="16" y="86"/>
                    <a:pt x="16" y="86"/>
                  </a:cubicBezTo>
                  <a:cubicBezTo>
                    <a:pt x="5" y="78"/>
                    <a:pt x="14" y="72"/>
                    <a:pt x="14" y="72"/>
                  </a:cubicBezTo>
                  <a:cubicBezTo>
                    <a:pt x="0" y="69"/>
                    <a:pt x="12" y="53"/>
                    <a:pt x="12" y="53"/>
                  </a:cubicBezTo>
                  <a:cubicBezTo>
                    <a:pt x="3" y="43"/>
                    <a:pt x="20" y="36"/>
                    <a:pt x="20" y="36"/>
                  </a:cubicBezTo>
                  <a:close/>
                </a:path>
              </a:pathLst>
            </a:custGeom>
            <a:solidFill>
              <a:srgbClr val="09B89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98" name="Freeform 16"/>
            <p:cNvSpPr>
              <a:spLocks/>
            </p:cNvSpPr>
            <p:nvPr/>
          </p:nvSpPr>
          <p:spPr bwMode="auto">
            <a:xfrm>
              <a:off x="3663892" y="6075301"/>
              <a:ext cx="158380" cy="218526"/>
            </a:xfrm>
            <a:custGeom>
              <a:avLst/>
              <a:gdLst>
                <a:gd name="T0" fmla="*/ 14 w 99"/>
                <a:gd name="T1" fmla="*/ 87 h 137"/>
                <a:gd name="T2" fmla="*/ 10 w 99"/>
                <a:gd name="T3" fmla="*/ 71 h 137"/>
                <a:gd name="T4" fmla="*/ 21 w 99"/>
                <a:gd name="T5" fmla="*/ 57 h 137"/>
                <a:gd name="T6" fmla="*/ 21 w 99"/>
                <a:gd name="T7" fmla="*/ 42 h 137"/>
                <a:gd name="T8" fmla="*/ 33 w 99"/>
                <a:gd name="T9" fmla="*/ 37 h 137"/>
                <a:gd name="T10" fmla="*/ 54 w 99"/>
                <a:gd name="T11" fmla="*/ 15 h 137"/>
                <a:gd name="T12" fmla="*/ 70 w 99"/>
                <a:gd name="T13" fmla="*/ 0 h 137"/>
                <a:gd name="T14" fmla="*/ 83 w 99"/>
                <a:gd name="T15" fmla="*/ 23 h 137"/>
                <a:gd name="T16" fmla="*/ 97 w 99"/>
                <a:gd name="T17" fmla="*/ 48 h 137"/>
                <a:gd name="T18" fmla="*/ 74 w 99"/>
                <a:gd name="T19" fmla="*/ 78 h 137"/>
                <a:gd name="T20" fmla="*/ 57 w 99"/>
                <a:gd name="T21" fmla="*/ 77 h 137"/>
                <a:gd name="T22" fmla="*/ 57 w 99"/>
                <a:gd name="T23" fmla="*/ 78 h 137"/>
                <a:gd name="T24" fmla="*/ 42 w 99"/>
                <a:gd name="T25" fmla="*/ 93 h 137"/>
                <a:gd name="T26" fmla="*/ 5 w 99"/>
                <a:gd name="T27" fmla="*/ 104 h 137"/>
                <a:gd name="T28" fmla="*/ 14 w 99"/>
                <a:gd name="T29" fmla="*/ 87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7">
                  <a:moveTo>
                    <a:pt x="14" y="87"/>
                  </a:moveTo>
                  <a:cubicBezTo>
                    <a:pt x="9" y="86"/>
                    <a:pt x="10" y="71"/>
                    <a:pt x="10" y="71"/>
                  </a:cubicBezTo>
                  <a:cubicBezTo>
                    <a:pt x="9" y="61"/>
                    <a:pt x="21" y="57"/>
                    <a:pt x="21" y="57"/>
                  </a:cubicBezTo>
                  <a:cubicBezTo>
                    <a:pt x="16" y="52"/>
                    <a:pt x="21" y="42"/>
                    <a:pt x="21" y="42"/>
                  </a:cubicBezTo>
                  <a:cubicBezTo>
                    <a:pt x="25" y="34"/>
                    <a:pt x="33" y="37"/>
                    <a:pt x="33" y="37"/>
                  </a:cubicBezTo>
                  <a:cubicBezTo>
                    <a:pt x="31" y="14"/>
                    <a:pt x="54" y="15"/>
                    <a:pt x="54" y="15"/>
                  </a:cubicBezTo>
                  <a:cubicBezTo>
                    <a:pt x="54" y="2"/>
                    <a:pt x="70" y="0"/>
                    <a:pt x="70" y="0"/>
                  </a:cubicBezTo>
                  <a:cubicBezTo>
                    <a:pt x="86" y="3"/>
                    <a:pt x="83" y="23"/>
                    <a:pt x="83" y="23"/>
                  </a:cubicBezTo>
                  <a:cubicBezTo>
                    <a:pt x="99" y="24"/>
                    <a:pt x="97" y="48"/>
                    <a:pt x="97" y="48"/>
                  </a:cubicBezTo>
                  <a:cubicBezTo>
                    <a:pt x="98" y="111"/>
                    <a:pt x="74" y="78"/>
                    <a:pt x="74" y="78"/>
                  </a:cubicBezTo>
                  <a:cubicBezTo>
                    <a:pt x="68" y="90"/>
                    <a:pt x="57" y="77"/>
                    <a:pt x="57" y="77"/>
                  </a:cubicBezTo>
                  <a:cubicBezTo>
                    <a:pt x="57" y="77"/>
                    <a:pt x="57" y="77"/>
                    <a:pt x="57" y="78"/>
                  </a:cubicBezTo>
                  <a:cubicBezTo>
                    <a:pt x="65" y="98"/>
                    <a:pt x="42" y="93"/>
                    <a:pt x="42" y="93"/>
                  </a:cubicBezTo>
                  <a:cubicBezTo>
                    <a:pt x="17" y="137"/>
                    <a:pt x="5" y="104"/>
                    <a:pt x="5" y="104"/>
                  </a:cubicBezTo>
                  <a:cubicBezTo>
                    <a:pt x="0" y="95"/>
                    <a:pt x="14" y="87"/>
                    <a:pt x="14" y="87"/>
                  </a:cubicBezTo>
                  <a:close/>
                </a:path>
              </a:pathLst>
            </a:custGeom>
            <a:solidFill>
              <a:srgbClr val="09B89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99" name="Freeform 17"/>
            <p:cNvSpPr>
              <a:spLocks/>
            </p:cNvSpPr>
            <p:nvPr/>
          </p:nvSpPr>
          <p:spPr bwMode="auto">
            <a:xfrm>
              <a:off x="3633151" y="6104037"/>
              <a:ext cx="251939" cy="210506"/>
            </a:xfrm>
            <a:custGeom>
              <a:avLst/>
              <a:gdLst>
                <a:gd name="T0" fmla="*/ 14 w 157"/>
                <a:gd name="T1" fmla="*/ 96 h 132"/>
                <a:gd name="T2" fmla="*/ 37 w 157"/>
                <a:gd name="T3" fmla="*/ 89 h 132"/>
                <a:gd name="T4" fmla="*/ 48 w 157"/>
                <a:gd name="T5" fmla="*/ 74 h 132"/>
                <a:gd name="T6" fmla="*/ 70 w 157"/>
                <a:gd name="T7" fmla="*/ 49 h 132"/>
                <a:gd name="T8" fmla="*/ 80 w 157"/>
                <a:gd name="T9" fmla="*/ 31 h 132"/>
                <a:gd name="T10" fmla="*/ 109 w 157"/>
                <a:gd name="T11" fmla="*/ 33 h 132"/>
                <a:gd name="T12" fmla="*/ 126 w 157"/>
                <a:gd name="T13" fmla="*/ 47 h 132"/>
                <a:gd name="T14" fmla="*/ 137 w 157"/>
                <a:gd name="T15" fmla="*/ 74 h 132"/>
                <a:gd name="T16" fmla="*/ 126 w 157"/>
                <a:gd name="T17" fmla="*/ 96 h 132"/>
                <a:gd name="T18" fmla="*/ 103 w 157"/>
                <a:gd name="T19" fmla="*/ 80 h 132"/>
                <a:gd name="T20" fmla="*/ 78 w 157"/>
                <a:gd name="T21" fmla="*/ 80 h 132"/>
                <a:gd name="T22" fmla="*/ 61 w 157"/>
                <a:gd name="T23" fmla="*/ 89 h 132"/>
                <a:gd name="T24" fmla="*/ 60 w 157"/>
                <a:gd name="T25" fmla="*/ 88 h 132"/>
                <a:gd name="T26" fmla="*/ 60 w 157"/>
                <a:gd name="T27" fmla="*/ 88 h 132"/>
                <a:gd name="T28" fmla="*/ 37 w 157"/>
                <a:gd name="T29" fmla="*/ 109 h 132"/>
                <a:gd name="T30" fmla="*/ 8 w 157"/>
                <a:gd name="T31" fmla="*/ 114 h 132"/>
                <a:gd name="T32" fmla="*/ 14 w 157"/>
                <a:gd name="T33" fmla="*/ 96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7" h="132">
                  <a:moveTo>
                    <a:pt x="14" y="96"/>
                  </a:moveTo>
                  <a:cubicBezTo>
                    <a:pt x="14" y="96"/>
                    <a:pt x="17" y="69"/>
                    <a:pt x="37" y="89"/>
                  </a:cubicBezTo>
                  <a:cubicBezTo>
                    <a:pt x="37" y="89"/>
                    <a:pt x="30" y="74"/>
                    <a:pt x="48" y="74"/>
                  </a:cubicBezTo>
                  <a:cubicBezTo>
                    <a:pt x="48" y="74"/>
                    <a:pt x="35" y="40"/>
                    <a:pt x="70" y="49"/>
                  </a:cubicBezTo>
                  <a:cubicBezTo>
                    <a:pt x="70" y="49"/>
                    <a:pt x="59" y="28"/>
                    <a:pt x="80" y="31"/>
                  </a:cubicBezTo>
                  <a:cubicBezTo>
                    <a:pt x="80" y="31"/>
                    <a:pt x="95" y="0"/>
                    <a:pt x="109" y="33"/>
                  </a:cubicBezTo>
                  <a:cubicBezTo>
                    <a:pt x="109" y="33"/>
                    <a:pt x="131" y="23"/>
                    <a:pt x="126" y="47"/>
                  </a:cubicBezTo>
                  <a:cubicBezTo>
                    <a:pt x="126" y="47"/>
                    <a:pt x="152" y="52"/>
                    <a:pt x="137" y="74"/>
                  </a:cubicBezTo>
                  <a:cubicBezTo>
                    <a:pt x="137" y="74"/>
                    <a:pt x="157" y="103"/>
                    <a:pt x="126" y="96"/>
                  </a:cubicBezTo>
                  <a:cubicBezTo>
                    <a:pt x="126" y="96"/>
                    <a:pt x="104" y="118"/>
                    <a:pt x="103" y="80"/>
                  </a:cubicBezTo>
                  <a:cubicBezTo>
                    <a:pt x="103" y="80"/>
                    <a:pt x="90" y="108"/>
                    <a:pt x="78" y="80"/>
                  </a:cubicBezTo>
                  <a:cubicBezTo>
                    <a:pt x="78" y="80"/>
                    <a:pt x="78" y="99"/>
                    <a:pt x="61" y="89"/>
                  </a:cubicBezTo>
                  <a:cubicBezTo>
                    <a:pt x="61" y="89"/>
                    <a:pt x="60" y="88"/>
                    <a:pt x="60" y="88"/>
                  </a:cubicBezTo>
                  <a:cubicBezTo>
                    <a:pt x="42" y="77"/>
                    <a:pt x="60" y="88"/>
                    <a:pt x="60" y="88"/>
                  </a:cubicBezTo>
                  <a:cubicBezTo>
                    <a:pt x="60" y="88"/>
                    <a:pt x="64" y="128"/>
                    <a:pt x="37" y="109"/>
                  </a:cubicBezTo>
                  <a:cubicBezTo>
                    <a:pt x="37" y="109"/>
                    <a:pt x="26" y="132"/>
                    <a:pt x="8" y="114"/>
                  </a:cubicBezTo>
                  <a:cubicBezTo>
                    <a:pt x="8" y="114"/>
                    <a:pt x="0" y="98"/>
                    <a:pt x="14" y="96"/>
                  </a:cubicBezTo>
                  <a:close/>
                </a:path>
              </a:pathLst>
            </a:custGeom>
            <a:solidFill>
              <a:srgbClr val="5EC3A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10955" name="Group 10954"/>
          <p:cNvGrpSpPr/>
          <p:nvPr/>
        </p:nvGrpSpPr>
        <p:grpSpPr>
          <a:xfrm>
            <a:off x="3829056" y="6351079"/>
            <a:ext cx="820732" cy="273348"/>
            <a:chOff x="-2019300" y="3698875"/>
            <a:chExt cx="1892300" cy="630238"/>
          </a:xfrm>
        </p:grpSpPr>
        <p:sp>
          <p:nvSpPr>
            <p:cNvPr id="10917" name="AutoShape 8597"/>
            <p:cNvSpPr>
              <a:spLocks noChangeAspect="1" noChangeArrowheads="1" noTextEdit="1"/>
            </p:cNvSpPr>
            <p:nvPr/>
          </p:nvSpPr>
          <p:spPr bwMode="auto">
            <a:xfrm>
              <a:off x="-2019300" y="3698875"/>
              <a:ext cx="1889125" cy="6302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918" name="Freeform 8599"/>
            <p:cNvSpPr>
              <a:spLocks/>
            </p:cNvSpPr>
            <p:nvPr/>
          </p:nvSpPr>
          <p:spPr bwMode="auto">
            <a:xfrm>
              <a:off x="-2019300" y="3714750"/>
              <a:ext cx="1874838" cy="579438"/>
            </a:xfrm>
            <a:custGeom>
              <a:avLst/>
              <a:gdLst>
                <a:gd name="T0" fmla="*/ 497 w 497"/>
                <a:gd name="T1" fmla="*/ 79 h 152"/>
                <a:gd name="T2" fmla="*/ 497 w 497"/>
                <a:gd name="T3" fmla="*/ 133 h 152"/>
                <a:gd name="T4" fmla="*/ 494 w 497"/>
                <a:gd name="T5" fmla="*/ 143 h 152"/>
                <a:gd name="T6" fmla="*/ 459 w 497"/>
                <a:gd name="T7" fmla="*/ 149 h 152"/>
                <a:gd name="T8" fmla="*/ 365 w 497"/>
                <a:gd name="T9" fmla="*/ 151 h 152"/>
                <a:gd name="T10" fmla="*/ 12 w 497"/>
                <a:gd name="T11" fmla="*/ 151 h 152"/>
                <a:gd name="T12" fmla="*/ 0 w 497"/>
                <a:gd name="T13" fmla="*/ 138 h 152"/>
                <a:gd name="T14" fmla="*/ 6 w 497"/>
                <a:gd name="T15" fmla="*/ 83 h 152"/>
                <a:gd name="T16" fmla="*/ 7 w 497"/>
                <a:gd name="T17" fmla="*/ 80 h 152"/>
                <a:gd name="T18" fmla="*/ 26 w 497"/>
                <a:gd name="T19" fmla="*/ 72 h 152"/>
                <a:gd name="T20" fmla="*/ 40 w 497"/>
                <a:gd name="T21" fmla="*/ 16 h 152"/>
                <a:gd name="T22" fmla="*/ 31 w 497"/>
                <a:gd name="T23" fmla="*/ 10 h 152"/>
                <a:gd name="T24" fmla="*/ 43 w 497"/>
                <a:gd name="T25" fmla="*/ 1 h 152"/>
                <a:gd name="T26" fmla="*/ 418 w 497"/>
                <a:gd name="T27" fmla="*/ 1 h 152"/>
                <a:gd name="T28" fmla="*/ 477 w 497"/>
                <a:gd name="T29" fmla="*/ 1 h 152"/>
                <a:gd name="T30" fmla="*/ 493 w 497"/>
                <a:gd name="T31" fmla="*/ 7 h 152"/>
                <a:gd name="T32" fmla="*/ 497 w 497"/>
                <a:gd name="T33" fmla="*/ 79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97" h="152">
                  <a:moveTo>
                    <a:pt x="497" y="79"/>
                  </a:moveTo>
                  <a:cubicBezTo>
                    <a:pt x="497" y="133"/>
                    <a:pt x="497" y="133"/>
                    <a:pt x="497" y="133"/>
                  </a:cubicBezTo>
                  <a:cubicBezTo>
                    <a:pt x="497" y="133"/>
                    <a:pt x="497" y="142"/>
                    <a:pt x="494" y="143"/>
                  </a:cubicBezTo>
                  <a:cubicBezTo>
                    <a:pt x="490" y="144"/>
                    <a:pt x="459" y="149"/>
                    <a:pt x="459" y="149"/>
                  </a:cubicBezTo>
                  <a:cubicBezTo>
                    <a:pt x="459" y="149"/>
                    <a:pt x="441" y="152"/>
                    <a:pt x="365" y="151"/>
                  </a:cubicBezTo>
                  <a:cubicBezTo>
                    <a:pt x="289" y="150"/>
                    <a:pt x="12" y="151"/>
                    <a:pt x="12" y="151"/>
                  </a:cubicBezTo>
                  <a:cubicBezTo>
                    <a:pt x="12" y="151"/>
                    <a:pt x="0" y="152"/>
                    <a:pt x="0" y="138"/>
                  </a:cubicBezTo>
                  <a:cubicBezTo>
                    <a:pt x="0" y="138"/>
                    <a:pt x="1" y="99"/>
                    <a:pt x="6" y="83"/>
                  </a:cubicBezTo>
                  <a:cubicBezTo>
                    <a:pt x="7" y="82"/>
                    <a:pt x="7" y="81"/>
                    <a:pt x="7" y="80"/>
                  </a:cubicBezTo>
                  <a:cubicBezTo>
                    <a:pt x="22" y="79"/>
                    <a:pt x="26" y="72"/>
                    <a:pt x="26" y="72"/>
                  </a:cubicBezTo>
                  <a:cubicBezTo>
                    <a:pt x="26" y="72"/>
                    <a:pt x="39" y="20"/>
                    <a:pt x="40" y="16"/>
                  </a:cubicBezTo>
                  <a:cubicBezTo>
                    <a:pt x="41" y="12"/>
                    <a:pt x="31" y="10"/>
                    <a:pt x="31" y="10"/>
                  </a:cubicBezTo>
                  <a:cubicBezTo>
                    <a:pt x="31" y="10"/>
                    <a:pt x="34" y="1"/>
                    <a:pt x="43" y="1"/>
                  </a:cubicBezTo>
                  <a:cubicBezTo>
                    <a:pt x="418" y="1"/>
                    <a:pt x="418" y="1"/>
                    <a:pt x="418" y="1"/>
                  </a:cubicBezTo>
                  <a:cubicBezTo>
                    <a:pt x="454" y="1"/>
                    <a:pt x="477" y="1"/>
                    <a:pt x="477" y="1"/>
                  </a:cubicBezTo>
                  <a:cubicBezTo>
                    <a:pt x="477" y="1"/>
                    <a:pt x="492" y="0"/>
                    <a:pt x="493" y="7"/>
                  </a:cubicBezTo>
                  <a:cubicBezTo>
                    <a:pt x="493" y="13"/>
                    <a:pt x="497" y="79"/>
                    <a:pt x="497" y="79"/>
                  </a:cubicBezTo>
                  <a:close/>
                </a:path>
              </a:pathLst>
            </a:custGeom>
            <a:solidFill>
              <a:srgbClr val="E65A6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919" name="Freeform 8600"/>
            <p:cNvSpPr>
              <a:spLocks/>
            </p:cNvSpPr>
            <p:nvPr/>
          </p:nvSpPr>
          <p:spPr bwMode="auto">
            <a:xfrm>
              <a:off x="-1909763" y="3771900"/>
              <a:ext cx="249238" cy="247650"/>
            </a:xfrm>
            <a:custGeom>
              <a:avLst/>
              <a:gdLst>
                <a:gd name="T0" fmla="*/ 59 w 66"/>
                <a:gd name="T1" fmla="*/ 0 h 65"/>
                <a:gd name="T2" fmla="*/ 21 w 66"/>
                <a:gd name="T3" fmla="*/ 0 h 65"/>
                <a:gd name="T4" fmla="*/ 15 w 66"/>
                <a:gd name="T5" fmla="*/ 8 h 65"/>
                <a:gd name="T6" fmla="*/ 3 w 66"/>
                <a:gd name="T7" fmla="*/ 56 h 65"/>
                <a:gd name="T8" fmla="*/ 11 w 66"/>
                <a:gd name="T9" fmla="*/ 65 h 65"/>
                <a:gd name="T10" fmla="*/ 59 w 66"/>
                <a:gd name="T11" fmla="*/ 54 h 65"/>
                <a:gd name="T12" fmla="*/ 63 w 66"/>
                <a:gd name="T13" fmla="*/ 43 h 65"/>
                <a:gd name="T14" fmla="*/ 66 w 66"/>
                <a:gd name="T15" fmla="*/ 6 h 65"/>
                <a:gd name="T16" fmla="*/ 59 w 66"/>
                <a:gd name="T17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6" h="65">
                  <a:moveTo>
                    <a:pt x="59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17" y="0"/>
                    <a:pt x="15" y="8"/>
                  </a:cubicBezTo>
                  <a:cubicBezTo>
                    <a:pt x="13" y="16"/>
                    <a:pt x="3" y="56"/>
                    <a:pt x="3" y="56"/>
                  </a:cubicBezTo>
                  <a:cubicBezTo>
                    <a:pt x="3" y="56"/>
                    <a:pt x="0" y="65"/>
                    <a:pt x="11" y="65"/>
                  </a:cubicBezTo>
                  <a:cubicBezTo>
                    <a:pt x="21" y="65"/>
                    <a:pt x="49" y="61"/>
                    <a:pt x="59" y="54"/>
                  </a:cubicBezTo>
                  <a:cubicBezTo>
                    <a:pt x="59" y="54"/>
                    <a:pt x="62" y="48"/>
                    <a:pt x="63" y="43"/>
                  </a:cubicBezTo>
                  <a:cubicBezTo>
                    <a:pt x="64" y="39"/>
                    <a:pt x="66" y="6"/>
                    <a:pt x="66" y="6"/>
                  </a:cubicBezTo>
                  <a:cubicBezTo>
                    <a:pt x="66" y="6"/>
                    <a:pt x="66" y="0"/>
                    <a:pt x="59" y="0"/>
                  </a:cubicBezTo>
                  <a:close/>
                </a:path>
              </a:pathLst>
            </a:custGeom>
            <a:solidFill>
              <a:srgbClr val="FFE1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920" name="Freeform 8601"/>
            <p:cNvSpPr>
              <a:spLocks/>
            </p:cNvSpPr>
            <p:nvPr/>
          </p:nvSpPr>
          <p:spPr bwMode="auto">
            <a:xfrm>
              <a:off x="-1646238" y="3771900"/>
              <a:ext cx="388938" cy="201613"/>
            </a:xfrm>
            <a:custGeom>
              <a:avLst/>
              <a:gdLst>
                <a:gd name="T0" fmla="*/ 103 w 103"/>
                <a:gd name="T1" fmla="*/ 46 h 53"/>
                <a:gd name="T2" fmla="*/ 96 w 103"/>
                <a:gd name="T3" fmla="*/ 53 h 53"/>
                <a:gd name="T4" fmla="*/ 7 w 103"/>
                <a:gd name="T5" fmla="*/ 53 h 53"/>
                <a:gd name="T6" fmla="*/ 0 w 103"/>
                <a:gd name="T7" fmla="*/ 46 h 53"/>
                <a:gd name="T8" fmla="*/ 0 w 103"/>
                <a:gd name="T9" fmla="*/ 7 h 53"/>
                <a:gd name="T10" fmla="*/ 7 w 103"/>
                <a:gd name="T11" fmla="*/ 0 h 53"/>
                <a:gd name="T12" fmla="*/ 96 w 103"/>
                <a:gd name="T13" fmla="*/ 0 h 53"/>
                <a:gd name="T14" fmla="*/ 103 w 103"/>
                <a:gd name="T15" fmla="*/ 7 h 53"/>
                <a:gd name="T16" fmla="*/ 103 w 103"/>
                <a:gd name="T17" fmla="*/ 46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3" h="53">
                  <a:moveTo>
                    <a:pt x="103" y="46"/>
                  </a:moveTo>
                  <a:cubicBezTo>
                    <a:pt x="103" y="50"/>
                    <a:pt x="100" y="53"/>
                    <a:pt x="96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3" y="53"/>
                    <a:pt x="0" y="50"/>
                    <a:pt x="0" y="4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100" y="0"/>
                    <a:pt x="103" y="3"/>
                    <a:pt x="103" y="7"/>
                  </a:cubicBezTo>
                  <a:lnTo>
                    <a:pt x="103" y="46"/>
                  </a:lnTo>
                  <a:close/>
                </a:path>
              </a:pathLst>
            </a:custGeom>
            <a:solidFill>
              <a:srgbClr val="FFE1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921" name="Freeform 8602"/>
            <p:cNvSpPr>
              <a:spLocks/>
            </p:cNvSpPr>
            <p:nvPr/>
          </p:nvSpPr>
          <p:spPr bwMode="auto">
            <a:xfrm>
              <a:off x="-1227138" y="3771900"/>
              <a:ext cx="387350" cy="201613"/>
            </a:xfrm>
            <a:custGeom>
              <a:avLst/>
              <a:gdLst>
                <a:gd name="T0" fmla="*/ 103 w 103"/>
                <a:gd name="T1" fmla="*/ 46 h 53"/>
                <a:gd name="T2" fmla="*/ 96 w 103"/>
                <a:gd name="T3" fmla="*/ 53 h 53"/>
                <a:gd name="T4" fmla="*/ 7 w 103"/>
                <a:gd name="T5" fmla="*/ 53 h 53"/>
                <a:gd name="T6" fmla="*/ 0 w 103"/>
                <a:gd name="T7" fmla="*/ 46 h 53"/>
                <a:gd name="T8" fmla="*/ 0 w 103"/>
                <a:gd name="T9" fmla="*/ 7 h 53"/>
                <a:gd name="T10" fmla="*/ 7 w 103"/>
                <a:gd name="T11" fmla="*/ 0 h 53"/>
                <a:gd name="T12" fmla="*/ 96 w 103"/>
                <a:gd name="T13" fmla="*/ 0 h 53"/>
                <a:gd name="T14" fmla="*/ 103 w 103"/>
                <a:gd name="T15" fmla="*/ 7 h 53"/>
                <a:gd name="T16" fmla="*/ 103 w 103"/>
                <a:gd name="T17" fmla="*/ 46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3" h="53">
                  <a:moveTo>
                    <a:pt x="103" y="46"/>
                  </a:moveTo>
                  <a:cubicBezTo>
                    <a:pt x="103" y="50"/>
                    <a:pt x="99" y="53"/>
                    <a:pt x="96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3" y="53"/>
                    <a:pt x="0" y="50"/>
                    <a:pt x="0" y="4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9" y="0"/>
                    <a:pt x="103" y="3"/>
                    <a:pt x="103" y="7"/>
                  </a:cubicBezTo>
                  <a:lnTo>
                    <a:pt x="103" y="46"/>
                  </a:lnTo>
                  <a:close/>
                </a:path>
              </a:pathLst>
            </a:custGeom>
            <a:solidFill>
              <a:srgbClr val="FFE1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922" name="Freeform 8603"/>
            <p:cNvSpPr>
              <a:spLocks/>
            </p:cNvSpPr>
            <p:nvPr/>
          </p:nvSpPr>
          <p:spPr bwMode="auto">
            <a:xfrm>
              <a:off x="-820738" y="3771900"/>
              <a:ext cx="388938" cy="201613"/>
            </a:xfrm>
            <a:custGeom>
              <a:avLst/>
              <a:gdLst>
                <a:gd name="T0" fmla="*/ 103 w 103"/>
                <a:gd name="T1" fmla="*/ 46 h 53"/>
                <a:gd name="T2" fmla="*/ 95 w 103"/>
                <a:gd name="T3" fmla="*/ 53 h 53"/>
                <a:gd name="T4" fmla="*/ 7 w 103"/>
                <a:gd name="T5" fmla="*/ 53 h 53"/>
                <a:gd name="T6" fmla="*/ 0 w 103"/>
                <a:gd name="T7" fmla="*/ 46 h 53"/>
                <a:gd name="T8" fmla="*/ 0 w 103"/>
                <a:gd name="T9" fmla="*/ 7 h 53"/>
                <a:gd name="T10" fmla="*/ 7 w 103"/>
                <a:gd name="T11" fmla="*/ 0 h 53"/>
                <a:gd name="T12" fmla="*/ 95 w 103"/>
                <a:gd name="T13" fmla="*/ 0 h 53"/>
                <a:gd name="T14" fmla="*/ 103 w 103"/>
                <a:gd name="T15" fmla="*/ 7 h 53"/>
                <a:gd name="T16" fmla="*/ 103 w 103"/>
                <a:gd name="T17" fmla="*/ 46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3" h="53">
                  <a:moveTo>
                    <a:pt x="103" y="46"/>
                  </a:moveTo>
                  <a:cubicBezTo>
                    <a:pt x="103" y="50"/>
                    <a:pt x="99" y="53"/>
                    <a:pt x="95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3" y="53"/>
                    <a:pt x="0" y="50"/>
                    <a:pt x="0" y="4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99" y="0"/>
                    <a:pt x="103" y="3"/>
                    <a:pt x="103" y="7"/>
                  </a:cubicBezTo>
                  <a:lnTo>
                    <a:pt x="103" y="46"/>
                  </a:lnTo>
                  <a:close/>
                </a:path>
              </a:pathLst>
            </a:custGeom>
            <a:solidFill>
              <a:srgbClr val="FFE1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923" name="Freeform 8604"/>
            <p:cNvSpPr>
              <a:spLocks/>
            </p:cNvSpPr>
            <p:nvPr/>
          </p:nvSpPr>
          <p:spPr bwMode="auto">
            <a:xfrm>
              <a:off x="-409575" y="3771900"/>
              <a:ext cx="196850" cy="201613"/>
            </a:xfrm>
            <a:custGeom>
              <a:avLst/>
              <a:gdLst>
                <a:gd name="T0" fmla="*/ 52 w 52"/>
                <a:gd name="T1" fmla="*/ 46 h 53"/>
                <a:gd name="T2" fmla="*/ 48 w 52"/>
                <a:gd name="T3" fmla="*/ 53 h 53"/>
                <a:gd name="T4" fmla="*/ 4 w 52"/>
                <a:gd name="T5" fmla="*/ 53 h 53"/>
                <a:gd name="T6" fmla="*/ 0 w 52"/>
                <a:gd name="T7" fmla="*/ 46 h 53"/>
                <a:gd name="T8" fmla="*/ 0 w 52"/>
                <a:gd name="T9" fmla="*/ 7 h 53"/>
                <a:gd name="T10" fmla="*/ 4 w 52"/>
                <a:gd name="T11" fmla="*/ 0 h 53"/>
                <a:gd name="T12" fmla="*/ 48 w 52"/>
                <a:gd name="T13" fmla="*/ 0 h 53"/>
                <a:gd name="T14" fmla="*/ 52 w 52"/>
                <a:gd name="T15" fmla="*/ 7 h 53"/>
                <a:gd name="T16" fmla="*/ 52 w 52"/>
                <a:gd name="T17" fmla="*/ 46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2" h="53">
                  <a:moveTo>
                    <a:pt x="52" y="46"/>
                  </a:moveTo>
                  <a:cubicBezTo>
                    <a:pt x="52" y="50"/>
                    <a:pt x="50" y="53"/>
                    <a:pt x="48" y="53"/>
                  </a:cubicBezTo>
                  <a:cubicBezTo>
                    <a:pt x="4" y="53"/>
                    <a:pt x="4" y="53"/>
                    <a:pt x="4" y="53"/>
                  </a:cubicBezTo>
                  <a:cubicBezTo>
                    <a:pt x="2" y="53"/>
                    <a:pt x="0" y="50"/>
                    <a:pt x="0" y="4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2" y="0"/>
                    <a:pt x="4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50" y="0"/>
                    <a:pt x="52" y="3"/>
                    <a:pt x="52" y="7"/>
                  </a:cubicBezTo>
                  <a:lnTo>
                    <a:pt x="52" y="46"/>
                  </a:lnTo>
                  <a:close/>
                </a:path>
              </a:pathLst>
            </a:custGeom>
            <a:solidFill>
              <a:srgbClr val="FFE1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924" name="Rectangle 8605"/>
            <p:cNvSpPr>
              <a:spLocks noChangeArrowheads="1"/>
            </p:cNvSpPr>
            <p:nvPr/>
          </p:nvSpPr>
          <p:spPr bwMode="auto">
            <a:xfrm>
              <a:off x="-1401763" y="3698875"/>
              <a:ext cx="144463" cy="19050"/>
            </a:xfrm>
            <a:prstGeom prst="rect">
              <a:avLst/>
            </a:prstGeom>
            <a:solidFill>
              <a:srgbClr val="AD50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925" name="Rectangle 8606"/>
            <p:cNvSpPr>
              <a:spLocks noChangeArrowheads="1"/>
            </p:cNvSpPr>
            <p:nvPr/>
          </p:nvSpPr>
          <p:spPr bwMode="auto">
            <a:xfrm>
              <a:off x="-585788" y="3698875"/>
              <a:ext cx="142875" cy="19050"/>
            </a:xfrm>
            <a:prstGeom prst="rect">
              <a:avLst/>
            </a:prstGeom>
            <a:solidFill>
              <a:srgbClr val="AD50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926" name="Rectangle 8607"/>
            <p:cNvSpPr>
              <a:spLocks noChangeArrowheads="1"/>
            </p:cNvSpPr>
            <p:nvPr/>
          </p:nvSpPr>
          <p:spPr bwMode="auto">
            <a:xfrm>
              <a:off x="-1638300" y="4011613"/>
              <a:ext cx="38100" cy="19050"/>
            </a:xfrm>
            <a:prstGeom prst="rect">
              <a:avLst/>
            </a:prstGeom>
            <a:solidFill>
              <a:srgbClr val="4C5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927" name="Rectangle 8608"/>
            <p:cNvSpPr>
              <a:spLocks noChangeArrowheads="1"/>
            </p:cNvSpPr>
            <p:nvPr/>
          </p:nvSpPr>
          <p:spPr bwMode="auto">
            <a:xfrm>
              <a:off x="-144463" y="4046538"/>
              <a:ext cx="17463" cy="103188"/>
            </a:xfrm>
            <a:prstGeom prst="rect">
              <a:avLst/>
            </a:prstGeom>
            <a:solidFill>
              <a:srgbClr val="F9A94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928" name="Rectangle 8609"/>
            <p:cNvSpPr>
              <a:spLocks noChangeArrowheads="1"/>
            </p:cNvSpPr>
            <p:nvPr/>
          </p:nvSpPr>
          <p:spPr bwMode="auto">
            <a:xfrm>
              <a:off x="-2019300" y="3829050"/>
              <a:ext cx="14288" cy="95250"/>
            </a:xfrm>
            <a:prstGeom prst="rect">
              <a:avLst/>
            </a:prstGeom>
            <a:solidFill>
              <a:srgbClr val="3434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929" name="Freeform 8610"/>
            <p:cNvSpPr>
              <a:spLocks/>
            </p:cNvSpPr>
            <p:nvPr/>
          </p:nvSpPr>
          <p:spPr bwMode="auto">
            <a:xfrm>
              <a:off x="-2019300" y="3744913"/>
              <a:ext cx="120650" cy="87313"/>
            </a:xfrm>
            <a:custGeom>
              <a:avLst/>
              <a:gdLst>
                <a:gd name="T0" fmla="*/ 1 w 32"/>
                <a:gd name="T1" fmla="*/ 23 h 23"/>
                <a:gd name="T2" fmla="*/ 3 w 32"/>
                <a:gd name="T3" fmla="*/ 16 h 23"/>
                <a:gd name="T4" fmla="*/ 32 w 32"/>
                <a:gd name="T5" fmla="*/ 0 h 23"/>
                <a:gd name="T6" fmla="*/ 31 w 32"/>
                <a:gd name="T7" fmla="*/ 3 h 23"/>
                <a:gd name="T8" fmla="*/ 4 w 32"/>
                <a:gd name="T9" fmla="*/ 18 h 23"/>
                <a:gd name="T10" fmla="*/ 3 w 32"/>
                <a:gd name="T11" fmla="*/ 23 h 23"/>
                <a:gd name="T12" fmla="*/ 1 w 32"/>
                <a:gd name="T13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23">
                  <a:moveTo>
                    <a:pt x="1" y="23"/>
                  </a:moveTo>
                  <a:cubicBezTo>
                    <a:pt x="0" y="21"/>
                    <a:pt x="0" y="18"/>
                    <a:pt x="3" y="16"/>
                  </a:cubicBezTo>
                  <a:cubicBezTo>
                    <a:pt x="6" y="14"/>
                    <a:pt x="31" y="0"/>
                    <a:pt x="32" y="0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7" y="16"/>
                    <a:pt x="4" y="18"/>
                  </a:cubicBezTo>
                  <a:cubicBezTo>
                    <a:pt x="2" y="20"/>
                    <a:pt x="3" y="23"/>
                    <a:pt x="3" y="23"/>
                  </a:cubicBezTo>
                  <a:lnTo>
                    <a:pt x="1" y="23"/>
                  </a:lnTo>
                  <a:close/>
                </a:path>
              </a:pathLst>
            </a:custGeom>
            <a:solidFill>
              <a:srgbClr val="3434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930" name="Freeform 8611"/>
            <p:cNvSpPr>
              <a:spLocks/>
            </p:cNvSpPr>
            <p:nvPr/>
          </p:nvSpPr>
          <p:spPr bwMode="auto">
            <a:xfrm>
              <a:off x="-1992313" y="3752850"/>
              <a:ext cx="127000" cy="266700"/>
            </a:xfrm>
            <a:custGeom>
              <a:avLst/>
              <a:gdLst>
                <a:gd name="T0" fmla="*/ 33 w 34"/>
                <a:gd name="T1" fmla="*/ 6 h 70"/>
                <a:gd name="T2" fmla="*/ 19 w 34"/>
                <a:gd name="T3" fmla="*/ 62 h 70"/>
                <a:gd name="T4" fmla="*/ 0 w 34"/>
                <a:gd name="T5" fmla="*/ 70 h 70"/>
                <a:gd name="T6" fmla="*/ 25 w 34"/>
                <a:gd name="T7" fmla="*/ 0 h 70"/>
                <a:gd name="T8" fmla="*/ 33 w 34"/>
                <a:gd name="T9" fmla="*/ 6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70">
                  <a:moveTo>
                    <a:pt x="33" y="6"/>
                  </a:moveTo>
                  <a:cubicBezTo>
                    <a:pt x="32" y="10"/>
                    <a:pt x="19" y="62"/>
                    <a:pt x="19" y="62"/>
                  </a:cubicBezTo>
                  <a:cubicBezTo>
                    <a:pt x="19" y="62"/>
                    <a:pt x="15" y="69"/>
                    <a:pt x="0" y="70"/>
                  </a:cubicBezTo>
                  <a:cubicBezTo>
                    <a:pt x="6" y="51"/>
                    <a:pt x="25" y="0"/>
                    <a:pt x="25" y="0"/>
                  </a:cubicBezTo>
                  <a:cubicBezTo>
                    <a:pt x="25" y="0"/>
                    <a:pt x="34" y="2"/>
                    <a:pt x="33" y="6"/>
                  </a:cubicBezTo>
                  <a:close/>
                </a:path>
              </a:pathLst>
            </a:custGeom>
            <a:solidFill>
              <a:srgbClr val="FFE1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931" name="Rectangle 8612"/>
            <p:cNvSpPr>
              <a:spLocks noChangeArrowheads="1"/>
            </p:cNvSpPr>
            <p:nvPr/>
          </p:nvSpPr>
          <p:spPr bwMode="auto">
            <a:xfrm>
              <a:off x="-2011363" y="4168775"/>
              <a:ext cx="1866900" cy="7938"/>
            </a:xfrm>
            <a:prstGeom prst="rect">
              <a:avLst/>
            </a:prstGeom>
            <a:solidFill>
              <a:srgbClr val="AD50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932" name="Freeform 8613"/>
            <p:cNvSpPr>
              <a:spLocks noEditPoints="1"/>
            </p:cNvSpPr>
            <p:nvPr/>
          </p:nvSpPr>
          <p:spPr bwMode="auto">
            <a:xfrm>
              <a:off x="-1816100" y="4130675"/>
              <a:ext cx="196850" cy="195263"/>
            </a:xfrm>
            <a:custGeom>
              <a:avLst/>
              <a:gdLst>
                <a:gd name="T0" fmla="*/ 26 w 52"/>
                <a:gd name="T1" fmla="*/ 0 h 51"/>
                <a:gd name="T2" fmla="*/ 0 w 52"/>
                <a:gd name="T3" fmla="*/ 25 h 51"/>
                <a:gd name="T4" fmla="*/ 26 w 52"/>
                <a:gd name="T5" fmla="*/ 51 h 51"/>
                <a:gd name="T6" fmla="*/ 52 w 52"/>
                <a:gd name="T7" fmla="*/ 25 h 51"/>
                <a:gd name="T8" fmla="*/ 26 w 52"/>
                <a:gd name="T9" fmla="*/ 0 h 51"/>
                <a:gd name="T10" fmla="*/ 26 w 52"/>
                <a:gd name="T11" fmla="*/ 44 h 51"/>
                <a:gd name="T12" fmla="*/ 8 w 52"/>
                <a:gd name="T13" fmla="*/ 25 h 51"/>
                <a:gd name="T14" fmla="*/ 26 w 52"/>
                <a:gd name="T15" fmla="*/ 7 h 51"/>
                <a:gd name="T16" fmla="*/ 45 w 52"/>
                <a:gd name="T17" fmla="*/ 25 h 51"/>
                <a:gd name="T18" fmla="*/ 26 w 52"/>
                <a:gd name="T19" fmla="*/ 44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2" h="51">
                  <a:moveTo>
                    <a:pt x="26" y="0"/>
                  </a:moveTo>
                  <a:cubicBezTo>
                    <a:pt x="12" y="0"/>
                    <a:pt x="0" y="11"/>
                    <a:pt x="0" y="25"/>
                  </a:cubicBezTo>
                  <a:cubicBezTo>
                    <a:pt x="0" y="40"/>
                    <a:pt x="12" y="51"/>
                    <a:pt x="26" y="51"/>
                  </a:cubicBezTo>
                  <a:cubicBezTo>
                    <a:pt x="41" y="51"/>
                    <a:pt x="52" y="40"/>
                    <a:pt x="52" y="25"/>
                  </a:cubicBezTo>
                  <a:cubicBezTo>
                    <a:pt x="52" y="11"/>
                    <a:pt x="41" y="0"/>
                    <a:pt x="26" y="0"/>
                  </a:cubicBezTo>
                  <a:close/>
                  <a:moveTo>
                    <a:pt x="26" y="44"/>
                  </a:moveTo>
                  <a:cubicBezTo>
                    <a:pt x="16" y="44"/>
                    <a:pt x="8" y="36"/>
                    <a:pt x="8" y="25"/>
                  </a:cubicBezTo>
                  <a:cubicBezTo>
                    <a:pt x="8" y="15"/>
                    <a:pt x="16" y="7"/>
                    <a:pt x="26" y="7"/>
                  </a:cubicBezTo>
                  <a:cubicBezTo>
                    <a:pt x="36" y="7"/>
                    <a:pt x="45" y="15"/>
                    <a:pt x="45" y="25"/>
                  </a:cubicBezTo>
                  <a:cubicBezTo>
                    <a:pt x="45" y="36"/>
                    <a:pt x="36" y="44"/>
                    <a:pt x="26" y="44"/>
                  </a:cubicBezTo>
                  <a:close/>
                </a:path>
              </a:pathLst>
            </a:custGeom>
            <a:solidFill>
              <a:srgbClr val="3434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933" name="Freeform 8614"/>
            <p:cNvSpPr>
              <a:spLocks noEditPoints="1"/>
            </p:cNvSpPr>
            <p:nvPr/>
          </p:nvSpPr>
          <p:spPr bwMode="auto">
            <a:xfrm>
              <a:off x="-1785938" y="4157663"/>
              <a:ext cx="139700" cy="141288"/>
            </a:xfrm>
            <a:custGeom>
              <a:avLst/>
              <a:gdLst>
                <a:gd name="T0" fmla="*/ 18 w 37"/>
                <a:gd name="T1" fmla="*/ 0 h 37"/>
                <a:gd name="T2" fmla="*/ 0 w 37"/>
                <a:gd name="T3" fmla="*/ 18 h 37"/>
                <a:gd name="T4" fmla="*/ 18 w 37"/>
                <a:gd name="T5" fmla="*/ 37 h 37"/>
                <a:gd name="T6" fmla="*/ 37 w 37"/>
                <a:gd name="T7" fmla="*/ 18 h 37"/>
                <a:gd name="T8" fmla="*/ 18 w 37"/>
                <a:gd name="T9" fmla="*/ 0 h 37"/>
                <a:gd name="T10" fmla="*/ 18 w 37"/>
                <a:gd name="T11" fmla="*/ 33 h 37"/>
                <a:gd name="T12" fmla="*/ 3 w 37"/>
                <a:gd name="T13" fmla="*/ 18 h 37"/>
                <a:gd name="T14" fmla="*/ 18 w 37"/>
                <a:gd name="T15" fmla="*/ 4 h 37"/>
                <a:gd name="T16" fmla="*/ 33 w 37"/>
                <a:gd name="T17" fmla="*/ 18 h 37"/>
                <a:gd name="T18" fmla="*/ 18 w 37"/>
                <a:gd name="T19" fmla="*/ 33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" h="37">
                  <a:moveTo>
                    <a:pt x="18" y="0"/>
                  </a:moveTo>
                  <a:cubicBezTo>
                    <a:pt x="8" y="0"/>
                    <a:pt x="0" y="8"/>
                    <a:pt x="0" y="18"/>
                  </a:cubicBezTo>
                  <a:cubicBezTo>
                    <a:pt x="0" y="29"/>
                    <a:pt x="8" y="37"/>
                    <a:pt x="18" y="37"/>
                  </a:cubicBezTo>
                  <a:cubicBezTo>
                    <a:pt x="28" y="37"/>
                    <a:pt x="37" y="29"/>
                    <a:pt x="37" y="18"/>
                  </a:cubicBezTo>
                  <a:cubicBezTo>
                    <a:pt x="37" y="8"/>
                    <a:pt x="28" y="0"/>
                    <a:pt x="18" y="0"/>
                  </a:cubicBezTo>
                  <a:close/>
                  <a:moveTo>
                    <a:pt x="18" y="33"/>
                  </a:moveTo>
                  <a:cubicBezTo>
                    <a:pt x="10" y="33"/>
                    <a:pt x="3" y="27"/>
                    <a:pt x="3" y="18"/>
                  </a:cubicBezTo>
                  <a:cubicBezTo>
                    <a:pt x="3" y="10"/>
                    <a:pt x="10" y="4"/>
                    <a:pt x="18" y="4"/>
                  </a:cubicBezTo>
                  <a:cubicBezTo>
                    <a:pt x="26" y="4"/>
                    <a:pt x="33" y="10"/>
                    <a:pt x="33" y="18"/>
                  </a:cubicBezTo>
                  <a:cubicBezTo>
                    <a:pt x="33" y="27"/>
                    <a:pt x="26" y="33"/>
                    <a:pt x="18" y="33"/>
                  </a:cubicBezTo>
                  <a:close/>
                </a:path>
              </a:pathLst>
            </a:custGeom>
            <a:solidFill>
              <a:srgbClr val="5C5C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934" name="Freeform 8615"/>
            <p:cNvSpPr>
              <a:spLocks noEditPoints="1"/>
            </p:cNvSpPr>
            <p:nvPr/>
          </p:nvSpPr>
          <p:spPr bwMode="auto">
            <a:xfrm>
              <a:off x="-1774825" y="4171950"/>
              <a:ext cx="114300" cy="111125"/>
            </a:xfrm>
            <a:custGeom>
              <a:avLst/>
              <a:gdLst>
                <a:gd name="T0" fmla="*/ 15 w 30"/>
                <a:gd name="T1" fmla="*/ 0 h 29"/>
                <a:gd name="T2" fmla="*/ 0 w 30"/>
                <a:gd name="T3" fmla="*/ 14 h 29"/>
                <a:gd name="T4" fmla="*/ 15 w 30"/>
                <a:gd name="T5" fmla="*/ 29 h 29"/>
                <a:gd name="T6" fmla="*/ 30 w 30"/>
                <a:gd name="T7" fmla="*/ 14 h 29"/>
                <a:gd name="T8" fmla="*/ 15 w 30"/>
                <a:gd name="T9" fmla="*/ 0 h 29"/>
                <a:gd name="T10" fmla="*/ 13 w 30"/>
                <a:gd name="T11" fmla="*/ 2 h 29"/>
                <a:gd name="T12" fmla="*/ 17 w 30"/>
                <a:gd name="T13" fmla="*/ 2 h 29"/>
                <a:gd name="T14" fmla="*/ 17 w 30"/>
                <a:gd name="T15" fmla="*/ 4 h 29"/>
                <a:gd name="T16" fmla="*/ 13 w 30"/>
                <a:gd name="T17" fmla="*/ 4 h 29"/>
                <a:gd name="T18" fmla="*/ 13 w 30"/>
                <a:gd name="T19" fmla="*/ 2 h 29"/>
                <a:gd name="T20" fmla="*/ 6 w 30"/>
                <a:gd name="T21" fmla="*/ 7 h 29"/>
                <a:gd name="T22" fmla="*/ 7 w 30"/>
                <a:gd name="T23" fmla="*/ 8 h 29"/>
                <a:gd name="T24" fmla="*/ 5 w 30"/>
                <a:gd name="T25" fmla="*/ 11 h 29"/>
                <a:gd name="T26" fmla="*/ 4 w 30"/>
                <a:gd name="T27" fmla="*/ 11 h 29"/>
                <a:gd name="T28" fmla="*/ 6 w 30"/>
                <a:gd name="T29" fmla="*/ 7 h 29"/>
                <a:gd name="T30" fmla="*/ 6 w 30"/>
                <a:gd name="T31" fmla="*/ 23 h 29"/>
                <a:gd name="T32" fmla="*/ 4 w 30"/>
                <a:gd name="T33" fmla="*/ 19 h 29"/>
                <a:gd name="T34" fmla="*/ 5 w 30"/>
                <a:gd name="T35" fmla="*/ 18 h 29"/>
                <a:gd name="T36" fmla="*/ 8 w 30"/>
                <a:gd name="T37" fmla="*/ 22 h 29"/>
                <a:gd name="T38" fmla="*/ 6 w 30"/>
                <a:gd name="T39" fmla="*/ 23 h 29"/>
                <a:gd name="T40" fmla="*/ 18 w 30"/>
                <a:gd name="T41" fmla="*/ 27 h 29"/>
                <a:gd name="T42" fmla="*/ 13 w 30"/>
                <a:gd name="T43" fmla="*/ 27 h 29"/>
                <a:gd name="T44" fmla="*/ 13 w 30"/>
                <a:gd name="T45" fmla="*/ 25 h 29"/>
                <a:gd name="T46" fmla="*/ 18 w 30"/>
                <a:gd name="T47" fmla="*/ 25 h 29"/>
                <a:gd name="T48" fmla="*/ 18 w 30"/>
                <a:gd name="T49" fmla="*/ 27 h 29"/>
                <a:gd name="T50" fmla="*/ 15 w 30"/>
                <a:gd name="T51" fmla="*/ 20 h 29"/>
                <a:gd name="T52" fmla="*/ 10 w 30"/>
                <a:gd name="T53" fmla="*/ 14 h 29"/>
                <a:gd name="T54" fmla="*/ 15 w 30"/>
                <a:gd name="T55" fmla="*/ 9 h 29"/>
                <a:gd name="T56" fmla="*/ 21 w 30"/>
                <a:gd name="T57" fmla="*/ 14 h 29"/>
                <a:gd name="T58" fmla="*/ 15 w 30"/>
                <a:gd name="T59" fmla="*/ 20 h 29"/>
                <a:gd name="T60" fmla="*/ 24 w 30"/>
                <a:gd name="T61" fmla="*/ 6 h 29"/>
                <a:gd name="T62" fmla="*/ 27 w 30"/>
                <a:gd name="T63" fmla="*/ 10 h 29"/>
                <a:gd name="T64" fmla="*/ 25 w 30"/>
                <a:gd name="T65" fmla="*/ 11 h 29"/>
                <a:gd name="T66" fmla="*/ 23 w 30"/>
                <a:gd name="T67" fmla="*/ 7 h 29"/>
                <a:gd name="T68" fmla="*/ 24 w 30"/>
                <a:gd name="T69" fmla="*/ 6 h 29"/>
                <a:gd name="T70" fmla="*/ 25 w 30"/>
                <a:gd name="T71" fmla="*/ 22 h 29"/>
                <a:gd name="T72" fmla="*/ 23 w 30"/>
                <a:gd name="T73" fmla="*/ 21 h 29"/>
                <a:gd name="T74" fmla="*/ 25 w 30"/>
                <a:gd name="T75" fmla="*/ 18 h 29"/>
                <a:gd name="T76" fmla="*/ 27 w 30"/>
                <a:gd name="T77" fmla="*/ 18 h 29"/>
                <a:gd name="T78" fmla="*/ 25 w 30"/>
                <a:gd name="T79" fmla="*/ 22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0" h="29">
                  <a:moveTo>
                    <a:pt x="15" y="0"/>
                  </a:moveTo>
                  <a:cubicBezTo>
                    <a:pt x="7" y="0"/>
                    <a:pt x="0" y="6"/>
                    <a:pt x="0" y="14"/>
                  </a:cubicBezTo>
                  <a:cubicBezTo>
                    <a:pt x="0" y="23"/>
                    <a:pt x="7" y="29"/>
                    <a:pt x="15" y="29"/>
                  </a:cubicBezTo>
                  <a:cubicBezTo>
                    <a:pt x="23" y="29"/>
                    <a:pt x="30" y="23"/>
                    <a:pt x="30" y="14"/>
                  </a:cubicBezTo>
                  <a:cubicBezTo>
                    <a:pt x="30" y="6"/>
                    <a:pt x="23" y="0"/>
                    <a:pt x="15" y="0"/>
                  </a:cubicBezTo>
                  <a:close/>
                  <a:moveTo>
                    <a:pt x="13" y="2"/>
                  </a:moveTo>
                  <a:cubicBezTo>
                    <a:pt x="17" y="2"/>
                    <a:pt x="17" y="2"/>
                    <a:pt x="17" y="2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3" y="4"/>
                    <a:pt x="13" y="4"/>
                    <a:pt x="13" y="4"/>
                  </a:cubicBezTo>
                  <a:lnTo>
                    <a:pt x="13" y="2"/>
                  </a:lnTo>
                  <a:close/>
                  <a:moveTo>
                    <a:pt x="6" y="7"/>
                  </a:moveTo>
                  <a:cubicBezTo>
                    <a:pt x="7" y="8"/>
                    <a:pt x="7" y="8"/>
                    <a:pt x="7" y="8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4" y="11"/>
                    <a:pt x="4" y="11"/>
                    <a:pt x="4" y="11"/>
                  </a:cubicBezTo>
                  <a:lnTo>
                    <a:pt x="6" y="7"/>
                  </a:lnTo>
                  <a:close/>
                  <a:moveTo>
                    <a:pt x="6" y="23"/>
                  </a:moveTo>
                  <a:cubicBezTo>
                    <a:pt x="4" y="19"/>
                    <a:pt x="4" y="19"/>
                    <a:pt x="4" y="19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8" y="22"/>
                    <a:pt x="8" y="22"/>
                    <a:pt x="8" y="22"/>
                  </a:cubicBezTo>
                  <a:lnTo>
                    <a:pt x="6" y="23"/>
                  </a:lnTo>
                  <a:close/>
                  <a:moveTo>
                    <a:pt x="18" y="27"/>
                  </a:moveTo>
                  <a:cubicBezTo>
                    <a:pt x="13" y="27"/>
                    <a:pt x="13" y="27"/>
                    <a:pt x="13" y="27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8" y="25"/>
                    <a:pt x="18" y="25"/>
                    <a:pt x="18" y="25"/>
                  </a:cubicBezTo>
                  <a:lnTo>
                    <a:pt x="18" y="27"/>
                  </a:lnTo>
                  <a:close/>
                  <a:moveTo>
                    <a:pt x="15" y="20"/>
                  </a:moveTo>
                  <a:cubicBezTo>
                    <a:pt x="12" y="20"/>
                    <a:pt x="10" y="17"/>
                    <a:pt x="10" y="14"/>
                  </a:cubicBezTo>
                  <a:cubicBezTo>
                    <a:pt x="10" y="12"/>
                    <a:pt x="12" y="9"/>
                    <a:pt x="15" y="9"/>
                  </a:cubicBezTo>
                  <a:cubicBezTo>
                    <a:pt x="18" y="9"/>
                    <a:pt x="21" y="12"/>
                    <a:pt x="21" y="14"/>
                  </a:cubicBezTo>
                  <a:cubicBezTo>
                    <a:pt x="21" y="17"/>
                    <a:pt x="18" y="20"/>
                    <a:pt x="15" y="20"/>
                  </a:cubicBezTo>
                  <a:close/>
                  <a:moveTo>
                    <a:pt x="24" y="6"/>
                  </a:moveTo>
                  <a:cubicBezTo>
                    <a:pt x="27" y="10"/>
                    <a:pt x="27" y="10"/>
                    <a:pt x="27" y="10"/>
                  </a:cubicBezTo>
                  <a:cubicBezTo>
                    <a:pt x="25" y="11"/>
                    <a:pt x="25" y="11"/>
                    <a:pt x="25" y="11"/>
                  </a:cubicBezTo>
                  <a:cubicBezTo>
                    <a:pt x="23" y="7"/>
                    <a:pt x="23" y="7"/>
                    <a:pt x="23" y="7"/>
                  </a:cubicBezTo>
                  <a:lnTo>
                    <a:pt x="24" y="6"/>
                  </a:lnTo>
                  <a:close/>
                  <a:moveTo>
                    <a:pt x="25" y="22"/>
                  </a:moveTo>
                  <a:cubicBezTo>
                    <a:pt x="23" y="21"/>
                    <a:pt x="23" y="21"/>
                    <a:pt x="23" y="21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7" y="18"/>
                    <a:pt x="27" y="18"/>
                    <a:pt x="27" y="18"/>
                  </a:cubicBezTo>
                  <a:lnTo>
                    <a:pt x="25" y="22"/>
                  </a:lnTo>
                  <a:close/>
                </a:path>
              </a:pathLst>
            </a:custGeom>
            <a:solidFill>
              <a:srgbClr val="DADA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935" name="Freeform 8616"/>
            <p:cNvSpPr>
              <a:spLocks/>
            </p:cNvSpPr>
            <p:nvPr/>
          </p:nvSpPr>
          <p:spPr bwMode="auto">
            <a:xfrm>
              <a:off x="-1687513" y="4241800"/>
              <a:ext cx="14288" cy="14288"/>
            </a:xfrm>
            <a:custGeom>
              <a:avLst/>
              <a:gdLst>
                <a:gd name="T0" fmla="*/ 9 w 9"/>
                <a:gd name="T1" fmla="*/ 0 h 9"/>
                <a:gd name="T2" fmla="*/ 5 w 9"/>
                <a:gd name="T3" fmla="*/ 9 h 9"/>
                <a:gd name="T4" fmla="*/ 0 w 9"/>
                <a:gd name="T5" fmla="*/ 7 h 9"/>
                <a:gd name="T6" fmla="*/ 5 w 9"/>
                <a:gd name="T7" fmla="*/ 0 h 9"/>
                <a:gd name="T8" fmla="*/ 9 w 9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9">
                  <a:moveTo>
                    <a:pt x="9" y="0"/>
                  </a:moveTo>
                  <a:lnTo>
                    <a:pt x="5" y="9"/>
                  </a:lnTo>
                  <a:lnTo>
                    <a:pt x="0" y="7"/>
                  </a:lnTo>
                  <a:lnTo>
                    <a:pt x="5" y="0"/>
                  </a:lnTo>
                  <a:lnTo>
                    <a:pt x="9" y="0"/>
                  </a:lnTo>
                  <a:close/>
                </a:path>
              </a:pathLst>
            </a:custGeom>
            <a:solidFill>
              <a:srgbClr val="5C5C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936" name="Freeform 8617"/>
            <p:cNvSpPr>
              <a:spLocks/>
            </p:cNvSpPr>
            <p:nvPr/>
          </p:nvSpPr>
          <p:spPr bwMode="auto">
            <a:xfrm>
              <a:off x="-1687513" y="4195763"/>
              <a:ext cx="14288" cy="19050"/>
            </a:xfrm>
            <a:custGeom>
              <a:avLst/>
              <a:gdLst>
                <a:gd name="T0" fmla="*/ 9 w 9"/>
                <a:gd name="T1" fmla="*/ 9 h 12"/>
                <a:gd name="T2" fmla="*/ 5 w 9"/>
                <a:gd name="T3" fmla="*/ 12 h 12"/>
                <a:gd name="T4" fmla="*/ 0 w 9"/>
                <a:gd name="T5" fmla="*/ 2 h 12"/>
                <a:gd name="T6" fmla="*/ 2 w 9"/>
                <a:gd name="T7" fmla="*/ 0 h 12"/>
                <a:gd name="T8" fmla="*/ 9 w 9"/>
                <a:gd name="T9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2">
                  <a:moveTo>
                    <a:pt x="9" y="9"/>
                  </a:moveTo>
                  <a:lnTo>
                    <a:pt x="5" y="12"/>
                  </a:lnTo>
                  <a:lnTo>
                    <a:pt x="0" y="2"/>
                  </a:lnTo>
                  <a:lnTo>
                    <a:pt x="2" y="0"/>
                  </a:lnTo>
                  <a:lnTo>
                    <a:pt x="9" y="9"/>
                  </a:lnTo>
                  <a:close/>
                </a:path>
              </a:pathLst>
            </a:custGeom>
            <a:solidFill>
              <a:srgbClr val="5C5C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937" name="Rectangle 8618"/>
            <p:cNvSpPr>
              <a:spLocks noChangeArrowheads="1"/>
            </p:cNvSpPr>
            <p:nvPr/>
          </p:nvSpPr>
          <p:spPr bwMode="auto">
            <a:xfrm>
              <a:off x="-1725613" y="4267200"/>
              <a:ext cx="19050" cy="7938"/>
            </a:xfrm>
            <a:prstGeom prst="rect">
              <a:avLst/>
            </a:prstGeom>
            <a:solidFill>
              <a:srgbClr val="5C5C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938" name="Freeform 8619"/>
            <p:cNvSpPr>
              <a:spLocks/>
            </p:cNvSpPr>
            <p:nvPr/>
          </p:nvSpPr>
          <p:spPr bwMode="auto">
            <a:xfrm>
              <a:off x="-1758950" y="4241800"/>
              <a:ext cx="14288" cy="19050"/>
            </a:xfrm>
            <a:custGeom>
              <a:avLst/>
              <a:gdLst>
                <a:gd name="T0" fmla="*/ 9 w 9"/>
                <a:gd name="T1" fmla="*/ 9 h 12"/>
                <a:gd name="T2" fmla="*/ 5 w 9"/>
                <a:gd name="T3" fmla="*/ 12 h 12"/>
                <a:gd name="T4" fmla="*/ 0 w 9"/>
                <a:gd name="T5" fmla="*/ 2 h 12"/>
                <a:gd name="T6" fmla="*/ 2 w 9"/>
                <a:gd name="T7" fmla="*/ 0 h 12"/>
                <a:gd name="T8" fmla="*/ 9 w 9"/>
                <a:gd name="T9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2">
                  <a:moveTo>
                    <a:pt x="9" y="9"/>
                  </a:moveTo>
                  <a:lnTo>
                    <a:pt x="5" y="12"/>
                  </a:lnTo>
                  <a:lnTo>
                    <a:pt x="0" y="2"/>
                  </a:lnTo>
                  <a:lnTo>
                    <a:pt x="2" y="0"/>
                  </a:lnTo>
                  <a:lnTo>
                    <a:pt x="9" y="9"/>
                  </a:lnTo>
                  <a:close/>
                </a:path>
              </a:pathLst>
            </a:custGeom>
            <a:solidFill>
              <a:srgbClr val="5C5C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939" name="Freeform 8620"/>
            <p:cNvSpPr>
              <a:spLocks/>
            </p:cNvSpPr>
            <p:nvPr/>
          </p:nvSpPr>
          <p:spPr bwMode="auto">
            <a:xfrm>
              <a:off x="-1758950" y="4198938"/>
              <a:ext cx="11113" cy="15875"/>
            </a:xfrm>
            <a:custGeom>
              <a:avLst/>
              <a:gdLst>
                <a:gd name="T0" fmla="*/ 7 w 7"/>
                <a:gd name="T1" fmla="*/ 3 h 10"/>
                <a:gd name="T2" fmla="*/ 2 w 7"/>
                <a:gd name="T3" fmla="*/ 10 h 10"/>
                <a:gd name="T4" fmla="*/ 0 w 7"/>
                <a:gd name="T5" fmla="*/ 10 h 10"/>
                <a:gd name="T6" fmla="*/ 5 w 7"/>
                <a:gd name="T7" fmla="*/ 0 h 10"/>
                <a:gd name="T8" fmla="*/ 7 w 7"/>
                <a:gd name="T9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0">
                  <a:moveTo>
                    <a:pt x="7" y="3"/>
                  </a:moveTo>
                  <a:lnTo>
                    <a:pt x="2" y="10"/>
                  </a:lnTo>
                  <a:lnTo>
                    <a:pt x="0" y="10"/>
                  </a:lnTo>
                  <a:lnTo>
                    <a:pt x="5" y="0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5C5C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940" name="Rectangle 8621"/>
            <p:cNvSpPr>
              <a:spLocks noChangeArrowheads="1"/>
            </p:cNvSpPr>
            <p:nvPr/>
          </p:nvSpPr>
          <p:spPr bwMode="auto">
            <a:xfrm>
              <a:off x="-1725613" y="4179888"/>
              <a:ext cx="15875" cy="7938"/>
            </a:xfrm>
            <a:prstGeom prst="rect">
              <a:avLst/>
            </a:prstGeom>
            <a:solidFill>
              <a:srgbClr val="5C5C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941" name="Oval 8622"/>
            <p:cNvSpPr>
              <a:spLocks noChangeArrowheads="1"/>
            </p:cNvSpPr>
            <p:nvPr/>
          </p:nvSpPr>
          <p:spPr bwMode="auto">
            <a:xfrm>
              <a:off x="-1736725" y="4206875"/>
              <a:ext cx="41275" cy="41275"/>
            </a:xfrm>
            <a:prstGeom prst="ellipse">
              <a:avLst/>
            </a:prstGeom>
            <a:solidFill>
              <a:srgbClr val="5C5C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942" name="Freeform 8623"/>
            <p:cNvSpPr>
              <a:spLocks noEditPoints="1"/>
            </p:cNvSpPr>
            <p:nvPr/>
          </p:nvSpPr>
          <p:spPr bwMode="auto">
            <a:xfrm>
              <a:off x="-725488" y="4130675"/>
              <a:ext cx="195263" cy="195263"/>
            </a:xfrm>
            <a:custGeom>
              <a:avLst/>
              <a:gdLst>
                <a:gd name="T0" fmla="*/ 26 w 52"/>
                <a:gd name="T1" fmla="*/ 0 h 51"/>
                <a:gd name="T2" fmla="*/ 0 w 52"/>
                <a:gd name="T3" fmla="*/ 25 h 51"/>
                <a:gd name="T4" fmla="*/ 26 w 52"/>
                <a:gd name="T5" fmla="*/ 51 h 51"/>
                <a:gd name="T6" fmla="*/ 52 w 52"/>
                <a:gd name="T7" fmla="*/ 25 h 51"/>
                <a:gd name="T8" fmla="*/ 26 w 52"/>
                <a:gd name="T9" fmla="*/ 0 h 51"/>
                <a:gd name="T10" fmla="*/ 26 w 52"/>
                <a:gd name="T11" fmla="*/ 44 h 51"/>
                <a:gd name="T12" fmla="*/ 8 w 52"/>
                <a:gd name="T13" fmla="*/ 25 h 51"/>
                <a:gd name="T14" fmla="*/ 26 w 52"/>
                <a:gd name="T15" fmla="*/ 7 h 51"/>
                <a:gd name="T16" fmla="*/ 45 w 52"/>
                <a:gd name="T17" fmla="*/ 25 h 51"/>
                <a:gd name="T18" fmla="*/ 26 w 52"/>
                <a:gd name="T19" fmla="*/ 44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2" h="51">
                  <a:moveTo>
                    <a:pt x="26" y="0"/>
                  </a:moveTo>
                  <a:cubicBezTo>
                    <a:pt x="12" y="0"/>
                    <a:pt x="0" y="11"/>
                    <a:pt x="0" y="25"/>
                  </a:cubicBezTo>
                  <a:cubicBezTo>
                    <a:pt x="0" y="40"/>
                    <a:pt x="12" y="51"/>
                    <a:pt x="26" y="51"/>
                  </a:cubicBezTo>
                  <a:cubicBezTo>
                    <a:pt x="40" y="51"/>
                    <a:pt x="52" y="40"/>
                    <a:pt x="52" y="25"/>
                  </a:cubicBezTo>
                  <a:cubicBezTo>
                    <a:pt x="52" y="11"/>
                    <a:pt x="40" y="0"/>
                    <a:pt x="26" y="0"/>
                  </a:cubicBezTo>
                  <a:close/>
                  <a:moveTo>
                    <a:pt x="26" y="44"/>
                  </a:moveTo>
                  <a:cubicBezTo>
                    <a:pt x="16" y="44"/>
                    <a:pt x="8" y="36"/>
                    <a:pt x="8" y="25"/>
                  </a:cubicBezTo>
                  <a:cubicBezTo>
                    <a:pt x="8" y="15"/>
                    <a:pt x="16" y="7"/>
                    <a:pt x="26" y="7"/>
                  </a:cubicBezTo>
                  <a:cubicBezTo>
                    <a:pt x="36" y="7"/>
                    <a:pt x="45" y="15"/>
                    <a:pt x="45" y="25"/>
                  </a:cubicBezTo>
                  <a:cubicBezTo>
                    <a:pt x="45" y="36"/>
                    <a:pt x="36" y="44"/>
                    <a:pt x="26" y="44"/>
                  </a:cubicBezTo>
                  <a:close/>
                </a:path>
              </a:pathLst>
            </a:custGeom>
            <a:solidFill>
              <a:srgbClr val="3434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943" name="Freeform 8624"/>
            <p:cNvSpPr>
              <a:spLocks noEditPoints="1"/>
            </p:cNvSpPr>
            <p:nvPr/>
          </p:nvSpPr>
          <p:spPr bwMode="auto">
            <a:xfrm>
              <a:off x="-695325" y="4157663"/>
              <a:ext cx="139700" cy="141288"/>
            </a:xfrm>
            <a:custGeom>
              <a:avLst/>
              <a:gdLst>
                <a:gd name="T0" fmla="*/ 18 w 37"/>
                <a:gd name="T1" fmla="*/ 0 h 37"/>
                <a:gd name="T2" fmla="*/ 0 w 37"/>
                <a:gd name="T3" fmla="*/ 18 h 37"/>
                <a:gd name="T4" fmla="*/ 18 w 37"/>
                <a:gd name="T5" fmla="*/ 37 h 37"/>
                <a:gd name="T6" fmla="*/ 37 w 37"/>
                <a:gd name="T7" fmla="*/ 18 h 37"/>
                <a:gd name="T8" fmla="*/ 18 w 37"/>
                <a:gd name="T9" fmla="*/ 0 h 37"/>
                <a:gd name="T10" fmla="*/ 18 w 37"/>
                <a:gd name="T11" fmla="*/ 33 h 37"/>
                <a:gd name="T12" fmla="*/ 3 w 37"/>
                <a:gd name="T13" fmla="*/ 18 h 37"/>
                <a:gd name="T14" fmla="*/ 18 w 37"/>
                <a:gd name="T15" fmla="*/ 4 h 37"/>
                <a:gd name="T16" fmla="*/ 33 w 37"/>
                <a:gd name="T17" fmla="*/ 18 h 37"/>
                <a:gd name="T18" fmla="*/ 18 w 37"/>
                <a:gd name="T19" fmla="*/ 33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" h="37">
                  <a:moveTo>
                    <a:pt x="18" y="0"/>
                  </a:moveTo>
                  <a:cubicBezTo>
                    <a:pt x="8" y="0"/>
                    <a:pt x="0" y="8"/>
                    <a:pt x="0" y="18"/>
                  </a:cubicBezTo>
                  <a:cubicBezTo>
                    <a:pt x="0" y="29"/>
                    <a:pt x="8" y="37"/>
                    <a:pt x="18" y="37"/>
                  </a:cubicBezTo>
                  <a:cubicBezTo>
                    <a:pt x="28" y="37"/>
                    <a:pt x="37" y="29"/>
                    <a:pt x="37" y="18"/>
                  </a:cubicBezTo>
                  <a:cubicBezTo>
                    <a:pt x="37" y="8"/>
                    <a:pt x="28" y="0"/>
                    <a:pt x="18" y="0"/>
                  </a:cubicBezTo>
                  <a:close/>
                  <a:moveTo>
                    <a:pt x="18" y="33"/>
                  </a:moveTo>
                  <a:cubicBezTo>
                    <a:pt x="10" y="33"/>
                    <a:pt x="3" y="27"/>
                    <a:pt x="3" y="18"/>
                  </a:cubicBezTo>
                  <a:cubicBezTo>
                    <a:pt x="3" y="10"/>
                    <a:pt x="10" y="4"/>
                    <a:pt x="18" y="4"/>
                  </a:cubicBezTo>
                  <a:cubicBezTo>
                    <a:pt x="26" y="4"/>
                    <a:pt x="33" y="10"/>
                    <a:pt x="33" y="18"/>
                  </a:cubicBezTo>
                  <a:cubicBezTo>
                    <a:pt x="33" y="27"/>
                    <a:pt x="26" y="33"/>
                    <a:pt x="18" y="33"/>
                  </a:cubicBezTo>
                  <a:close/>
                </a:path>
              </a:pathLst>
            </a:custGeom>
            <a:solidFill>
              <a:srgbClr val="5C5C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944" name="Freeform 8625"/>
            <p:cNvSpPr>
              <a:spLocks noEditPoints="1"/>
            </p:cNvSpPr>
            <p:nvPr/>
          </p:nvSpPr>
          <p:spPr bwMode="auto">
            <a:xfrm>
              <a:off x="-684213" y="4171950"/>
              <a:ext cx="112713" cy="111125"/>
            </a:xfrm>
            <a:custGeom>
              <a:avLst/>
              <a:gdLst>
                <a:gd name="T0" fmla="*/ 15 w 30"/>
                <a:gd name="T1" fmla="*/ 0 h 29"/>
                <a:gd name="T2" fmla="*/ 0 w 30"/>
                <a:gd name="T3" fmla="*/ 14 h 29"/>
                <a:gd name="T4" fmla="*/ 15 w 30"/>
                <a:gd name="T5" fmla="*/ 29 h 29"/>
                <a:gd name="T6" fmla="*/ 30 w 30"/>
                <a:gd name="T7" fmla="*/ 14 h 29"/>
                <a:gd name="T8" fmla="*/ 15 w 30"/>
                <a:gd name="T9" fmla="*/ 0 h 29"/>
                <a:gd name="T10" fmla="*/ 13 w 30"/>
                <a:gd name="T11" fmla="*/ 2 h 29"/>
                <a:gd name="T12" fmla="*/ 17 w 30"/>
                <a:gd name="T13" fmla="*/ 2 h 29"/>
                <a:gd name="T14" fmla="*/ 17 w 30"/>
                <a:gd name="T15" fmla="*/ 4 h 29"/>
                <a:gd name="T16" fmla="*/ 13 w 30"/>
                <a:gd name="T17" fmla="*/ 4 h 29"/>
                <a:gd name="T18" fmla="*/ 13 w 30"/>
                <a:gd name="T19" fmla="*/ 2 h 29"/>
                <a:gd name="T20" fmla="*/ 6 w 30"/>
                <a:gd name="T21" fmla="*/ 7 h 29"/>
                <a:gd name="T22" fmla="*/ 7 w 30"/>
                <a:gd name="T23" fmla="*/ 8 h 29"/>
                <a:gd name="T24" fmla="*/ 5 w 30"/>
                <a:gd name="T25" fmla="*/ 11 h 29"/>
                <a:gd name="T26" fmla="*/ 4 w 30"/>
                <a:gd name="T27" fmla="*/ 11 h 29"/>
                <a:gd name="T28" fmla="*/ 6 w 30"/>
                <a:gd name="T29" fmla="*/ 7 h 29"/>
                <a:gd name="T30" fmla="*/ 6 w 30"/>
                <a:gd name="T31" fmla="*/ 23 h 29"/>
                <a:gd name="T32" fmla="*/ 4 w 30"/>
                <a:gd name="T33" fmla="*/ 19 h 29"/>
                <a:gd name="T34" fmla="*/ 5 w 30"/>
                <a:gd name="T35" fmla="*/ 18 h 29"/>
                <a:gd name="T36" fmla="*/ 7 w 30"/>
                <a:gd name="T37" fmla="*/ 22 h 29"/>
                <a:gd name="T38" fmla="*/ 6 w 30"/>
                <a:gd name="T39" fmla="*/ 23 h 29"/>
                <a:gd name="T40" fmla="*/ 18 w 30"/>
                <a:gd name="T41" fmla="*/ 27 h 29"/>
                <a:gd name="T42" fmla="*/ 13 w 30"/>
                <a:gd name="T43" fmla="*/ 27 h 29"/>
                <a:gd name="T44" fmla="*/ 13 w 30"/>
                <a:gd name="T45" fmla="*/ 25 h 29"/>
                <a:gd name="T46" fmla="*/ 18 w 30"/>
                <a:gd name="T47" fmla="*/ 25 h 29"/>
                <a:gd name="T48" fmla="*/ 18 w 30"/>
                <a:gd name="T49" fmla="*/ 27 h 29"/>
                <a:gd name="T50" fmla="*/ 15 w 30"/>
                <a:gd name="T51" fmla="*/ 20 h 29"/>
                <a:gd name="T52" fmla="*/ 10 w 30"/>
                <a:gd name="T53" fmla="*/ 14 h 29"/>
                <a:gd name="T54" fmla="*/ 15 w 30"/>
                <a:gd name="T55" fmla="*/ 9 h 29"/>
                <a:gd name="T56" fmla="*/ 21 w 30"/>
                <a:gd name="T57" fmla="*/ 14 h 29"/>
                <a:gd name="T58" fmla="*/ 15 w 30"/>
                <a:gd name="T59" fmla="*/ 20 h 29"/>
                <a:gd name="T60" fmla="*/ 24 w 30"/>
                <a:gd name="T61" fmla="*/ 6 h 29"/>
                <a:gd name="T62" fmla="*/ 26 w 30"/>
                <a:gd name="T63" fmla="*/ 10 h 29"/>
                <a:gd name="T64" fmla="*/ 25 w 30"/>
                <a:gd name="T65" fmla="*/ 11 h 29"/>
                <a:gd name="T66" fmla="*/ 23 w 30"/>
                <a:gd name="T67" fmla="*/ 7 h 29"/>
                <a:gd name="T68" fmla="*/ 24 w 30"/>
                <a:gd name="T69" fmla="*/ 6 h 29"/>
                <a:gd name="T70" fmla="*/ 25 w 30"/>
                <a:gd name="T71" fmla="*/ 22 h 29"/>
                <a:gd name="T72" fmla="*/ 23 w 30"/>
                <a:gd name="T73" fmla="*/ 21 h 29"/>
                <a:gd name="T74" fmla="*/ 25 w 30"/>
                <a:gd name="T75" fmla="*/ 18 h 29"/>
                <a:gd name="T76" fmla="*/ 27 w 30"/>
                <a:gd name="T77" fmla="*/ 18 h 29"/>
                <a:gd name="T78" fmla="*/ 25 w 30"/>
                <a:gd name="T79" fmla="*/ 22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0" h="29">
                  <a:moveTo>
                    <a:pt x="15" y="0"/>
                  </a:moveTo>
                  <a:cubicBezTo>
                    <a:pt x="7" y="0"/>
                    <a:pt x="0" y="6"/>
                    <a:pt x="0" y="14"/>
                  </a:cubicBezTo>
                  <a:cubicBezTo>
                    <a:pt x="0" y="23"/>
                    <a:pt x="7" y="29"/>
                    <a:pt x="15" y="29"/>
                  </a:cubicBezTo>
                  <a:cubicBezTo>
                    <a:pt x="23" y="29"/>
                    <a:pt x="30" y="23"/>
                    <a:pt x="30" y="14"/>
                  </a:cubicBezTo>
                  <a:cubicBezTo>
                    <a:pt x="30" y="6"/>
                    <a:pt x="23" y="0"/>
                    <a:pt x="15" y="0"/>
                  </a:cubicBezTo>
                  <a:close/>
                  <a:moveTo>
                    <a:pt x="13" y="2"/>
                  </a:moveTo>
                  <a:cubicBezTo>
                    <a:pt x="17" y="2"/>
                    <a:pt x="17" y="2"/>
                    <a:pt x="17" y="2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3" y="4"/>
                    <a:pt x="13" y="4"/>
                    <a:pt x="13" y="4"/>
                  </a:cubicBezTo>
                  <a:lnTo>
                    <a:pt x="13" y="2"/>
                  </a:lnTo>
                  <a:close/>
                  <a:moveTo>
                    <a:pt x="6" y="7"/>
                  </a:moveTo>
                  <a:cubicBezTo>
                    <a:pt x="7" y="8"/>
                    <a:pt x="7" y="8"/>
                    <a:pt x="7" y="8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4" y="11"/>
                    <a:pt x="4" y="11"/>
                    <a:pt x="4" y="11"/>
                  </a:cubicBezTo>
                  <a:lnTo>
                    <a:pt x="6" y="7"/>
                  </a:lnTo>
                  <a:close/>
                  <a:moveTo>
                    <a:pt x="6" y="23"/>
                  </a:moveTo>
                  <a:cubicBezTo>
                    <a:pt x="4" y="19"/>
                    <a:pt x="4" y="19"/>
                    <a:pt x="4" y="19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7" y="22"/>
                    <a:pt x="7" y="22"/>
                    <a:pt x="7" y="22"/>
                  </a:cubicBezTo>
                  <a:lnTo>
                    <a:pt x="6" y="23"/>
                  </a:lnTo>
                  <a:close/>
                  <a:moveTo>
                    <a:pt x="18" y="27"/>
                  </a:moveTo>
                  <a:cubicBezTo>
                    <a:pt x="13" y="27"/>
                    <a:pt x="13" y="27"/>
                    <a:pt x="13" y="27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8" y="25"/>
                    <a:pt x="18" y="25"/>
                    <a:pt x="18" y="25"/>
                  </a:cubicBezTo>
                  <a:lnTo>
                    <a:pt x="18" y="27"/>
                  </a:lnTo>
                  <a:close/>
                  <a:moveTo>
                    <a:pt x="15" y="20"/>
                  </a:moveTo>
                  <a:cubicBezTo>
                    <a:pt x="12" y="20"/>
                    <a:pt x="10" y="17"/>
                    <a:pt x="10" y="14"/>
                  </a:cubicBezTo>
                  <a:cubicBezTo>
                    <a:pt x="10" y="12"/>
                    <a:pt x="12" y="9"/>
                    <a:pt x="15" y="9"/>
                  </a:cubicBezTo>
                  <a:cubicBezTo>
                    <a:pt x="18" y="9"/>
                    <a:pt x="21" y="12"/>
                    <a:pt x="21" y="14"/>
                  </a:cubicBezTo>
                  <a:cubicBezTo>
                    <a:pt x="21" y="17"/>
                    <a:pt x="18" y="20"/>
                    <a:pt x="15" y="20"/>
                  </a:cubicBezTo>
                  <a:close/>
                  <a:moveTo>
                    <a:pt x="24" y="6"/>
                  </a:moveTo>
                  <a:cubicBezTo>
                    <a:pt x="26" y="10"/>
                    <a:pt x="26" y="10"/>
                    <a:pt x="26" y="10"/>
                  </a:cubicBezTo>
                  <a:cubicBezTo>
                    <a:pt x="25" y="11"/>
                    <a:pt x="25" y="11"/>
                    <a:pt x="25" y="11"/>
                  </a:cubicBezTo>
                  <a:cubicBezTo>
                    <a:pt x="23" y="7"/>
                    <a:pt x="23" y="7"/>
                    <a:pt x="23" y="7"/>
                  </a:cubicBezTo>
                  <a:lnTo>
                    <a:pt x="24" y="6"/>
                  </a:lnTo>
                  <a:close/>
                  <a:moveTo>
                    <a:pt x="25" y="22"/>
                  </a:moveTo>
                  <a:cubicBezTo>
                    <a:pt x="23" y="21"/>
                    <a:pt x="23" y="21"/>
                    <a:pt x="23" y="21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7" y="18"/>
                    <a:pt x="27" y="18"/>
                    <a:pt x="27" y="18"/>
                  </a:cubicBezTo>
                  <a:lnTo>
                    <a:pt x="25" y="22"/>
                  </a:lnTo>
                  <a:close/>
                </a:path>
              </a:pathLst>
            </a:custGeom>
            <a:solidFill>
              <a:srgbClr val="DADA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945" name="Freeform 8626"/>
            <p:cNvSpPr>
              <a:spLocks/>
            </p:cNvSpPr>
            <p:nvPr/>
          </p:nvSpPr>
          <p:spPr bwMode="auto">
            <a:xfrm>
              <a:off x="-598488" y="4241800"/>
              <a:ext cx="15875" cy="14288"/>
            </a:xfrm>
            <a:custGeom>
              <a:avLst/>
              <a:gdLst>
                <a:gd name="T0" fmla="*/ 10 w 10"/>
                <a:gd name="T1" fmla="*/ 0 h 9"/>
                <a:gd name="T2" fmla="*/ 5 w 10"/>
                <a:gd name="T3" fmla="*/ 9 h 9"/>
                <a:gd name="T4" fmla="*/ 0 w 10"/>
                <a:gd name="T5" fmla="*/ 7 h 9"/>
                <a:gd name="T6" fmla="*/ 5 w 10"/>
                <a:gd name="T7" fmla="*/ 0 h 9"/>
                <a:gd name="T8" fmla="*/ 10 w 10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9">
                  <a:moveTo>
                    <a:pt x="10" y="0"/>
                  </a:moveTo>
                  <a:lnTo>
                    <a:pt x="5" y="9"/>
                  </a:lnTo>
                  <a:lnTo>
                    <a:pt x="0" y="7"/>
                  </a:lnTo>
                  <a:lnTo>
                    <a:pt x="5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5C5C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946" name="Freeform 8627"/>
            <p:cNvSpPr>
              <a:spLocks/>
            </p:cNvSpPr>
            <p:nvPr/>
          </p:nvSpPr>
          <p:spPr bwMode="auto">
            <a:xfrm>
              <a:off x="-598488" y="4195763"/>
              <a:ext cx="12700" cy="19050"/>
            </a:xfrm>
            <a:custGeom>
              <a:avLst/>
              <a:gdLst>
                <a:gd name="T0" fmla="*/ 8 w 8"/>
                <a:gd name="T1" fmla="*/ 9 h 12"/>
                <a:gd name="T2" fmla="*/ 5 w 8"/>
                <a:gd name="T3" fmla="*/ 12 h 12"/>
                <a:gd name="T4" fmla="*/ 0 w 8"/>
                <a:gd name="T5" fmla="*/ 2 h 12"/>
                <a:gd name="T6" fmla="*/ 3 w 8"/>
                <a:gd name="T7" fmla="*/ 0 h 12"/>
                <a:gd name="T8" fmla="*/ 8 w 8"/>
                <a:gd name="T9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2">
                  <a:moveTo>
                    <a:pt x="8" y="9"/>
                  </a:moveTo>
                  <a:lnTo>
                    <a:pt x="5" y="12"/>
                  </a:lnTo>
                  <a:lnTo>
                    <a:pt x="0" y="2"/>
                  </a:lnTo>
                  <a:lnTo>
                    <a:pt x="3" y="0"/>
                  </a:lnTo>
                  <a:lnTo>
                    <a:pt x="8" y="9"/>
                  </a:lnTo>
                  <a:close/>
                </a:path>
              </a:pathLst>
            </a:custGeom>
            <a:solidFill>
              <a:srgbClr val="5C5C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947" name="Rectangle 8628"/>
            <p:cNvSpPr>
              <a:spLocks noChangeArrowheads="1"/>
            </p:cNvSpPr>
            <p:nvPr/>
          </p:nvSpPr>
          <p:spPr bwMode="auto">
            <a:xfrm>
              <a:off x="-635000" y="4267200"/>
              <a:ext cx="19050" cy="7938"/>
            </a:xfrm>
            <a:prstGeom prst="rect">
              <a:avLst/>
            </a:prstGeom>
            <a:solidFill>
              <a:srgbClr val="5C5C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948" name="Freeform 8629"/>
            <p:cNvSpPr>
              <a:spLocks/>
            </p:cNvSpPr>
            <p:nvPr/>
          </p:nvSpPr>
          <p:spPr bwMode="auto">
            <a:xfrm>
              <a:off x="-669925" y="4241800"/>
              <a:ext cx="11113" cy="19050"/>
            </a:xfrm>
            <a:custGeom>
              <a:avLst/>
              <a:gdLst>
                <a:gd name="T0" fmla="*/ 7 w 7"/>
                <a:gd name="T1" fmla="*/ 9 h 12"/>
                <a:gd name="T2" fmla="*/ 5 w 7"/>
                <a:gd name="T3" fmla="*/ 12 h 12"/>
                <a:gd name="T4" fmla="*/ 0 w 7"/>
                <a:gd name="T5" fmla="*/ 2 h 12"/>
                <a:gd name="T6" fmla="*/ 3 w 7"/>
                <a:gd name="T7" fmla="*/ 0 h 12"/>
                <a:gd name="T8" fmla="*/ 7 w 7"/>
                <a:gd name="T9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2">
                  <a:moveTo>
                    <a:pt x="7" y="9"/>
                  </a:moveTo>
                  <a:lnTo>
                    <a:pt x="5" y="12"/>
                  </a:lnTo>
                  <a:lnTo>
                    <a:pt x="0" y="2"/>
                  </a:lnTo>
                  <a:lnTo>
                    <a:pt x="3" y="0"/>
                  </a:lnTo>
                  <a:lnTo>
                    <a:pt x="7" y="9"/>
                  </a:lnTo>
                  <a:close/>
                </a:path>
              </a:pathLst>
            </a:custGeom>
            <a:solidFill>
              <a:srgbClr val="5C5C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949" name="Freeform 8630"/>
            <p:cNvSpPr>
              <a:spLocks/>
            </p:cNvSpPr>
            <p:nvPr/>
          </p:nvSpPr>
          <p:spPr bwMode="auto">
            <a:xfrm>
              <a:off x="-669925" y="4198938"/>
              <a:ext cx="11113" cy="15875"/>
            </a:xfrm>
            <a:custGeom>
              <a:avLst/>
              <a:gdLst>
                <a:gd name="T0" fmla="*/ 7 w 7"/>
                <a:gd name="T1" fmla="*/ 3 h 10"/>
                <a:gd name="T2" fmla="*/ 3 w 7"/>
                <a:gd name="T3" fmla="*/ 10 h 10"/>
                <a:gd name="T4" fmla="*/ 0 w 7"/>
                <a:gd name="T5" fmla="*/ 10 h 10"/>
                <a:gd name="T6" fmla="*/ 5 w 7"/>
                <a:gd name="T7" fmla="*/ 0 h 10"/>
                <a:gd name="T8" fmla="*/ 7 w 7"/>
                <a:gd name="T9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0">
                  <a:moveTo>
                    <a:pt x="7" y="3"/>
                  </a:moveTo>
                  <a:lnTo>
                    <a:pt x="3" y="10"/>
                  </a:lnTo>
                  <a:lnTo>
                    <a:pt x="0" y="10"/>
                  </a:lnTo>
                  <a:lnTo>
                    <a:pt x="5" y="0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5C5C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950" name="Rectangle 8631"/>
            <p:cNvSpPr>
              <a:spLocks noChangeArrowheads="1"/>
            </p:cNvSpPr>
            <p:nvPr/>
          </p:nvSpPr>
          <p:spPr bwMode="auto">
            <a:xfrm>
              <a:off x="-635000" y="4179888"/>
              <a:ext cx="14288" cy="7938"/>
            </a:xfrm>
            <a:prstGeom prst="rect">
              <a:avLst/>
            </a:prstGeom>
            <a:solidFill>
              <a:srgbClr val="5C5C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951" name="Oval 8632"/>
            <p:cNvSpPr>
              <a:spLocks noChangeArrowheads="1"/>
            </p:cNvSpPr>
            <p:nvPr/>
          </p:nvSpPr>
          <p:spPr bwMode="auto">
            <a:xfrm>
              <a:off x="-646113" y="4206875"/>
              <a:ext cx="41275" cy="41275"/>
            </a:xfrm>
            <a:prstGeom prst="ellipse">
              <a:avLst/>
            </a:prstGeom>
            <a:solidFill>
              <a:srgbClr val="5C5C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952" name="Rectangle 8633"/>
            <p:cNvSpPr>
              <a:spLocks noChangeArrowheads="1"/>
            </p:cNvSpPr>
            <p:nvPr/>
          </p:nvSpPr>
          <p:spPr bwMode="auto">
            <a:xfrm>
              <a:off x="-1468438" y="4171950"/>
              <a:ext cx="6350" cy="119063"/>
            </a:xfrm>
            <a:prstGeom prst="rect">
              <a:avLst/>
            </a:prstGeom>
            <a:solidFill>
              <a:srgbClr val="AD50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953" name="Rectangle 8634"/>
            <p:cNvSpPr>
              <a:spLocks noChangeArrowheads="1"/>
            </p:cNvSpPr>
            <p:nvPr/>
          </p:nvSpPr>
          <p:spPr bwMode="auto">
            <a:xfrm>
              <a:off x="-1023938" y="4171950"/>
              <a:ext cx="7938" cy="119063"/>
            </a:xfrm>
            <a:prstGeom prst="rect">
              <a:avLst/>
            </a:prstGeom>
            <a:solidFill>
              <a:srgbClr val="AD50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954" name="Rectangle 8635"/>
            <p:cNvSpPr>
              <a:spLocks noChangeArrowheads="1"/>
            </p:cNvSpPr>
            <p:nvPr/>
          </p:nvSpPr>
          <p:spPr bwMode="auto">
            <a:xfrm>
              <a:off x="-371475" y="4171950"/>
              <a:ext cx="7938" cy="114300"/>
            </a:xfrm>
            <a:prstGeom prst="rect">
              <a:avLst/>
            </a:prstGeom>
            <a:solidFill>
              <a:srgbClr val="AD50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pic>
        <p:nvPicPr>
          <p:cNvPr id="10956" name="Picture 1095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577692" y="5796807"/>
            <a:ext cx="432834" cy="204394"/>
          </a:xfrm>
          <a:prstGeom prst="rect">
            <a:avLst/>
          </a:prstGeom>
        </p:spPr>
      </p:pic>
      <p:sp>
        <p:nvSpPr>
          <p:cNvPr id="11052" name="AutoShape 8637"/>
          <p:cNvSpPr>
            <a:spLocks noChangeAspect="1" noChangeArrowheads="1" noTextEdit="1"/>
          </p:cNvSpPr>
          <p:nvPr/>
        </p:nvSpPr>
        <p:spPr bwMode="auto">
          <a:xfrm>
            <a:off x="5865813" y="896938"/>
            <a:ext cx="1317625" cy="290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11148" name="Group 11147"/>
          <p:cNvGrpSpPr/>
          <p:nvPr/>
        </p:nvGrpSpPr>
        <p:grpSpPr>
          <a:xfrm rot="20497153">
            <a:off x="5307305" y="2302363"/>
            <a:ext cx="644292" cy="218315"/>
            <a:chOff x="6607176" y="990600"/>
            <a:chExt cx="576263" cy="195263"/>
          </a:xfrm>
        </p:grpSpPr>
        <p:sp>
          <p:nvSpPr>
            <p:cNvPr id="11091" name="Freeform 8677"/>
            <p:cNvSpPr>
              <a:spLocks/>
            </p:cNvSpPr>
            <p:nvPr/>
          </p:nvSpPr>
          <p:spPr bwMode="auto">
            <a:xfrm>
              <a:off x="6607176" y="1000125"/>
              <a:ext cx="576263" cy="158750"/>
            </a:xfrm>
            <a:custGeom>
              <a:avLst/>
              <a:gdLst>
                <a:gd name="T0" fmla="*/ 18 w 483"/>
                <a:gd name="T1" fmla="*/ 125 h 131"/>
                <a:gd name="T2" fmla="*/ 63 w 483"/>
                <a:gd name="T3" fmla="*/ 131 h 131"/>
                <a:gd name="T4" fmla="*/ 437 w 483"/>
                <a:gd name="T5" fmla="*/ 131 h 131"/>
                <a:gd name="T6" fmla="*/ 472 w 483"/>
                <a:gd name="T7" fmla="*/ 129 h 131"/>
                <a:gd name="T8" fmla="*/ 483 w 483"/>
                <a:gd name="T9" fmla="*/ 119 h 131"/>
                <a:gd name="T10" fmla="*/ 483 w 483"/>
                <a:gd name="T11" fmla="*/ 118 h 131"/>
                <a:gd name="T12" fmla="*/ 483 w 483"/>
                <a:gd name="T13" fmla="*/ 104 h 131"/>
                <a:gd name="T14" fmla="*/ 483 w 483"/>
                <a:gd name="T15" fmla="*/ 94 h 131"/>
                <a:gd name="T16" fmla="*/ 456 w 483"/>
                <a:gd name="T17" fmla="*/ 63 h 131"/>
                <a:gd name="T18" fmla="*/ 371 w 483"/>
                <a:gd name="T19" fmla="*/ 47 h 131"/>
                <a:gd name="T20" fmla="*/ 360 w 483"/>
                <a:gd name="T21" fmla="*/ 42 h 131"/>
                <a:gd name="T22" fmla="*/ 263 w 483"/>
                <a:gd name="T23" fmla="*/ 0 h 131"/>
                <a:gd name="T24" fmla="*/ 57 w 483"/>
                <a:gd name="T25" fmla="*/ 0 h 131"/>
                <a:gd name="T26" fmla="*/ 45 w 483"/>
                <a:gd name="T27" fmla="*/ 8 h 131"/>
                <a:gd name="T28" fmla="*/ 14 w 483"/>
                <a:gd name="T29" fmla="*/ 44 h 131"/>
                <a:gd name="T30" fmla="*/ 9 w 483"/>
                <a:gd name="T31" fmla="*/ 56 h 131"/>
                <a:gd name="T32" fmla="*/ 9 w 483"/>
                <a:gd name="T33" fmla="*/ 76 h 131"/>
                <a:gd name="T34" fmla="*/ 5 w 483"/>
                <a:gd name="T35" fmla="*/ 86 h 131"/>
                <a:gd name="T36" fmla="*/ 0 w 483"/>
                <a:gd name="T37" fmla="*/ 111 h 131"/>
                <a:gd name="T38" fmla="*/ 18 w 483"/>
                <a:gd name="T39" fmla="*/ 125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83" h="131">
                  <a:moveTo>
                    <a:pt x="18" y="125"/>
                  </a:moveTo>
                  <a:cubicBezTo>
                    <a:pt x="18" y="125"/>
                    <a:pt x="60" y="131"/>
                    <a:pt x="63" y="131"/>
                  </a:cubicBezTo>
                  <a:cubicBezTo>
                    <a:pt x="437" y="131"/>
                    <a:pt x="437" y="131"/>
                    <a:pt x="437" y="131"/>
                  </a:cubicBezTo>
                  <a:cubicBezTo>
                    <a:pt x="437" y="131"/>
                    <a:pt x="463" y="130"/>
                    <a:pt x="472" y="129"/>
                  </a:cubicBezTo>
                  <a:cubicBezTo>
                    <a:pt x="479" y="127"/>
                    <a:pt x="483" y="122"/>
                    <a:pt x="483" y="119"/>
                  </a:cubicBezTo>
                  <a:cubicBezTo>
                    <a:pt x="483" y="119"/>
                    <a:pt x="483" y="118"/>
                    <a:pt x="483" y="118"/>
                  </a:cubicBezTo>
                  <a:cubicBezTo>
                    <a:pt x="483" y="117"/>
                    <a:pt x="483" y="110"/>
                    <a:pt x="483" y="104"/>
                  </a:cubicBezTo>
                  <a:cubicBezTo>
                    <a:pt x="483" y="99"/>
                    <a:pt x="483" y="94"/>
                    <a:pt x="483" y="94"/>
                  </a:cubicBezTo>
                  <a:cubicBezTo>
                    <a:pt x="483" y="94"/>
                    <a:pt x="476" y="67"/>
                    <a:pt x="456" y="63"/>
                  </a:cubicBezTo>
                  <a:cubicBezTo>
                    <a:pt x="437" y="58"/>
                    <a:pt x="388" y="47"/>
                    <a:pt x="371" y="47"/>
                  </a:cubicBezTo>
                  <a:cubicBezTo>
                    <a:pt x="371" y="47"/>
                    <a:pt x="369" y="46"/>
                    <a:pt x="360" y="42"/>
                  </a:cubicBezTo>
                  <a:cubicBezTo>
                    <a:pt x="350" y="37"/>
                    <a:pt x="292" y="0"/>
                    <a:pt x="263" y="0"/>
                  </a:cubicBezTo>
                  <a:cubicBezTo>
                    <a:pt x="235" y="0"/>
                    <a:pt x="57" y="0"/>
                    <a:pt x="57" y="0"/>
                  </a:cubicBezTo>
                  <a:cubicBezTo>
                    <a:pt x="57" y="0"/>
                    <a:pt x="50" y="2"/>
                    <a:pt x="45" y="8"/>
                  </a:cubicBezTo>
                  <a:cubicBezTo>
                    <a:pt x="40" y="14"/>
                    <a:pt x="14" y="44"/>
                    <a:pt x="14" y="44"/>
                  </a:cubicBezTo>
                  <a:cubicBezTo>
                    <a:pt x="14" y="44"/>
                    <a:pt x="9" y="52"/>
                    <a:pt x="9" y="56"/>
                  </a:cubicBezTo>
                  <a:cubicBezTo>
                    <a:pt x="8" y="60"/>
                    <a:pt x="9" y="76"/>
                    <a:pt x="9" y="76"/>
                  </a:cubicBezTo>
                  <a:cubicBezTo>
                    <a:pt x="9" y="76"/>
                    <a:pt x="8" y="82"/>
                    <a:pt x="5" y="86"/>
                  </a:cubicBezTo>
                  <a:cubicBezTo>
                    <a:pt x="2" y="90"/>
                    <a:pt x="1" y="103"/>
                    <a:pt x="0" y="111"/>
                  </a:cubicBezTo>
                  <a:cubicBezTo>
                    <a:pt x="0" y="119"/>
                    <a:pt x="10" y="122"/>
                    <a:pt x="18" y="125"/>
                  </a:cubicBezTo>
                  <a:close/>
                </a:path>
              </a:pathLst>
            </a:custGeom>
            <a:solidFill>
              <a:srgbClr val="6DA6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092" name="Freeform 8678"/>
            <p:cNvSpPr>
              <a:spLocks/>
            </p:cNvSpPr>
            <p:nvPr/>
          </p:nvSpPr>
          <p:spPr bwMode="auto">
            <a:xfrm>
              <a:off x="6865938" y="1009650"/>
              <a:ext cx="157163" cy="57150"/>
            </a:xfrm>
            <a:custGeom>
              <a:avLst/>
              <a:gdLst>
                <a:gd name="T0" fmla="*/ 0 w 132"/>
                <a:gd name="T1" fmla="*/ 0 h 48"/>
                <a:gd name="T2" fmla="*/ 10 w 132"/>
                <a:gd name="T3" fmla="*/ 48 h 48"/>
                <a:gd name="T4" fmla="*/ 132 w 132"/>
                <a:gd name="T5" fmla="*/ 48 h 48"/>
                <a:gd name="T6" fmla="*/ 36 w 132"/>
                <a:gd name="T7" fmla="*/ 0 h 48"/>
                <a:gd name="T8" fmla="*/ 0 w 132"/>
                <a:gd name="T9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2" h="48">
                  <a:moveTo>
                    <a:pt x="0" y="0"/>
                  </a:moveTo>
                  <a:cubicBezTo>
                    <a:pt x="10" y="48"/>
                    <a:pt x="10" y="48"/>
                    <a:pt x="10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96" y="3"/>
                    <a:pt x="36" y="0"/>
                    <a:pt x="3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BCD2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093" name="Freeform 8679"/>
            <p:cNvSpPr>
              <a:spLocks noEditPoints="1"/>
            </p:cNvSpPr>
            <p:nvPr/>
          </p:nvSpPr>
          <p:spPr bwMode="auto">
            <a:xfrm>
              <a:off x="6864351" y="1008063"/>
              <a:ext cx="161925" cy="60325"/>
            </a:xfrm>
            <a:custGeom>
              <a:avLst/>
              <a:gdLst>
                <a:gd name="T0" fmla="*/ 10 w 136"/>
                <a:gd name="T1" fmla="*/ 50 h 50"/>
                <a:gd name="T2" fmla="*/ 136 w 136"/>
                <a:gd name="T3" fmla="*/ 50 h 50"/>
                <a:gd name="T4" fmla="*/ 134 w 136"/>
                <a:gd name="T5" fmla="*/ 49 h 50"/>
                <a:gd name="T6" fmla="*/ 37 w 136"/>
                <a:gd name="T7" fmla="*/ 0 h 50"/>
                <a:gd name="T8" fmla="*/ 0 w 136"/>
                <a:gd name="T9" fmla="*/ 0 h 50"/>
                <a:gd name="T10" fmla="*/ 10 w 136"/>
                <a:gd name="T11" fmla="*/ 50 h 50"/>
                <a:gd name="T12" fmla="*/ 131 w 136"/>
                <a:gd name="T13" fmla="*/ 48 h 50"/>
                <a:gd name="T14" fmla="*/ 12 w 136"/>
                <a:gd name="T15" fmla="*/ 48 h 50"/>
                <a:gd name="T16" fmla="*/ 2 w 136"/>
                <a:gd name="T17" fmla="*/ 2 h 50"/>
                <a:gd name="T18" fmla="*/ 37 w 136"/>
                <a:gd name="T19" fmla="*/ 2 h 50"/>
                <a:gd name="T20" fmla="*/ 131 w 136"/>
                <a:gd name="T21" fmla="*/ 48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6" h="50">
                  <a:moveTo>
                    <a:pt x="10" y="50"/>
                  </a:moveTo>
                  <a:cubicBezTo>
                    <a:pt x="136" y="50"/>
                    <a:pt x="136" y="50"/>
                    <a:pt x="136" y="50"/>
                  </a:cubicBezTo>
                  <a:cubicBezTo>
                    <a:pt x="134" y="49"/>
                    <a:pt x="134" y="49"/>
                    <a:pt x="134" y="49"/>
                  </a:cubicBezTo>
                  <a:cubicBezTo>
                    <a:pt x="98" y="4"/>
                    <a:pt x="38" y="0"/>
                    <a:pt x="37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0" y="50"/>
                  </a:lnTo>
                  <a:close/>
                  <a:moveTo>
                    <a:pt x="131" y="48"/>
                  </a:moveTo>
                  <a:cubicBezTo>
                    <a:pt x="12" y="48"/>
                    <a:pt x="12" y="48"/>
                    <a:pt x="12" y="48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8" y="2"/>
                    <a:pt x="96" y="5"/>
                    <a:pt x="131" y="48"/>
                  </a:cubicBezTo>
                  <a:close/>
                </a:path>
              </a:pathLst>
            </a:custGeom>
            <a:solidFill>
              <a:srgbClr val="5F7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094" name="Freeform 8680"/>
            <p:cNvSpPr>
              <a:spLocks/>
            </p:cNvSpPr>
            <p:nvPr/>
          </p:nvSpPr>
          <p:spPr bwMode="auto">
            <a:xfrm>
              <a:off x="6681788" y="1092200"/>
              <a:ext cx="100013" cy="66675"/>
            </a:xfrm>
            <a:custGeom>
              <a:avLst/>
              <a:gdLst>
                <a:gd name="T0" fmla="*/ 0 w 84"/>
                <a:gd name="T1" fmla="*/ 32 h 54"/>
                <a:gd name="T2" fmla="*/ 0 w 84"/>
                <a:gd name="T3" fmla="*/ 54 h 54"/>
                <a:gd name="T4" fmla="*/ 84 w 84"/>
                <a:gd name="T5" fmla="*/ 54 h 54"/>
                <a:gd name="T6" fmla="*/ 84 w 84"/>
                <a:gd name="T7" fmla="*/ 54 h 54"/>
                <a:gd name="T8" fmla="*/ 84 w 84"/>
                <a:gd name="T9" fmla="*/ 32 h 54"/>
                <a:gd name="T10" fmla="*/ 73 w 84"/>
                <a:gd name="T11" fmla="*/ 11 h 54"/>
                <a:gd name="T12" fmla="*/ 42 w 84"/>
                <a:gd name="T13" fmla="*/ 0 h 54"/>
                <a:gd name="T14" fmla="*/ 16 w 84"/>
                <a:gd name="T15" fmla="*/ 7 h 54"/>
                <a:gd name="T16" fmla="*/ 0 w 84"/>
                <a:gd name="T17" fmla="*/ 3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4" h="54">
                  <a:moveTo>
                    <a:pt x="0" y="32"/>
                  </a:moveTo>
                  <a:cubicBezTo>
                    <a:pt x="0" y="54"/>
                    <a:pt x="0" y="54"/>
                    <a:pt x="0" y="54"/>
                  </a:cubicBezTo>
                  <a:cubicBezTo>
                    <a:pt x="84" y="54"/>
                    <a:pt x="84" y="54"/>
                    <a:pt x="84" y="54"/>
                  </a:cubicBezTo>
                  <a:cubicBezTo>
                    <a:pt x="84" y="54"/>
                    <a:pt x="84" y="54"/>
                    <a:pt x="84" y="54"/>
                  </a:cubicBezTo>
                  <a:cubicBezTo>
                    <a:pt x="84" y="32"/>
                    <a:pt x="84" y="32"/>
                    <a:pt x="84" y="32"/>
                  </a:cubicBezTo>
                  <a:cubicBezTo>
                    <a:pt x="84" y="32"/>
                    <a:pt x="83" y="20"/>
                    <a:pt x="73" y="11"/>
                  </a:cubicBezTo>
                  <a:cubicBezTo>
                    <a:pt x="67" y="5"/>
                    <a:pt x="57" y="0"/>
                    <a:pt x="42" y="0"/>
                  </a:cubicBezTo>
                  <a:cubicBezTo>
                    <a:pt x="30" y="0"/>
                    <a:pt x="22" y="3"/>
                    <a:pt x="16" y="7"/>
                  </a:cubicBezTo>
                  <a:cubicBezTo>
                    <a:pt x="1" y="16"/>
                    <a:pt x="0" y="32"/>
                    <a:pt x="0" y="32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095" name="Freeform 8681"/>
            <p:cNvSpPr>
              <a:spLocks/>
            </p:cNvSpPr>
            <p:nvPr/>
          </p:nvSpPr>
          <p:spPr bwMode="auto">
            <a:xfrm>
              <a:off x="7026276" y="1092200"/>
              <a:ext cx="100013" cy="66675"/>
            </a:xfrm>
            <a:custGeom>
              <a:avLst/>
              <a:gdLst>
                <a:gd name="T0" fmla="*/ 0 w 84"/>
                <a:gd name="T1" fmla="*/ 32 h 54"/>
                <a:gd name="T2" fmla="*/ 0 w 84"/>
                <a:gd name="T3" fmla="*/ 54 h 54"/>
                <a:gd name="T4" fmla="*/ 84 w 84"/>
                <a:gd name="T5" fmla="*/ 54 h 54"/>
                <a:gd name="T6" fmla="*/ 84 w 84"/>
                <a:gd name="T7" fmla="*/ 54 h 54"/>
                <a:gd name="T8" fmla="*/ 84 w 84"/>
                <a:gd name="T9" fmla="*/ 32 h 54"/>
                <a:gd name="T10" fmla="*/ 73 w 84"/>
                <a:gd name="T11" fmla="*/ 11 h 54"/>
                <a:gd name="T12" fmla="*/ 42 w 84"/>
                <a:gd name="T13" fmla="*/ 0 h 54"/>
                <a:gd name="T14" fmla="*/ 16 w 84"/>
                <a:gd name="T15" fmla="*/ 7 h 54"/>
                <a:gd name="T16" fmla="*/ 0 w 84"/>
                <a:gd name="T17" fmla="*/ 3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4" h="54">
                  <a:moveTo>
                    <a:pt x="0" y="32"/>
                  </a:moveTo>
                  <a:cubicBezTo>
                    <a:pt x="0" y="54"/>
                    <a:pt x="0" y="54"/>
                    <a:pt x="0" y="54"/>
                  </a:cubicBezTo>
                  <a:cubicBezTo>
                    <a:pt x="84" y="54"/>
                    <a:pt x="84" y="54"/>
                    <a:pt x="84" y="54"/>
                  </a:cubicBezTo>
                  <a:cubicBezTo>
                    <a:pt x="84" y="54"/>
                    <a:pt x="84" y="54"/>
                    <a:pt x="84" y="54"/>
                  </a:cubicBezTo>
                  <a:cubicBezTo>
                    <a:pt x="84" y="32"/>
                    <a:pt x="84" y="32"/>
                    <a:pt x="84" y="32"/>
                  </a:cubicBezTo>
                  <a:cubicBezTo>
                    <a:pt x="84" y="32"/>
                    <a:pt x="83" y="20"/>
                    <a:pt x="73" y="11"/>
                  </a:cubicBezTo>
                  <a:cubicBezTo>
                    <a:pt x="67" y="5"/>
                    <a:pt x="57" y="0"/>
                    <a:pt x="42" y="0"/>
                  </a:cubicBezTo>
                  <a:cubicBezTo>
                    <a:pt x="30" y="0"/>
                    <a:pt x="22" y="3"/>
                    <a:pt x="16" y="7"/>
                  </a:cubicBezTo>
                  <a:cubicBezTo>
                    <a:pt x="1" y="16"/>
                    <a:pt x="0" y="32"/>
                    <a:pt x="0" y="32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096" name="Freeform 8682"/>
            <p:cNvSpPr>
              <a:spLocks noEditPoints="1"/>
            </p:cNvSpPr>
            <p:nvPr/>
          </p:nvSpPr>
          <p:spPr bwMode="auto">
            <a:xfrm>
              <a:off x="7035801" y="1103313"/>
              <a:ext cx="80963" cy="82550"/>
            </a:xfrm>
            <a:custGeom>
              <a:avLst/>
              <a:gdLst>
                <a:gd name="T0" fmla="*/ 12 w 67"/>
                <a:gd name="T1" fmla="*/ 8 h 68"/>
                <a:gd name="T2" fmla="*/ 34 w 67"/>
                <a:gd name="T3" fmla="*/ 0 h 68"/>
                <a:gd name="T4" fmla="*/ 55 w 67"/>
                <a:gd name="T5" fmla="*/ 8 h 68"/>
                <a:gd name="T6" fmla="*/ 62 w 67"/>
                <a:gd name="T7" fmla="*/ 16 h 68"/>
                <a:gd name="T8" fmla="*/ 67 w 67"/>
                <a:gd name="T9" fmla="*/ 34 h 68"/>
                <a:gd name="T10" fmla="*/ 62 w 67"/>
                <a:gd name="T11" fmla="*/ 52 h 68"/>
                <a:gd name="T12" fmla="*/ 34 w 67"/>
                <a:gd name="T13" fmla="*/ 68 h 68"/>
                <a:gd name="T14" fmla="*/ 0 w 67"/>
                <a:gd name="T15" fmla="*/ 34 h 68"/>
                <a:gd name="T16" fmla="*/ 12 w 67"/>
                <a:gd name="T17" fmla="*/ 8 h 68"/>
                <a:gd name="T18" fmla="*/ 34 w 67"/>
                <a:gd name="T19" fmla="*/ 60 h 68"/>
                <a:gd name="T20" fmla="*/ 60 w 67"/>
                <a:gd name="T21" fmla="*/ 34 h 68"/>
                <a:gd name="T22" fmla="*/ 34 w 67"/>
                <a:gd name="T23" fmla="*/ 8 h 68"/>
                <a:gd name="T24" fmla="*/ 7 w 67"/>
                <a:gd name="T25" fmla="*/ 34 h 68"/>
                <a:gd name="T26" fmla="*/ 34 w 67"/>
                <a:gd name="T27" fmla="*/ 6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7" h="68">
                  <a:moveTo>
                    <a:pt x="12" y="8"/>
                  </a:moveTo>
                  <a:cubicBezTo>
                    <a:pt x="18" y="3"/>
                    <a:pt x="25" y="0"/>
                    <a:pt x="34" y="0"/>
                  </a:cubicBezTo>
                  <a:cubicBezTo>
                    <a:pt x="42" y="0"/>
                    <a:pt x="49" y="3"/>
                    <a:pt x="55" y="8"/>
                  </a:cubicBezTo>
                  <a:cubicBezTo>
                    <a:pt x="58" y="10"/>
                    <a:pt x="60" y="13"/>
                    <a:pt x="62" y="16"/>
                  </a:cubicBezTo>
                  <a:cubicBezTo>
                    <a:pt x="66" y="21"/>
                    <a:pt x="67" y="28"/>
                    <a:pt x="67" y="34"/>
                  </a:cubicBezTo>
                  <a:cubicBezTo>
                    <a:pt x="67" y="41"/>
                    <a:pt x="66" y="47"/>
                    <a:pt x="62" y="52"/>
                  </a:cubicBezTo>
                  <a:cubicBezTo>
                    <a:pt x="56" y="62"/>
                    <a:pt x="46" y="68"/>
                    <a:pt x="34" y="68"/>
                  </a:cubicBezTo>
                  <a:cubicBezTo>
                    <a:pt x="15" y="68"/>
                    <a:pt x="0" y="53"/>
                    <a:pt x="0" y="34"/>
                  </a:cubicBezTo>
                  <a:cubicBezTo>
                    <a:pt x="0" y="24"/>
                    <a:pt x="4" y="14"/>
                    <a:pt x="12" y="8"/>
                  </a:cubicBezTo>
                  <a:close/>
                  <a:moveTo>
                    <a:pt x="34" y="60"/>
                  </a:moveTo>
                  <a:cubicBezTo>
                    <a:pt x="48" y="60"/>
                    <a:pt x="60" y="49"/>
                    <a:pt x="60" y="34"/>
                  </a:cubicBezTo>
                  <a:cubicBezTo>
                    <a:pt x="60" y="20"/>
                    <a:pt x="48" y="8"/>
                    <a:pt x="34" y="8"/>
                  </a:cubicBezTo>
                  <a:cubicBezTo>
                    <a:pt x="19" y="8"/>
                    <a:pt x="7" y="20"/>
                    <a:pt x="7" y="34"/>
                  </a:cubicBezTo>
                  <a:cubicBezTo>
                    <a:pt x="7" y="49"/>
                    <a:pt x="19" y="60"/>
                    <a:pt x="34" y="60"/>
                  </a:cubicBez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097" name="Freeform 8683"/>
            <p:cNvSpPr>
              <a:spLocks noEditPoints="1"/>
            </p:cNvSpPr>
            <p:nvPr/>
          </p:nvSpPr>
          <p:spPr bwMode="auto">
            <a:xfrm>
              <a:off x="7045326" y="1112838"/>
              <a:ext cx="63500" cy="63500"/>
            </a:xfrm>
            <a:custGeom>
              <a:avLst/>
              <a:gdLst>
                <a:gd name="T0" fmla="*/ 27 w 53"/>
                <a:gd name="T1" fmla="*/ 0 h 52"/>
                <a:gd name="T2" fmla="*/ 53 w 53"/>
                <a:gd name="T3" fmla="*/ 26 h 52"/>
                <a:gd name="T4" fmla="*/ 27 w 53"/>
                <a:gd name="T5" fmla="*/ 52 h 52"/>
                <a:gd name="T6" fmla="*/ 0 w 53"/>
                <a:gd name="T7" fmla="*/ 26 h 52"/>
                <a:gd name="T8" fmla="*/ 27 w 53"/>
                <a:gd name="T9" fmla="*/ 0 h 52"/>
                <a:gd name="T10" fmla="*/ 25 w 53"/>
                <a:gd name="T11" fmla="*/ 50 h 52"/>
                <a:gd name="T12" fmla="*/ 50 w 53"/>
                <a:gd name="T13" fmla="*/ 27 h 52"/>
                <a:gd name="T14" fmla="*/ 28 w 53"/>
                <a:gd name="T15" fmla="*/ 2 h 52"/>
                <a:gd name="T16" fmla="*/ 3 w 53"/>
                <a:gd name="T17" fmla="*/ 25 h 52"/>
                <a:gd name="T18" fmla="*/ 25 w 53"/>
                <a:gd name="T19" fmla="*/ 5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3" h="52">
                  <a:moveTo>
                    <a:pt x="27" y="0"/>
                  </a:moveTo>
                  <a:cubicBezTo>
                    <a:pt x="41" y="0"/>
                    <a:pt x="53" y="12"/>
                    <a:pt x="53" y="26"/>
                  </a:cubicBezTo>
                  <a:cubicBezTo>
                    <a:pt x="53" y="41"/>
                    <a:pt x="41" y="52"/>
                    <a:pt x="27" y="52"/>
                  </a:cubicBezTo>
                  <a:cubicBezTo>
                    <a:pt x="12" y="52"/>
                    <a:pt x="0" y="41"/>
                    <a:pt x="0" y="26"/>
                  </a:cubicBezTo>
                  <a:cubicBezTo>
                    <a:pt x="0" y="12"/>
                    <a:pt x="12" y="0"/>
                    <a:pt x="27" y="0"/>
                  </a:cubicBezTo>
                  <a:close/>
                  <a:moveTo>
                    <a:pt x="25" y="50"/>
                  </a:moveTo>
                  <a:cubicBezTo>
                    <a:pt x="39" y="51"/>
                    <a:pt x="50" y="40"/>
                    <a:pt x="50" y="27"/>
                  </a:cubicBezTo>
                  <a:cubicBezTo>
                    <a:pt x="51" y="14"/>
                    <a:pt x="41" y="3"/>
                    <a:pt x="28" y="2"/>
                  </a:cubicBezTo>
                  <a:cubicBezTo>
                    <a:pt x="14" y="2"/>
                    <a:pt x="3" y="12"/>
                    <a:pt x="3" y="25"/>
                  </a:cubicBezTo>
                  <a:cubicBezTo>
                    <a:pt x="2" y="38"/>
                    <a:pt x="12" y="49"/>
                    <a:pt x="25" y="50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098" name="Freeform 8684"/>
            <p:cNvSpPr>
              <a:spLocks noEditPoints="1"/>
            </p:cNvSpPr>
            <p:nvPr/>
          </p:nvSpPr>
          <p:spPr bwMode="auto">
            <a:xfrm>
              <a:off x="7046913" y="1116013"/>
              <a:ext cx="58738" cy="58737"/>
            </a:xfrm>
            <a:custGeom>
              <a:avLst/>
              <a:gdLst>
                <a:gd name="T0" fmla="*/ 48 w 49"/>
                <a:gd name="T1" fmla="*/ 25 h 49"/>
                <a:gd name="T2" fmla="*/ 1 w 49"/>
                <a:gd name="T3" fmla="*/ 23 h 49"/>
                <a:gd name="T4" fmla="*/ 3 w 49"/>
                <a:gd name="T5" fmla="*/ 19 h 49"/>
                <a:gd name="T6" fmla="*/ 18 w 49"/>
                <a:gd name="T7" fmla="*/ 20 h 49"/>
                <a:gd name="T8" fmla="*/ 3 w 49"/>
                <a:gd name="T9" fmla="*/ 19 h 49"/>
                <a:gd name="T10" fmla="*/ 15 w 49"/>
                <a:gd name="T11" fmla="*/ 16 h 49"/>
                <a:gd name="T12" fmla="*/ 19 w 49"/>
                <a:gd name="T13" fmla="*/ 2 h 49"/>
                <a:gd name="T14" fmla="*/ 21 w 49"/>
                <a:gd name="T15" fmla="*/ 22 h 49"/>
                <a:gd name="T16" fmla="*/ 20 w 49"/>
                <a:gd name="T17" fmla="*/ 24 h 49"/>
                <a:gd name="T18" fmla="*/ 21 w 49"/>
                <a:gd name="T19" fmla="*/ 22 h 49"/>
                <a:gd name="T20" fmla="*/ 23 w 49"/>
                <a:gd name="T21" fmla="*/ 28 h 49"/>
                <a:gd name="T22" fmla="*/ 21 w 49"/>
                <a:gd name="T23" fmla="*/ 27 h 49"/>
                <a:gd name="T24" fmla="*/ 25 w 49"/>
                <a:gd name="T25" fmla="*/ 2 h 49"/>
                <a:gd name="T26" fmla="*/ 22 w 49"/>
                <a:gd name="T27" fmla="*/ 17 h 49"/>
                <a:gd name="T28" fmla="*/ 25 w 49"/>
                <a:gd name="T29" fmla="*/ 2 h 49"/>
                <a:gd name="T30" fmla="*/ 25 w 49"/>
                <a:gd name="T31" fmla="*/ 21 h 49"/>
                <a:gd name="T32" fmla="*/ 25 w 49"/>
                <a:gd name="T33" fmla="*/ 19 h 49"/>
                <a:gd name="T34" fmla="*/ 25 w 49"/>
                <a:gd name="T35" fmla="*/ 21 h 49"/>
                <a:gd name="T36" fmla="*/ 25 w 49"/>
                <a:gd name="T37" fmla="*/ 27 h 49"/>
                <a:gd name="T38" fmla="*/ 25 w 49"/>
                <a:gd name="T39" fmla="*/ 21 h 49"/>
                <a:gd name="T40" fmla="*/ 27 w 49"/>
                <a:gd name="T41" fmla="*/ 28 h 49"/>
                <a:gd name="T42" fmla="*/ 26 w 49"/>
                <a:gd name="T43" fmla="*/ 27 h 49"/>
                <a:gd name="T44" fmla="*/ 28 w 49"/>
                <a:gd name="T45" fmla="*/ 23 h 49"/>
                <a:gd name="T46" fmla="*/ 29 w 49"/>
                <a:gd name="T47" fmla="*/ 23 h 49"/>
                <a:gd name="T48" fmla="*/ 28 w 49"/>
                <a:gd name="T49" fmla="*/ 23 h 49"/>
                <a:gd name="T50" fmla="*/ 30 w 49"/>
                <a:gd name="T51" fmla="*/ 13 h 49"/>
                <a:gd name="T52" fmla="*/ 44 w 49"/>
                <a:gd name="T53" fmla="*/ 13 h 49"/>
                <a:gd name="T54" fmla="*/ 45 w 49"/>
                <a:gd name="T55" fmla="*/ 15 h 49"/>
                <a:gd name="T56" fmla="*/ 32 w 49"/>
                <a:gd name="T57" fmla="*/ 24 h 49"/>
                <a:gd name="T58" fmla="*/ 45 w 49"/>
                <a:gd name="T59" fmla="*/ 15 h 49"/>
                <a:gd name="T60" fmla="*/ 47 w 49"/>
                <a:gd name="T61" fmla="*/ 25 h 49"/>
                <a:gd name="T62" fmla="*/ 37 w 49"/>
                <a:gd name="T63" fmla="*/ 25 h 49"/>
                <a:gd name="T64" fmla="*/ 41 w 49"/>
                <a:gd name="T65" fmla="*/ 39 h 49"/>
                <a:gd name="T66" fmla="*/ 31 w 49"/>
                <a:gd name="T67" fmla="*/ 28 h 49"/>
                <a:gd name="T68" fmla="*/ 37 w 49"/>
                <a:gd name="T69" fmla="*/ 43 h 49"/>
                <a:gd name="T70" fmla="*/ 24 w 49"/>
                <a:gd name="T71" fmla="*/ 46 h 49"/>
                <a:gd name="T72" fmla="*/ 27 w 49"/>
                <a:gd name="T73" fmla="*/ 36 h 49"/>
                <a:gd name="T74" fmla="*/ 16 w 49"/>
                <a:gd name="T75" fmla="*/ 45 h 49"/>
                <a:gd name="T76" fmla="*/ 13 w 49"/>
                <a:gd name="T77" fmla="*/ 43 h 49"/>
                <a:gd name="T78" fmla="*/ 19 w 49"/>
                <a:gd name="T79" fmla="*/ 29 h 49"/>
                <a:gd name="T80" fmla="*/ 13 w 49"/>
                <a:gd name="T81" fmla="*/ 43 h 49"/>
                <a:gd name="T82" fmla="*/ 14 w 49"/>
                <a:gd name="T83" fmla="*/ 30 h 49"/>
                <a:gd name="T84" fmla="*/ 2 w 49"/>
                <a:gd name="T85" fmla="*/ 22 h 49"/>
                <a:gd name="T86" fmla="*/ 8 w 49"/>
                <a:gd name="T87" fmla="*/ 4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9" h="49">
                  <a:moveTo>
                    <a:pt x="26" y="0"/>
                  </a:moveTo>
                  <a:cubicBezTo>
                    <a:pt x="39" y="1"/>
                    <a:pt x="49" y="12"/>
                    <a:pt x="48" y="25"/>
                  </a:cubicBezTo>
                  <a:cubicBezTo>
                    <a:pt x="48" y="38"/>
                    <a:pt x="37" y="49"/>
                    <a:pt x="23" y="48"/>
                  </a:cubicBezTo>
                  <a:cubicBezTo>
                    <a:pt x="10" y="47"/>
                    <a:pt x="0" y="36"/>
                    <a:pt x="1" y="23"/>
                  </a:cubicBezTo>
                  <a:cubicBezTo>
                    <a:pt x="1" y="10"/>
                    <a:pt x="12" y="0"/>
                    <a:pt x="26" y="0"/>
                  </a:cubicBezTo>
                  <a:close/>
                  <a:moveTo>
                    <a:pt x="3" y="19"/>
                  </a:moveTo>
                  <a:cubicBezTo>
                    <a:pt x="17" y="25"/>
                    <a:pt x="17" y="25"/>
                    <a:pt x="17" y="25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3" y="18"/>
                    <a:pt x="3" y="18"/>
                    <a:pt x="3" y="19"/>
                  </a:cubicBezTo>
                  <a:close/>
                  <a:moveTo>
                    <a:pt x="5" y="14"/>
                  </a:moveTo>
                  <a:cubicBezTo>
                    <a:pt x="15" y="16"/>
                    <a:pt x="15" y="16"/>
                    <a:pt x="15" y="16"/>
                  </a:cubicBezTo>
                  <a:cubicBezTo>
                    <a:pt x="18" y="14"/>
                    <a:pt x="18" y="14"/>
                    <a:pt x="18" y="14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3" y="4"/>
                    <a:pt x="8" y="8"/>
                    <a:pt x="5" y="14"/>
                  </a:cubicBezTo>
                  <a:close/>
                  <a:moveTo>
                    <a:pt x="21" y="22"/>
                  </a:moveTo>
                  <a:cubicBezTo>
                    <a:pt x="20" y="22"/>
                    <a:pt x="20" y="22"/>
                    <a:pt x="20" y="23"/>
                  </a:cubicBezTo>
                  <a:cubicBezTo>
                    <a:pt x="20" y="23"/>
                    <a:pt x="20" y="24"/>
                    <a:pt x="20" y="24"/>
                  </a:cubicBezTo>
                  <a:cubicBezTo>
                    <a:pt x="21" y="24"/>
                    <a:pt x="21" y="24"/>
                    <a:pt x="22" y="23"/>
                  </a:cubicBezTo>
                  <a:cubicBezTo>
                    <a:pt x="22" y="23"/>
                    <a:pt x="21" y="22"/>
                    <a:pt x="21" y="22"/>
                  </a:cubicBezTo>
                  <a:close/>
                  <a:moveTo>
                    <a:pt x="22" y="28"/>
                  </a:moveTo>
                  <a:cubicBezTo>
                    <a:pt x="22" y="28"/>
                    <a:pt x="23" y="28"/>
                    <a:pt x="23" y="28"/>
                  </a:cubicBezTo>
                  <a:cubicBezTo>
                    <a:pt x="23" y="27"/>
                    <a:pt x="23" y="27"/>
                    <a:pt x="23" y="27"/>
                  </a:cubicBezTo>
                  <a:cubicBezTo>
                    <a:pt x="22" y="26"/>
                    <a:pt x="22" y="26"/>
                    <a:pt x="21" y="27"/>
                  </a:cubicBezTo>
                  <a:cubicBezTo>
                    <a:pt x="21" y="27"/>
                    <a:pt x="21" y="28"/>
                    <a:pt x="22" y="28"/>
                  </a:cubicBezTo>
                  <a:close/>
                  <a:moveTo>
                    <a:pt x="25" y="2"/>
                  </a:moveTo>
                  <a:cubicBezTo>
                    <a:pt x="24" y="2"/>
                    <a:pt x="23" y="2"/>
                    <a:pt x="22" y="2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6" y="17"/>
                    <a:pt x="26" y="17"/>
                    <a:pt x="26" y="17"/>
                  </a:cubicBezTo>
                  <a:lnTo>
                    <a:pt x="25" y="2"/>
                  </a:lnTo>
                  <a:close/>
                  <a:moveTo>
                    <a:pt x="24" y="20"/>
                  </a:moveTo>
                  <a:cubicBezTo>
                    <a:pt x="24" y="21"/>
                    <a:pt x="24" y="21"/>
                    <a:pt x="25" y="21"/>
                  </a:cubicBezTo>
                  <a:cubicBezTo>
                    <a:pt x="25" y="21"/>
                    <a:pt x="25" y="21"/>
                    <a:pt x="25" y="20"/>
                  </a:cubicBezTo>
                  <a:cubicBezTo>
                    <a:pt x="25" y="20"/>
                    <a:pt x="25" y="19"/>
                    <a:pt x="25" y="19"/>
                  </a:cubicBezTo>
                  <a:cubicBezTo>
                    <a:pt x="24" y="19"/>
                    <a:pt x="24" y="20"/>
                    <a:pt x="24" y="20"/>
                  </a:cubicBezTo>
                  <a:close/>
                  <a:moveTo>
                    <a:pt x="25" y="21"/>
                  </a:moveTo>
                  <a:cubicBezTo>
                    <a:pt x="23" y="21"/>
                    <a:pt x="22" y="23"/>
                    <a:pt x="22" y="24"/>
                  </a:cubicBezTo>
                  <a:cubicBezTo>
                    <a:pt x="22" y="26"/>
                    <a:pt x="23" y="27"/>
                    <a:pt x="25" y="27"/>
                  </a:cubicBezTo>
                  <a:cubicBezTo>
                    <a:pt x="26" y="27"/>
                    <a:pt x="27" y="26"/>
                    <a:pt x="27" y="24"/>
                  </a:cubicBezTo>
                  <a:cubicBezTo>
                    <a:pt x="27" y="23"/>
                    <a:pt x="26" y="21"/>
                    <a:pt x="25" y="21"/>
                  </a:cubicBezTo>
                  <a:close/>
                  <a:moveTo>
                    <a:pt x="26" y="28"/>
                  </a:moveTo>
                  <a:cubicBezTo>
                    <a:pt x="26" y="28"/>
                    <a:pt x="27" y="28"/>
                    <a:pt x="27" y="28"/>
                  </a:cubicBezTo>
                  <a:cubicBezTo>
                    <a:pt x="28" y="28"/>
                    <a:pt x="28" y="27"/>
                    <a:pt x="28" y="27"/>
                  </a:cubicBezTo>
                  <a:cubicBezTo>
                    <a:pt x="27" y="26"/>
                    <a:pt x="27" y="26"/>
                    <a:pt x="26" y="27"/>
                  </a:cubicBezTo>
                  <a:cubicBezTo>
                    <a:pt x="26" y="27"/>
                    <a:pt x="26" y="27"/>
                    <a:pt x="26" y="28"/>
                  </a:cubicBezTo>
                  <a:close/>
                  <a:moveTo>
                    <a:pt x="28" y="23"/>
                  </a:moveTo>
                  <a:cubicBezTo>
                    <a:pt x="28" y="24"/>
                    <a:pt x="28" y="24"/>
                    <a:pt x="29" y="24"/>
                  </a:cubicBezTo>
                  <a:cubicBezTo>
                    <a:pt x="29" y="24"/>
                    <a:pt x="29" y="23"/>
                    <a:pt x="29" y="23"/>
                  </a:cubicBezTo>
                  <a:cubicBezTo>
                    <a:pt x="29" y="22"/>
                    <a:pt x="29" y="22"/>
                    <a:pt x="28" y="22"/>
                  </a:cubicBezTo>
                  <a:cubicBezTo>
                    <a:pt x="28" y="22"/>
                    <a:pt x="27" y="23"/>
                    <a:pt x="28" y="23"/>
                  </a:cubicBezTo>
                  <a:close/>
                  <a:moveTo>
                    <a:pt x="28" y="2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3" y="15"/>
                    <a:pt x="33" y="15"/>
                    <a:pt x="33" y="15"/>
                  </a:cubicBezTo>
                  <a:cubicBezTo>
                    <a:pt x="44" y="13"/>
                    <a:pt x="44" y="13"/>
                    <a:pt x="44" y="13"/>
                  </a:cubicBezTo>
                  <a:cubicBezTo>
                    <a:pt x="40" y="7"/>
                    <a:pt x="35" y="3"/>
                    <a:pt x="28" y="2"/>
                  </a:cubicBezTo>
                  <a:close/>
                  <a:moveTo>
                    <a:pt x="45" y="15"/>
                  </a:moveTo>
                  <a:cubicBezTo>
                    <a:pt x="30" y="19"/>
                    <a:pt x="30" y="19"/>
                    <a:pt x="30" y="19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46" y="18"/>
                    <a:pt x="46" y="18"/>
                    <a:pt x="46" y="18"/>
                  </a:cubicBezTo>
                  <a:cubicBezTo>
                    <a:pt x="46" y="17"/>
                    <a:pt x="45" y="15"/>
                    <a:pt x="45" y="15"/>
                  </a:cubicBezTo>
                  <a:close/>
                  <a:moveTo>
                    <a:pt x="41" y="39"/>
                  </a:moveTo>
                  <a:cubicBezTo>
                    <a:pt x="45" y="35"/>
                    <a:pt x="47" y="30"/>
                    <a:pt x="47" y="25"/>
                  </a:cubicBezTo>
                  <a:cubicBezTo>
                    <a:pt x="47" y="24"/>
                    <a:pt x="47" y="22"/>
                    <a:pt x="47" y="21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6" y="29"/>
                    <a:pt x="36" y="29"/>
                    <a:pt x="36" y="29"/>
                  </a:cubicBezTo>
                  <a:lnTo>
                    <a:pt x="41" y="39"/>
                  </a:lnTo>
                  <a:close/>
                  <a:moveTo>
                    <a:pt x="39" y="41"/>
                  </a:moveTo>
                  <a:cubicBezTo>
                    <a:pt x="31" y="28"/>
                    <a:pt x="31" y="28"/>
                    <a:pt x="31" y="28"/>
                  </a:cubicBezTo>
                  <a:cubicBezTo>
                    <a:pt x="27" y="31"/>
                    <a:pt x="27" y="31"/>
                    <a:pt x="27" y="31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8" y="42"/>
                    <a:pt x="39" y="41"/>
                    <a:pt x="39" y="41"/>
                  </a:cubicBezTo>
                  <a:close/>
                  <a:moveTo>
                    <a:pt x="24" y="46"/>
                  </a:moveTo>
                  <a:cubicBezTo>
                    <a:pt x="27" y="47"/>
                    <a:pt x="31" y="46"/>
                    <a:pt x="34" y="44"/>
                  </a:cubicBezTo>
                  <a:cubicBezTo>
                    <a:pt x="27" y="36"/>
                    <a:pt x="27" y="36"/>
                    <a:pt x="27" y="36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8" y="46"/>
                    <a:pt x="21" y="46"/>
                    <a:pt x="24" y="46"/>
                  </a:cubicBezTo>
                  <a:close/>
                  <a:moveTo>
                    <a:pt x="13" y="43"/>
                  </a:moveTo>
                  <a:cubicBezTo>
                    <a:pt x="23" y="31"/>
                    <a:pt x="23" y="31"/>
                    <a:pt x="23" y="31"/>
                  </a:cubicBezTo>
                  <a:cubicBezTo>
                    <a:pt x="19" y="29"/>
                    <a:pt x="19" y="29"/>
                    <a:pt x="19" y="29"/>
                  </a:cubicBezTo>
                  <a:cubicBezTo>
                    <a:pt x="11" y="42"/>
                    <a:pt x="11" y="42"/>
                    <a:pt x="11" y="42"/>
                  </a:cubicBezTo>
                  <a:cubicBezTo>
                    <a:pt x="12" y="42"/>
                    <a:pt x="12" y="43"/>
                    <a:pt x="13" y="43"/>
                  </a:cubicBezTo>
                  <a:close/>
                  <a:moveTo>
                    <a:pt x="8" y="40"/>
                  </a:moveTo>
                  <a:cubicBezTo>
                    <a:pt x="14" y="30"/>
                    <a:pt x="14" y="30"/>
                    <a:pt x="14" y="30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2" y="22"/>
                    <a:pt x="2" y="22"/>
                    <a:pt x="2" y="22"/>
                  </a:cubicBezTo>
                  <a:cubicBezTo>
                    <a:pt x="2" y="22"/>
                    <a:pt x="2" y="23"/>
                    <a:pt x="2" y="23"/>
                  </a:cubicBezTo>
                  <a:cubicBezTo>
                    <a:pt x="2" y="29"/>
                    <a:pt x="4" y="35"/>
                    <a:pt x="8" y="40"/>
                  </a:cubicBezTo>
                  <a:close/>
                </a:path>
              </a:pathLst>
            </a:custGeom>
            <a:solidFill>
              <a:srgbClr val="836B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099" name="Oval 8685"/>
            <p:cNvSpPr>
              <a:spLocks noChangeArrowheads="1"/>
            </p:cNvSpPr>
            <p:nvPr/>
          </p:nvSpPr>
          <p:spPr bwMode="auto">
            <a:xfrm>
              <a:off x="7075488" y="1138238"/>
              <a:ext cx="1588" cy="3175"/>
            </a:xfrm>
            <a:prstGeom prst="ellipse">
              <a:avLst/>
            </a:prstGeom>
            <a:solidFill>
              <a:srgbClr val="F4F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100" name="Freeform 8686"/>
            <p:cNvSpPr>
              <a:spLocks/>
            </p:cNvSpPr>
            <p:nvPr/>
          </p:nvSpPr>
          <p:spPr bwMode="auto">
            <a:xfrm>
              <a:off x="7070726" y="1143000"/>
              <a:ext cx="3175" cy="1587"/>
            </a:xfrm>
            <a:custGeom>
              <a:avLst/>
              <a:gdLst>
                <a:gd name="T0" fmla="*/ 0 w 2"/>
                <a:gd name="T1" fmla="*/ 1 h 2"/>
                <a:gd name="T2" fmla="*/ 0 w 2"/>
                <a:gd name="T3" fmla="*/ 2 h 2"/>
                <a:gd name="T4" fmla="*/ 2 w 2"/>
                <a:gd name="T5" fmla="*/ 1 h 2"/>
                <a:gd name="T6" fmla="*/ 1 w 2"/>
                <a:gd name="T7" fmla="*/ 0 h 2"/>
                <a:gd name="T8" fmla="*/ 0 w 2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1" y="2"/>
                    <a:pt x="1" y="2"/>
                    <a:pt x="2" y="1"/>
                  </a:cubicBezTo>
                  <a:cubicBezTo>
                    <a:pt x="2" y="1"/>
                    <a:pt x="1" y="0"/>
                    <a:pt x="1" y="0"/>
                  </a:cubicBezTo>
                  <a:cubicBezTo>
                    <a:pt x="0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101" name="Freeform 8687"/>
            <p:cNvSpPr>
              <a:spLocks/>
            </p:cNvSpPr>
            <p:nvPr/>
          </p:nvSpPr>
          <p:spPr bwMode="auto">
            <a:xfrm>
              <a:off x="7072313" y="1147763"/>
              <a:ext cx="3175" cy="1587"/>
            </a:xfrm>
            <a:custGeom>
              <a:avLst/>
              <a:gdLst>
                <a:gd name="T0" fmla="*/ 1 w 2"/>
                <a:gd name="T1" fmla="*/ 2 h 2"/>
                <a:gd name="T2" fmla="*/ 2 w 2"/>
                <a:gd name="T3" fmla="*/ 2 h 2"/>
                <a:gd name="T4" fmla="*/ 2 w 2"/>
                <a:gd name="T5" fmla="*/ 1 h 2"/>
                <a:gd name="T6" fmla="*/ 0 w 2"/>
                <a:gd name="T7" fmla="*/ 1 h 2"/>
                <a:gd name="T8" fmla="*/ 1 w 2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1" y="2"/>
                  </a:moveTo>
                  <a:cubicBezTo>
                    <a:pt x="1" y="2"/>
                    <a:pt x="2" y="2"/>
                    <a:pt x="2" y="2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0"/>
                    <a:pt x="1" y="0"/>
                    <a:pt x="0" y="1"/>
                  </a:cubicBezTo>
                  <a:cubicBezTo>
                    <a:pt x="0" y="1"/>
                    <a:pt x="0" y="2"/>
                    <a:pt x="1" y="2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102" name="Freeform 8688"/>
            <p:cNvSpPr>
              <a:spLocks/>
            </p:cNvSpPr>
            <p:nvPr/>
          </p:nvSpPr>
          <p:spPr bwMode="auto">
            <a:xfrm>
              <a:off x="7078663" y="1147763"/>
              <a:ext cx="1588" cy="1587"/>
            </a:xfrm>
            <a:custGeom>
              <a:avLst/>
              <a:gdLst>
                <a:gd name="T0" fmla="*/ 0 w 2"/>
                <a:gd name="T1" fmla="*/ 2 h 2"/>
                <a:gd name="T2" fmla="*/ 1 w 2"/>
                <a:gd name="T3" fmla="*/ 2 h 2"/>
                <a:gd name="T4" fmla="*/ 2 w 2"/>
                <a:gd name="T5" fmla="*/ 1 h 2"/>
                <a:gd name="T6" fmla="*/ 0 w 2"/>
                <a:gd name="T7" fmla="*/ 1 h 2"/>
                <a:gd name="T8" fmla="*/ 0 w 2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cubicBezTo>
                    <a:pt x="0" y="2"/>
                    <a:pt x="1" y="2"/>
                    <a:pt x="1" y="2"/>
                  </a:cubicBezTo>
                  <a:cubicBezTo>
                    <a:pt x="2" y="2"/>
                    <a:pt x="2" y="1"/>
                    <a:pt x="2" y="1"/>
                  </a:cubicBezTo>
                  <a:cubicBezTo>
                    <a:pt x="1" y="0"/>
                    <a:pt x="1" y="0"/>
                    <a:pt x="0" y="1"/>
                  </a:cubicBezTo>
                  <a:cubicBezTo>
                    <a:pt x="0" y="1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103" name="Freeform 8689"/>
            <p:cNvSpPr>
              <a:spLocks/>
            </p:cNvSpPr>
            <p:nvPr/>
          </p:nvSpPr>
          <p:spPr bwMode="auto">
            <a:xfrm>
              <a:off x="7080251" y="1143000"/>
              <a:ext cx="1588" cy="1587"/>
            </a:xfrm>
            <a:custGeom>
              <a:avLst/>
              <a:gdLst>
                <a:gd name="T0" fmla="*/ 1 w 2"/>
                <a:gd name="T1" fmla="*/ 1 h 2"/>
                <a:gd name="T2" fmla="*/ 2 w 2"/>
                <a:gd name="T3" fmla="*/ 2 h 2"/>
                <a:gd name="T4" fmla="*/ 2 w 2"/>
                <a:gd name="T5" fmla="*/ 1 h 2"/>
                <a:gd name="T6" fmla="*/ 1 w 2"/>
                <a:gd name="T7" fmla="*/ 0 h 2"/>
                <a:gd name="T8" fmla="*/ 1 w 2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1" y="1"/>
                  </a:moveTo>
                  <a:cubicBezTo>
                    <a:pt x="1" y="2"/>
                    <a:pt x="1" y="2"/>
                    <a:pt x="2" y="2"/>
                  </a:cubicBezTo>
                  <a:cubicBezTo>
                    <a:pt x="2" y="2"/>
                    <a:pt x="2" y="1"/>
                    <a:pt x="2" y="1"/>
                  </a:cubicBezTo>
                  <a:cubicBezTo>
                    <a:pt x="2" y="0"/>
                    <a:pt x="2" y="0"/>
                    <a:pt x="1" y="0"/>
                  </a:cubicBezTo>
                  <a:cubicBezTo>
                    <a:pt x="1" y="0"/>
                    <a:pt x="0" y="1"/>
                    <a:pt x="1" y="1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104" name="Oval 8690"/>
            <p:cNvSpPr>
              <a:spLocks noChangeArrowheads="1"/>
            </p:cNvSpPr>
            <p:nvPr/>
          </p:nvSpPr>
          <p:spPr bwMode="auto">
            <a:xfrm>
              <a:off x="7073901" y="1141413"/>
              <a:ext cx="6350" cy="7937"/>
            </a:xfrm>
            <a:prstGeom prst="ellipse">
              <a:avLst/>
            </a:prstGeom>
            <a:solidFill>
              <a:srgbClr val="F4F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105" name="Freeform 8691"/>
            <p:cNvSpPr>
              <a:spLocks/>
            </p:cNvSpPr>
            <p:nvPr/>
          </p:nvSpPr>
          <p:spPr bwMode="auto">
            <a:xfrm>
              <a:off x="7080251" y="1149350"/>
              <a:ext cx="14288" cy="19050"/>
            </a:xfrm>
            <a:custGeom>
              <a:avLst/>
              <a:gdLst>
                <a:gd name="T0" fmla="*/ 0 w 12"/>
                <a:gd name="T1" fmla="*/ 3 h 15"/>
                <a:gd name="T2" fmla="*/ 10 w 12"/>
                <a:gd name="T3" fmla="*/ 15 h 15"/>
                <a:gd name="T4" fmla="*/ 12 w 12"/>
                <a:gd name="T5" fmla="*/ 13 h 15"/>
                <a:gd name="T6" fmla="*/ 4 w 12"/>
                <a:gd name="T7" fmla="*/ 0 h 15"/>
                <a:gd name="T8" fmla="*/ 0 w 12"/>
                <a:gd name="T9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5">
                  <a:moveTo>
                    <a:pt x="0" y="3"/>
                  </a:moveTo>
                  <a:cubicBezTo>
                    <a:pt x="10" y="15"/>
                    <a:pt x="10" y="15"/>
                    <a:pt x="10" y="15"/>
                  </a:cubicBezTo>
                  <a:cubicBezTo>
                    <a:pt x="11" y="14"/>
                    <a:pt x="12" y="13"/>
                    <a:pt x="12" y="13"/>
                  </a:cubicBezTo>
                  <a:cubicBezTo>
                    <a:pt x="4" y="0"/>
                    <a:pt x="4" y="0"/>
                    <a:pt x="4" y="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106" name="Freeform 8692"/>
            <p:cNvSpPr>
              <a:spLocks/>
            </p:cNvSpPr>
            <p:nvPr/>
          </p:nvSpPr>
          <p:spPr bwMode="auto">
            <a:xfrm>
              <a:off x="7083426" y="1133475"/>
              <a:ext cx="19050" cy="11112"/>
            </a:xfrm>
            <a:custGeom>
              <a:avLst/>
              <a:gdLst>
                <a:gd name="T0" fmla="*/ 0 w 16"/>
                <a:gd name="T1" fmla="*/ 4 h 9"/>
                <a:gd name="T2" fmla="*/ 2 w 16"/>
                <a:gd name="T3" fmla="*/ 9 h 9"/>
                <a:gd name="T4" fmla="*/ 16 w 16"/>
                <a:gd name="T5" fmla="*/ 3 h 9"/>
                <a:gd name="T6" fmla="*/ 15 w 16"/>
                <a:gd name="T7" fmla="*/ 0 h 9"/>
                <a:gd name="T8" fmla="*/ 0 w 16"/>
                <a:gd name="T9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9">
                  <a:moveTo>
                    <a:pt x="0" y="4"/>
                  </a:moveTo>
                  <a:cubicBezTo>
                    <a:pt x="2" y="9"/>
                    <a:pt x="2" y="9"/>
                    <a:pt x="2" y="9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6" y="2"/>
                    <a:pt x="15" y="0"/>
                    <a:pt x="15" y="0"/>
                  </a:cubicBezTo>
                  <a:lnTo>
                    <a:pt x="0" y="4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107" name="Freeform 8693"/>
            <p:cNvSpPr>
              <a:spLocks/>
            </p:cNvSpPr>
            <p:nvPr/>
          </p:nvSpPr>
          <p:spPr bwMode="auto">
            <a:xfrm>
              <a:off x="7073901" y="1119188"/>
              <a:ext cx="4763" cy="17462"/>
            </a:xfrm>
            <a:custGeom>
              <a:avLst/>
              <a:gdLst>
                <a:gd name="T0" fmla="*/ 0 w 4"/>
                <a:gd name="T1" fmla="*/ 15 h 15"/>
                <a:gd name="T2" fmla="*/ 4 w 4"/>
                <a:gd name="T3" fmla="*/ 15 h 15"/>
                <a:gd name="T4" fmla="*/ 3 w 4"/>
                <a:gd name="T5" fmla="*/ 0 h 15"/>
                <a:gd name="T6" fmla="*/ 0 w 4"/>
                <a:gd name="T7" fmla="*/ 0 h 15"/>
                <a:gd name="T8" fmla="*/ 0 w 4"/>
                <a:gd name="T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5">
                  <a:moveTo>
                    <a:pt x="0" y="15"/>
                  </a:moveTo>
                  <a:cubicBezTo>
                    <a:pt x="4" y="15"/>
                    <a:pt x="4" y="15"/>
                    <a:pt x="4" y="15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1" y="0"/>
                    <a:pt x="0" y="0"/>
                  </a:cubicBezTo>
                  <a:lnTo>
                    <a:pt x="0" y="15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108" name="Freeform 8694"/>
            <p:cNvSpPr>
              <a:spLocks/>
            </p:cNvSpPr>
            <p:nvPr/>
          </p:nvSpPr>
          <p:spPr bwMode="auto">
            <a:xfrm>
              <a:off x="7051676" y="1136650"/>
              <a:ext cx="17463" cy="9525"/>
            </a:xfrm>
            <a:custGeom>
              <a:avLst/>
              <a:gdLst>
                <a:gd name="T0" fmla="*/ 0 w 15"/>
                <a:gd name="T1" fmla="*/ 2 h 8"/>
                <a:gd name="T2" fmla="*/ 14 w 15"/>
                <a:gd name="T3" fmla="*/ 8 h 8"/>
                <a:gd name="T4" fmla="*/ 15 w 15"/>
                <a:gd name="T5" fmla="*/ 3 h 8"/>
                <a:gd name="T6" fmla="*/ 0 w 15"/>
                <a:gd name="T7" fmla="*/ 0 h 8"/>
                <a:gd name="T8" fmla="*/ 0 w 15"/>
                <a:gd name="T9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8">
                  <a:moveTo>
                    <a:pt x="0" y="2"/>
                  </a:moveTo>
                  <a:cubicBezTo>
                    <a:pt x="14" y="8"/>
                    <a:pt x="14" y="8"/>
                    <a:pt x="14" y="8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109" name="Freeform 8695"/>
            <p:cNvSpPr>
              <a:spLocks/>
            </p:cNvSpPr>
            <p:nvPr/>
          </p:nvSpPr>
          <p:spPr bwMode="auto">
            <a:xfrm>
              <a:off x="7061201" y="1150938"/>
              <a:ext cx="14288" cy="17462"/>
            </a:xfrm>
            <a:custGeom>
              <a:avLst/>
              <a:gdLst>
                <a:gd name="T0" fmla="*/ 0 w 12"/>
                <a:gd name="T1" fmla="*/ 13 h 14"/>
                <a:gd name="T2" fmla="*/ 2 w 12"/>
                <a:gd name="T3" fmla="*/ 14 h 14"/>
                <a:gd name="T4" fmla="*/ 12 w 12"/>
                <a:gd name="T5" fmla="*/ 2 h 14"/>
                <a:gd name="T6" fmla="*/ 8 w 12"/>
                <a:gd name="T7" fmla="*/ 0 h 14"/>
                <a:gd name="T8" fmla="*/ 0 w 12"/>
                <a:gd name="T9" fmla="*/ 1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4">
                  <a:moveTo>
                    <a:pt x="0" y="13"/>
                  </a:moveTo>
                  <a:cubicBezTo>
                    <a:pt x="1" y="13"/>
                    <a:pt x="1" y="14"/>
                    <a:pt x="2" y="14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8" y="0"/>
                    <a:pt x="8" y="0"/>
                    <a:pt x="8" y="0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110" name="Freeform 8696"/>
            <p:cNvSpPr>
              <a:spLocks/>
            </p:cNvSpPr>
            <p:nvPr/>
          </p:nvSpPr>
          <p:spPr bwMode="auto">
            <a:xfrm>
              <a:off x="7050088" y="1143000"/>
              <a:ext cx="14288" cy="20637"/>
            </a:xfrm>
            <a:custGeom>
              <a:avLst/>
              <a:gdLst>
                <a:gd name="T0" fmla="*/ 0 w 12"/>
                <a:gd name="T1" fmla="*/ 1 h 18"/>
                <a:gd name="T2" fmla="*/ 6 w 12"/>
                <a:gd name="T3" fmla="*/ 18 h 18"/>
                <a:gd name="T4" fmla="*/ 12 w 12"/>
                <a:gd name="T5" fmla="*/ 8 h 18"/>
                <a:gd name="T6" fmla="*/ 11 w 12"/>
                <a:gd name="T7" fmla="*/ 5 h 18"/>
                <a:gd name="T8" fmla="*/ 0 w 12"/>
                <a:gd name="T9" fmla="*/ 0 h 18"/>
                <a:gd name="T10" fmla="*/ 0 w 12"/>
                <a:gd name="T11" fmla="*/ 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8">
                  <a:moveTo>
                    <a:pt x="0" y="1"/>
                  </a:moveTo>
                  <a:cubicBezTo>
                    <a:pt x="0" y="7"/>
                    <a:pt x="2" y="13"/>
                    <a:pt x="6" y="1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111" name="Freeform 8697"/>
            <p:cNvSpPr>
              <a:spLocks/>
            </p:cNvSpPr>
            <p:nvPr/>
          </p:nvSpPr>
          <p:spPr bwMode="auto">
            <a:xfrm>
              <a:off x="7065963" y="1158875"/>
              <a:ext cx="22225" cy="14287"/>
            </a:xfrm>
            <a:custGeom>
              <a:avLst/>
              <a:gdLst>
                <a:gd name="T0" fmla="*/ 0 w 18"/>
                <a:gd name="T1" fmla="*/ 9 h 11"/>
                <a:gd name="T2" fmla="*/ 8 w 18"/>
                <a:gd name="T3" fmla="*/ 10 h 11"/>
                <a:gd name="T4" fmla="*/ 18 w 18"/>
                <a:gd name="T5" fmla="*/ 8 h 11"/>
                <a:gd name="T6" fmla="*/ 11 w 18"/>
                <a:gd name="T7" fmla="*/ 0 h 11"/>
                <a:gd name="T8" fmla="*/ 7 w 18"/>
                <a:gd name="T9" fmla="*/ 0 h 11"/>
                <a:gd name="T10" fmla="*/ 0 w 18"/>
                <a:gd name="T11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11">
                  <a:moveTo>
                    <a:pt x="0" y="9"/>
                  </a:moveTo>
                  <a:cubicBezTo>
                    <a:pt x="2" y="10"/>
                    <a:pt x="5" y="10"/>
                    <a:pt x="8" y="10"/>
                  </a:cubicBezTo>
                  <a:cubicBezTo>
                    <a:pt x="11" y="11"/>
                    <a:pt x="15" y="10"/>
                    <a:pt x="18" y="8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7" y="0"/>
                    <a:pt x="7" y="0"/>
                    <a:pt x="7" y="0"/>
                  </a:cubicBezTo>
                  <a:lnTo>
                    <a:pt x="0" y="9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112" name="Freeform 8698"/>
            <p:cNvSpPr>
              <a:spLocks/>
            </p:cNvSpPr>
            <p:nvPr/>
          </p:nvSpPr>
          <p:spPr bwMode="auto">
            <a:xfrm>
              <a:off x="7089776" y="1141413"/>
              <a:ext cx="14288" cy="22225"/>
            </a:xfrm>
            <a:custGeom>
              <a:avLst/>
              <a:gdLst>
                <a:gd name="T0" fmla="*/ 0 w 11"/>
                <a:gd name="T1" fmla="*/ 8 h 18"/>
                <a:gd name="T2" fmla="*/ 5 w 11"/>
                <a:gd name="T3" fmla="*/ 18 h 18"/>
                <a:gd name="T4" fmla="*/ 11 w 11"/>
                <a:gd name="T5" fmla="*/ 4 h 18"/>
                <a:gd name="T6" fmla="*/ 11 w 11"/>
                <a:gd name="T7" fmla="*/ 0 h 18"/>
                <a:gd name="T8" fmla="*/ 1 w 11"/>
                <a:gd name="T9" fmla="*/ 4 h 18"/>
                <a:gd name="T10" fmla="*/ 0 w 11"/>
                <a:gd name="T11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18">
                  <a:moveTo>
                    <a:pt x="0" y="8"/>
                  </a:moveTo>
                  <a:cubicBezTo>
                    <a:pt x="5" y="18"/>
                    <a:pt x="5" y="18"/>
                    <a:pt x="5" y="18"/>
                  </a:cubicBezTo>
                  <a:cubicBezTo>
                    <a:pt x="9" y="14"/>
                    <a:pt x="11" y="9"/>
                    <a:pt x="11" y="4"/>
                  </a:cubicBezTo>
                  <a:cubicBezTo>
                    <a:pt x="11" y="3"/>
                    <a:pt x="11" y="1"/>
                    <a:pt x="11" y="0"/>
                  </a:cubicBezTo>
                  <a:cubicBezTo>
                    <a:pt x="1" y="4"/>
                    <a:pt x="1" y="4"/>
                    <a:pt x="1" y="4"/>
                  </a:cubicBezTo>
                  <a:lnTo>
                    <a:pt x="0" y="8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113" name="Freeform 8699"/>
            <p:cNvSpPr>
              <a:spLocks/>
            </p:cNvSpPr>
            <p:nvPr/>
          </p:nvSpPr>
          <p:spPr bwMode="auto">
            <a:xfrm>
              <a:off x="7080251" y="1119188"/>
              <a:ext cx="19050" cy="14287"/>
            </a:xfrm>
            <a:custGeom>
              <a:avLst/>
              <a:gdLst>
                <a:gd name="T0" fmla="*/ 0 w 16"/>
                <a:gd name="T1" fmla="*/ 0 h 13"/>
                <a:gd name="T2" fmla="*/ 2 w 16"/>
                <a:gd name="T3" fmla="*/ 11 h 13"/>
                <a:gd name="T4" fmla="*/ 5 w 16"/>
                <a:gd name="T5" fmla="*/ 13 h 13"/>
                <a:gd name="T6" fmla="*/ 16 w 16"/>
                <a:gd name="T7" fmla="*/ 11 h 13"/>
                <a:gd name="T8" fmla="*/ 0 w 16"/>
                <a:gd name="T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3">
                  <a:moveTo>
                    <a:pt x="0" y="0"/>
                  </a:moveTo>
                  <a:cubicBezTo>
                    <a:pt x="2" y="11"/>
                    <a:pt x="2" y="11"/>
                    <a:pt x="2" y="11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12" y="5"/>
                    <a:pt x="7" y="1"/>
                    <a:pt x="0" y="0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114" name="Freeform 8700"/>
            <p:cNvSpPr>
              <a:spLocks/>
            </p:cNvSpPr>
            <p:nvPr/>
          </p:nvSpPr>
          <p:spPr bwMode="auto">
            <a:xfrm>
              <a:off x="7053263" y="1119188"/>
              <a:ext cx="17463" cy="15875"/>
            </a:xfrm>
            <a:custGeom>
              <a:avLst/>
              <a:gdLst>
                <a:gd name="T0" fmla="*/ 0 w 14"/>
                <a:gd name="T1" fmla="*/ 12 h 14"/>
                <a:gd name="T2" fmla="*/ 10 w 14"/>
                <a:gd name="T3" fmla="*/ 14 h 14"/>
                <a:gd name="T4" fmla="*/ 13 w 14"/>
                <a:gd name="T5" fmla="*/ 12 h 14"/>
                <a:gd name="T6" fmla="*/ 14 w 14"/>
                <a:gd name="T7" fmla="*/ 0 h 14"/>
                <a:gd name="T8" fmla="*/ 0 w 14"/>
                <a:gd name="T9" fmla="*/ 1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4">
                  <a:moveTo>
                    <a:pt x="0" y="12"/>
                  </a:moveTo>
                  <a:cubicBezTo>
                    <a:pt x="10" y="14"/>
                    <a:pt x="10" y="14"/>
                    <a:pt x="10" y="14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8" y="2"/>
                    <a:pt x="3" y="6"/>
                    <a:pt x="0" y="12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115" name="Freeform 8701"/>
            <p:cNvSpPr>
              <a:spLocks/>
            </p:cNvSpPr>
            <p:nvPr/>
          </p:nvSpPr>
          <p:spPr bwMode="auto">
            <a:xfrm>
              <a:off x="6705601" y="990600"/>
              <a:ext cx="190500" cy="9525"/>
            </a:xfrm>
            <a:custGeom>
              <a:avLst/>
              <a:gdLst>
                <a:gd name="T0" fmla="*/ 159 w 159"/>
                <a:gd name="T1" fmla="*/ 7 h 7"/>
                <a:gd name="T2" fmla="*/ 137 w 159"/>
                <a:gd name="T3" fmla="*/ 1 h 7"/>
                <a:gd name="T4" fmla="*/ 45 w 159"/>
                <a:gd name="T5" fmla="*/ 1 h 7"/>
                <a:gd name="T6" fmla="*/ 0 w 159"/>
                <a:gd name="T7" fmla="*/ 7 h 7"/>
                <a:gd name="T8" fmla="*/ 159 w 159"/>
                <a:gd name="T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9" h="7">
                  <a:moveTo>
                    <a:pt x="159" y="7"/>
                  </a:moveTo>
                  <a:cubicBezTo>
                    <a:pt x="159" y="7"/>
                    <a:pt x="149" y="2"/>
                    <a:pt x="137" y="1"/>
                  </a:cubicBezTo>
                  <a:cubicBezTo>
                    <a:pt x="125" y="1"/>
                    <a:pt x="45" y="1"/>
                    <a:pt x="45" y="1"/>
                  </a:cubicBezTo>
                  <a:cubicBezTo>
                    <a:pt x="45" y="1"/>
                    <a:pt x="4" y="0"/>
                    <a:pt x="0" y="7"/>
                  </a:cubicBezTo>
                  <a:lnTo>
                    <a:pt x="159" y="7"/>
                  </a:lnTo>
                  <a:close/>
                </a:path>
              </a:pathLst>
            </a:custGeom>
            <a:solidFill>
              <a:srgbClr val="5F7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116" name="Freeform 8702"/>
            <p:cNvSpPr>
              <a:spLocks/>
            </p:cNvSpPr>
            <p:nvPr/>
          </p:nvSpPr>
          <p:spPr bwMode="auto">
            <a:xfrm>
              <a:off x="6980238" y="1044575"/>
              <a:ext cx="26988" cy="22225"/>
            </a:xfrm>
            <a:custGeom>
              <a:avLst/>
              <a:gdLst>
                <a:gd name="T0" fmla="*/ 23 w 23"/>
                <a:gd name="T1" fmla="*/ 15 h 18"/>
                <a:gd name="T2" fmla="*/ 12 w 23"/>
                <a:gd name="T3" fmla="*/ 18 h 18"/>
                <a:gd name="T4" fmla="*/ 1 w 23"/>
                <a:gd name="T5" fmla="*/ 13 h 18"/>
                <a:gd name="T6" fmla="*/ 1 w 23"/>
                <a:gd name="T7" fmla="*/ 6 h 18"/>
                <a:gd name="T8" fmla="*/ 8 w 23"/>
                <a:gd name="T9" fmla="*/ 0 h 18"/>
                <a:gd name="T10" fmla="*/ 23 w 23"/>
                <a:gd name="T11" fmla="*/ 13 h 18"/>
                <a:gd name="T12" fmla="*/ 23 w 23"/>
                <a:gd name="T13" fmla="*/ 1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" h="18">
                  <a:moveTo>
                    <a:pt x="23" y="15"/>
                  </a:moveTo>
                  <a:cubicBezTo>
                    <a:pt x="23" y="15"/>
                    <a:pt x="21" y="17"/>
                    <a:pt x="12" y="18"/>
                  </a:cubicBezTo>
                  <a:cubicBezTo>
                    <a:pt x="2" y="18"/>
                    <a:pt x="1" y="13"/>
                    <a:pt x="1" y="13"/>
                  </a:cubicBezTo>
                  <a:cubicBezTo>
                    <a:pt x="1" y="13"/>
                    <a:pt x="1" y="10"/>
                    <a:pt x="1" y="6"/>
                  </a:cubicBezTo>
                  <a:cubicBezTo>
                    <a:pt x="0" y="3"/>
                    <a:pt x="8" y="0"/>
                    <a:pt x="8" y="0"/>
                  </a:cubicBezTo>
                  <a:cubicBezTo>
                    <a:pt x="20" y="0"/>
                    <a:pt x="23" y="13"/>
                    <a:pt x="23" y="13"/>
                  </a:cubicBezTo>
                  <a:lnTo>
                    <a:pt x="23" y="15"/>
                  </a:ln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117" name="Freeform 8703"/>
            <p:cNvSpPr>
              <a:spLocks/>
            </p:cNvSpPr>
            <p:nvPr/>
          </p:nvSpPr>
          <p:spPr bwMode="auto">
            <a:xfrm>
              <a:off x="7177088" y="1125538"/>
              <a:ext cx="6350" cy="19050"/>
            </a:xfrm>
            <a:custGeom>
              <a:avLst/>
              <a:gdLst>
                <a:gd name="T0" fmla="*/ 0 w 5"/>
                <a:gd name="T1" fmla="*/ 0 h 15"/>
                <a:gd name="T2" fmla="*/ 0 w 5"/>
                <a:gd name="T3" fmla="*/ 15 h 15"/>
                <a:gd name="T4" fmla="*/ 5 w 5"/>
                <a:gd name="T5" fmla="*/ 15 h 15"/>
                <a:gd name="T6" fmla="*/ 5 w 5"/>
                <a:gd name="T7" fmla="*/ 14 h 15"/>
                <a:gd name="T8" fmla="*/ 5 w 5"/>
                <a:gd name="T9" fmla="*/ 0 h 15"/>
                <a:gd name="T10" fmla="*/ 0 w 5"/>
                <a:gd name="T11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15">
                  <a:moveTo>
                    <a:pt x="0" y="0"/>
                  </a:move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15"/>
                    <a:pt x="5" y="14"/>
                    <a:pt x="5" y="14"/>
                  </a:cubicBezTo>
                  <a:cubicBezTo>
                    <a:pt x="5" y="13"/>
                    <a:pt x="5" y="6"/>
                    <a:pt x="5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05A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118" name="Freeform 8704"/>
            <p:cNvSpPr>
              <a:spLocks/>
            </p:cNvSpPr>
            <p:nvPr/>
          </p:nvSpPr>
          <p:spPr bwMode="auto">
            <a:xfrm>
              <a:off x="7113588" y="1079500"/>
              <a:ext cx="57150" cy="19050"/>
            </a:xfrm>
            <a:custGeom>
              <a:avLst/>
              <a:gdLst>
                <a:gd name="T0" fmla="*/ 47 w 47"/>
                <a:gd name="T1" fmla="*/ 16 h 16"/>
                <a:gd name="T2" fmla="*/ 0 w 47"/>
                <a:gd name="T3" fmla="*/ 16 h 16"/>
                <a:gd name="T4" fmla="*/ 18 w 47"/>
                <a:gd name="T5" fmla="*/ 1 h 16"/>
                <a:gd name="T6" fmla="*/ 47 w 47"/>
                <a:gd name="T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" h="16">
                  <a:moveTo>
                    <a:pt x="47" y="16"/>
                  </a:move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9" y="1"/>
                    <a:pt x="18" y="1"/>
                  </a:cubicBezTo>
                  <a:cubicBezTo>
                    <a:pt x="27" y="1"/>
                    <a:pt x="36" y="0"/>
                    <a:pt x="47" y="16"/>
                  </a:cubicBezTo>
                  <a:close/>
                </a:path>
              </a:pathLst>
            </a:custGeom>
            <a:solidFill>
              <a:srgbClr val="F692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119" name="Freeform 8705"/>
            <p:cNvSpPr>
              <a:spLocks/>
            </p:cNvSpPr>
            <p:nvPr/>
          </p:nvSpPr>
          <p:spPr bwMode="auto">
            <a:xfrm>
              <a:off x="6754813" y="1009650"/>
              <a:ext cx="122238" cy="57150"/>
            </a:xfrm>
            <a:custGeom>
              <a:avLst/>
              <a:gdLst>
                <a:gd name="T0" fmla="*/ 0 w 103"/>
                <a:gd name="T1" fmla="*/ 48 h 48"/>
                <a:gd name="T2" fmla="*/ 0 w 103"/>
                <a:gd name="T3" fmla="*/ 48 h 48"/>
                <a:gd name="T4" fmla="*/ 10 w 103"/>
                <a:gd name="T5" fmla="*/ 48 h 48"/>
                <a:gd name="T6" fmla="*/ 103 w 103"/>
                <a:gd name="T7" fmla="*/ 48 h 48"/>
                <a:gd name="T8" fmla="*/ 93 w 103"/>
                <a:gd name="T9" fmla="*/ 0 h 48"/>
                <a:gd name="T10" fmla="*/ 2 w 103"/>
                <a:gd name="T11" fmla="*/ 6 h 48"/>
                <a:gd name="T12" fmla="*/ 0 w 103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48">
                  <a:moveTo>
                    <a:pt x="0" y="48"/>
                  </a:moveTo>
                  <a:cubicBezTo>
                    <a:pt x="0" y="48"/>
                    <a:pt x="0" y="48"/>
                    <a:pt x="0" y="48"/>
                  </a:cubicBezTo>
                  <a:cubicBezTo>
                    <a:pt x="4" y="48"/>
                    <a:pt x="7" y="48"/>
                    <a:pt x="10" y="48"/>
                  </a:cubicBezTo>
                  <a:cubicBezTo>
                    <a:pt x="16" y="48"/>
                    <a:pt x="103" y="48"/>
                    <a:pt x="103" y="48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93" y="0"/>
                    <a:pt x="40" y="4"/>
                    <a:pt x="2" y="6"/>
                  </a:cubicBezTo>
                  <a:lnTo>
                    <a:pt x="0" y="48"/>
                  </a:lnTo>
                  <a:close/>
                </a:path>
              </a:pathLst>
            </a:custGeom>
            <a:solidFill>
              <a:srgbClr val="BCD2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120" name="Freeform 8706"/>
            <p:cNvSpPr>
              <a:spLocks noEditPoints="1"/>
            </p:cNvSpPr>
            <p:nvPr/>
          </p:nvSpPr>
          <p:spPr bwMode="auto">
            <a:xfrm>
              <a:off x="6753226" y="1008063"/>
              <a:ext cx="125413" cy="60325"/>
            </a:xfrm>
            <a:custGeom>
              <a:avLst/>
              <a:gdLst>
                <a:gd name="T0" fmla="*/ 1 w 105"/>
                <a:gd name="T1" fmla="*/ 50 h 50"/>
                <a:gd name="T2" fmla="*/ 11 w 105"/>
                <a:gd name="T3" fmla="*/ 50 h 50"/>
                <a:gd name="T4" fmla="*/ 38 w 105"/>
                <a:gd name="T5" fmla="*/ 50 h 50"/>
                <a:gd name="T6" fmla="*/ 104 w 105"/>
                <a:gd name="T7" fmla="*/ 50 h 50"/>
                <a:gd name="T8" fmla="*/ 105 w 105"/>
                <a:gd name="T9" fmla="*/ 50 h 50"/>
                <a:gd name="T10" fmla="*/ 95 w 105"/>
                <a:gd name="T11" fmla="*/ 0 h 50"/>
                <a:gd name="T12" fmla="*/ 94 w 105"/>
                <a:gd name="T13" fmla="*/ 0 h 50"/>
                <a:gd name="T14" fmla="*/ 3 w 105"/>
                <a:gd name="T15" fmla="*/ 6 h 50"/>
                <a:gd name="T16" fmla="*/ 2 w 105"/>
                <a:gd name="T17" fmla="*/ 6 h 50"/>
                <a:gd name="T18" fmla="*/ 0 w 105"/>
                <a:gd name="T19" fmla="*/ 50 h 50"/>
                <a:gd name="T20" fmla="*/ 1 w 105"/>
                <a:gd name="T21" fmla="*/ 50 h 50"/>
                <a:gd name="T22" fmla="*/ 38 w 105"/>
                <a:gd name="T23" fmla="*/ 48 h 50"/>
                <a:gd name="T24" fmla="*/ 11 w 105"/>
                <a:gd name="T25" fmla="*/ 48 h 50"/>
                <a:gd name="T26" fmla="*/ 2 w 105"/>
                <a:gd name="T27" fmla="*/ 48 h 50"/>
                <a:gd name="T28" fmla="*/ 4 w 105"/>
                <a:gd name="T29" fmla="*/ 8 h 50"/>
                <a:gd name="T30" fmla="*/ 93 w 105"/>
                <a:gd name="T31" fmla="*/ 2 h 50"/>
                <a:gd name="T32" fmla="*/ 102 w 105"/>
                <a:gd name="T33" fmla="*/ 48 h 50"/>
                <a:gd name="T34" fmla="*/ 38 w 105"/>
                <a:gd name="T35" fmla="*/ 48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5" h="50">
                  <a:moveTo>
                    <a:pt x="1" y="50"/>
                  </a:moveTo>
                  <a:cubicBezTo>
                    <a:pt x="5" y="50"/>
                    <a:pt x="9" y="50"/>
                    <a:pt x="11" y="50"/>
                  </a:cubicBezTo>
                  <a:cubicBezTo>
                    <a:pt x="12" y="50"/>
                    <a:pt x="21" y="50"/>
                    <a:pt x="38" y="50"/>
                  </a:cubicBezTo>
                  <a:cubicBezTo>
                    <a:pt x="65" y="50"/>
                    <a:pt x="104" y="50"/>
                    <a:pt x="104" y="50"/>
                  </a:cubicBezTo>
                  <a:cubicBezTo>
                    <a:pt x="105" y="50"/>
                    <a:pt x="105" y="50"/>
                    <a:pt x="105" y="5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0"/>
                    <a:pt x="41" y="4"/>
                    <a:pt x="3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0" y="50"/>
                    <a:pt x="0" y="50"/>
                    <a:pt x="0" y="50"/>
                  </a:cubicBezTo>
                  <a:lnTo>
                    <a:pt x="1" y="50"/>
                  </a:lnTo>
                  <a:close/>
                  <a:moveTo>
                    <a:pt x="38" y="48"/>
                  </a:moveTo>
                  <a:cubicBezTo>
                    <a:pt x="21" y="48"/>
                    <a:pt x="12" y="48"/>
                    <a:pt x="11" y="48"/>
                  </a:cubicBezTo>
                  <a:cubicBezTo>
                    <a:pt x="9" y="48"/>
                    <a:pt x="6" y="48"/>
                    <a:pt x="2" y="4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39" y="6"/>
                    <a:pt x="86" y="3"/>
                    <a:pt x="93" y="2"/>
                  </a:cubicBezTo>
                  <a:cubicBezTo>
                    <a:pt x="102" y="48"/>
                    <a:pt x="102" y="48"/>
                    <a:pt x="102" y="48"/>
                  </a:cubicBezTo>
                  <a:cubicBezTo>
                    <a:pt x="96" y="48"/>
                    <a:pt x="62" y="48"/>
                    <a:pt x="38" y="48"/>
                  </a:cubicBezTo>
                  <a:close/>
                </a:path>
              </a:pathLst>
            </a:custGeom>
            <a:solidFill>
              <a:srgbClr val="5F7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121" name="Freeform 8707"/>
            <p:cNvSpPr>
              <a:spLocks/>
            </p:cNvSpPr>
            <p:nvPr/>
          </p:nvSpPr>
          <p:spPr bwMode="auto">
            <a:xfrm>
              <a:off x="6672263" y="1016000"/>
              <a:ext cx="85725" cy="50800"/>
            </a:xfrm>
            <a:custGeom>
              <a:avLst/>
              <a:gdLst>
                <a:gd name="T0" fmla="*/ 8 w 71"/>
                <a:gd name="T1" fmla="*/ 36 h 42"/>
                <a:gd name="T2" fmla="*/ 52 w 71"/>
                <a:gd name="T3" fmla="*/ 42 h 42"/>
                <a:gd name="T4" fmla="*/ 69 w 71"/>
                <a:gd name="T5" fmla="*/ 42 h 42"/>
                <a:gd name="T6" fmla="*/ 69 w 71"/>
                <a:gd name="T7" fmla="*/ 42 h 42"/>
                <a:gd name="T8" fmla="*/ 71 w 71"/>
                <a:gd name="T9" fmla="*/ 0 h 42"/>
                <a:gd name="T10" fmla="*/ 33 w 71"/>
                <a:gd name="T11" fmla="*/ 2 h 42"/>
                <a:gd name="T12" fmla="*/ 15 w 71"/>
                <a:gd name="T13" fmla="*/ 8 h 42"/>
                <a:gd name="T14" fmla="*/ 5 w 71"/>
                <a:gd name="T15" fmla="*/ 26 h 42"/>
                <a:gd name="T16" fmla="*/ 8 w 71"/>
                <a:gd name="T17" fmla="*/ 3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2">
                  <a:moveTo>
                    <a:pt x="8" y="36"/>
                  </a:moveTo>
                  <a:cubicBezTo>
                    <a:pt x="17" y="39"/>
                    <a:pt x="52" y="42"/>
                    <a:pt x="52" y="42"/>
                  </a:cubicBezTo>
                  <a:cubicBezTo>
                    <a:pt x="52" y="42"/>
                    <a:pt x="61" y="42"/>
                    <a:pt x="69" y="42"/>
                  </a:cubicBezTo>
                  <a:cubicBezTo>
                    <a:pt x="69" y="42"/>
                    <a:pt x="69" y="42"/>
                    <a:pt x="69" y="42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1" y="1"/>
                    <a:pt x="35" y="2"/>
                    <a:pt x="33" y="2"/>
                  </a:cubicBezTo>
                  <a:cubicBezTo>
                    <a:pt x="33" y="2"/>
                    <a:pt x="19" y="2"/>
                    <a:pt x="15" y="8"/>
                  </a:cubicBezTo>
                  <a:cubicBezTo>
                    <a:pt x="12" y="14"/>
                    <a:pt x="5" y="26"/>
                    <a:pt x="5" y="26"/>
                  </a:cubicBezTo>
                  <a:cubicBezTo>
                    <a:pt x="5" y="26"/>
                    <a:pt x="0" y="33"/>
                    <a:pt x="8" y="36"/>
                  </a:cubicBezTo>
                  <a:close/>
                </a:path>
              </a:pathLst>
            </a:custGeom>
            <a:solidFill>
              <a:srgbClr val="BCD2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122" name="Freeform 8708"/>
            <p:cNvSpPr>
              <a:spLocks noEditPoints="1"/>
            </p:cNvSpPr>
            <p:nvPr/>
          </p:nvSpPr>
          <p:spPr bwMode="auto">
            <a:xfrm>
              <a:off x="6675438" y="1016000"/>
              <a:ext cx="82550" cy="52387"/>
            </a:xfrm>
            <a:custGeom>
              <a:avLst/>
              <a:gdLst>
                <a:gd name="T0" fmla="*/ 67 w 70"/>
                <a:gd name="T1" fmla="*/ 44 h 44"/>
                <a:gd name="T2" fmla="*/ 68 w 70"/>
                <a:gd name="T3" fmla="*/ 44 h 44"/>
                <a:gd name="T4" fmla="*/ 68 w 70"/>
                <a:gd name="T5" fmla="*/ 43 h 44"/>
                <a:gd name="T6" fmla="*/ 70 w 70"/>
                <a:gd name="T7" fmla="*/ 0 h 44"/>
                <a:gd name="T8" fmla="*/ 69 w 70"/>
                <a:gd name="T9" fmla="*/ 0 h 44"/>
                <a:gd name="T10" fmla="*/ 31 w 70"/>
                <a:gd name="T11" fmla="*/ 2 h 44"/>
                <a:gd name="T12" fmla="*/ 13 w 70"/>
                <a:gd name="T13" fmla="*/ 8 h 44"/>
                <a:gd name="T14" fmla="*/ 3 w 70"/>
                <a:gd name="T15" fmla="*/ 27 h 44"/>
                <a:gd name="T16" fmla="*/ 1 w 70"/>
                <a:gd name="T17" fmla="*/ 34 h 44"/>
                <a:gd name="T18" fmla="*/ 6 w 70"/>
                <a:gd name="T19" fmla="*/ 38 h 44"/>
                <a:gd name="T20" fmla="*/ 50 w 70"/>
                <a:gd name="T21" fmla="*/ 44 h 44"/>
                <a:gd name="T22" fmla="*/ 67 w 70"/>
                <a:gd name="T23" fmla="*/ 44 h 44"/>
                <a:gd name="T24" fmla="*/ 68 w 70"/>
                <a:gd name="T25" fmla="*/ 2 h 44"/>
                <a:gd name="T26" fmla="*/ 66 w 70"/>
                <a:gd name="T27" fmla="*/ 42 h 44"/>
                <a:gd name="T28" fmla="*/ 50 w 70"/>
                <a:gd name="T29" fmla="*/ 42 h 44"/>
                <a:gd name="T30" fmla="*/ 7 w 70"/>
                <a:gd name="T31" fmla="*/ 36 h 44"/>
                <a:gd name="T32" fmla="*/ 3 w 70"/>
                <a:gd name="T33" fmla="*/ 33 h 44"/>
                <a:gd name="T34" fmla="*/ 4 w 70"/>
                <a:gd name="T35" fmla="*/ 28 h 44"/>
                <a:gd name="T36" fmla="*/ 4 w 70"/>
                <a:gd name="T37" fmla="*/ 28 h 44"/>
                <a:gd name="T38" fmla="*/ 14 w 70"/>
                <a:gd name="T39" fmla="*/ 10 h 44"/>
                <a:gd name="T40" fmla="*/ 31 w 70"/>
                <a:gd name="T41" fmla="*/ 4 h 44"/>
                <a:gd name="T42" fmla="*/ 68 w 70"/>
                <a:gd name="T43" fmla="*/ 2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0" h="44">
                  <a:moveTo>
                    <a:pt x="67" y="44"/>
                  </a:moveTo>
                  <a:cubicBezTo>
                    <a:pt x="68" y="44"/>
                    <a:pt x="68" y="44"/>
                    <a:pt x="68" y="44"/>
                  </a:cubicBezTo>
                  <a:cubicBezTo>
                    <a:pt x="68" y="43"/>
                    <a:pt x="68" y="43"/>
                    <a:pt x="68" y="43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69" y="0"/>
                    <a:pt x="69" y="0"/>
                    <a:pt x="69" y="0"/>
                  </a:cubicBezTo>
                  <a:cubicBezTo>
                    <a:pt x="51" y="1"/>
                    <a:pt x="33" y="2"/>
                    <a:pt x="31" y="2"/>
                  </a:cubicBezTo>
                  <a:cubicBezTo>
                    <a:pt x="30" y="2"/>
                    <a:pt x="17" y="2"/>
                    <a:pt x="13" y="8"/>
                  </a:cubicBezTo>
                  <a:cubicBezTo>
                    <a:pt x="9" y="14"/>
                    <a:pt x="3" y="26"/>
                    <a:pt x="3" y="27"/>
                  </a:cubicBezTo>
                  <a:cubicBezTo>
                    <a:pt x="2" y="27"/>
                    <a:pt x="0" y="30"/>
                    <a:pt x="1" y="34"/>
                  </a:cubicBezTo>
                  <a:cubicBezTo>
                    <a:pt x="1" y="36"/>
                    <a:pt x="3" y="37"/>
                    <a:pt x="6" y="38"/>
                  </a:cubicBezTo>
                  <a:cubicBezTo>
                    <a:pt x="15" y="41"/>
                    <a:pt x="48" y="44"/>
                    <a:pt x="50" y="44"/>
                  </a:cubicBezTo>
                  <a:cubicBezTo>
                    <a:pt x="50" y="44"/>
                    <a:pt x="59" y="44"/>
                    <a:pt x="67" y="44"/>
                  </a:cubicBezTo>
                  <a:close/>
                  <a:moveTo>
                    <a:pt x="68" y="2"/>
                  </a:moveTo>
                  <a:cubicBezTo>
                    <a:pt x="66" y="42"/>
                    <a:pt x="66" y="42"/>
                    <a:pt x="66" y="42"/>
                  </a:cubicBezTo>
                  <a:cubicBezTo>
                    <a:pt x="58" y="42"/>
                    <a:pt x="50" y="42"/>
                    <a:pt x="50" y="42"/>
                  </a:cubicBezTo>
                  <a:cubicBezTo>
                    <a:pt x="50" y="42"/>
                    <a:pt x="15" y="39"/>
                    <a:pt x="7" y="36"/>
                  </a:cubicBezTo>
                  <a:cubicBezTo>
                    <a:pt x="4" y="35"/>
                    <a:pt x="3" y="34"/>
                    <a:pt x="3" y="33"/>
                  </a:cubicBezTo>
                  <a:cubicBezTo>
                    <a:pt x="2" y="31"/>
                    <a:pt x="4" y="28"/>
                    <a:pt x="4" y="28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4" y="28"/>
                    <a:pt x="11" y="15"/>
                    <a:pt x="14" y="10"/>
                  </a:cubicBezTo>
                  <a:cubicBezTo>
                    <a:pt x="18" y="4"/>
                    <a:pt x="31" y="4"/>
                    <a:pt x="31" y="4"/>
                  </a:cubicBezTo>
                  <a:cubicBezTo>
                    <a:pt x="33" y="4"/>
                    <a:pt x="47" y="4"/>
                    <a:pt x="68" y="2"/>
                  </a:cubicBezTo>
                  <a:close/>
                </a:path>
              </a:pathLst>
            </a:custGeom>
            <a:solidFill>
              <a:srgbClr val="5F7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123" name="Freeform 8709"/>
            <p:cNvSpPr>
              <a:spLocks noEditPoints="1"/>
            </p:cNvSpPr>
            <p:nvPr/>
          </p:nvSpPr>
          <p:spPr bwMode="auto">
            <a:xfrm>
              <a:off x="6753226" y="1066800"/>
              <a:ext cx="136525" cy="82550"/>
            </a:xfrm>
            <a:custGeom>
              <a:avLst/>
              <a:gdLst>
                <a:gd name="T0" fmla="*/ 48 w 115"/>
                <a:gd name="T1" fmla="*/ 68 h 68"/>
                <a:gd name="T2" fmla="*/ 115 w 115"/>
                <a:gd name="T3" fmla="*/ 68 h 68"/>
                <a:gd name="T4" fmla="*/ 106 w 115"/>
                <a:gd name="T5" fmla="*/ 0 h 68"/>
                <a:gd name="T6" fmla="*/ 105 w 115"/>
                <a:gd name="T7" fmla="*/ 0 h 68"/>
                <a:gd name="T8" fmla="*/ 39 w 115"/>
                <a:gd name="T9" fmla="*/ 0 h 68"/>
                <a:gd name="T10" fmla="*/ 12 w 115"/>
                <a:gd name="T11" fmla="*/ 0 h 68"/>
                <a:gd name="T12" fmla="*/ 2 w 115"/>
                <a:gd name="T13" fmla="*/ 0 h 68"/>
                <a:gd name="T14" fmla="*/ 1 w 115"/>
                <a:gd name="T15" fmla="*/ 0 h 68"/>
                <a:gd name="T16" fmla="*/ 1 w 115"/>
                <a:gd name="T17" fmla="*/ 1 h 68"/>
                <a:gd name="T18" fmla="*/ 8 w 115"/>
                <a:gd name="T19" fmla="*/ 16 h 68"/>
                <a:gd name="T20" fmla="*/ 40 w 115"/>
                <a:gd name="T21" fmla="*/ 63 h 68"/>
                <a:gd name="T22" fmla="*/ 48 w 115"/>
                <a:gd name="T23" fmla="*/ 68 h 68"/>
                <a:gd name="T24" fmla="*/ 113 w 115"/>
                <a:gd name="T25" fmla="*/ 66 h 68"/>
                <a:gd name="T26" fmla="*/ 48 w 115"/>
                <a:gd name="T27" fmla="*/ 66 h 68"/>
                <a:gd name="T28" fmla="*/ 41 w 115"/>
                <a:gd name="T29" fmla="*/ 63 h 68"/>
                <a:gd name="T30" fmla="*/ 9 w 115"/>
                <a:gd name="T31" fmla="*/ 15 h 68"/>
                <a:gd name="T32" fmla="*/ 3 w 115"/>
                <a:gd name="T33" fmla="*/ 2 h 68"/>
                <a:gd name="T34" fmla="*/ 12 w 115"/>
                <a:gd name="T35" fmla="*/ 2 h 68"/>
                <a:gd name="T36" fmla="*/ 39 w 115"/>
                <a:gd name="T37" fmla="*/ 2 h 68"/>
                <a:gd name="T38" fmla="*/ 104 w 115"/>
                <a:gd name="T39" fmla="*/ 2 h 68"/>
                <a:gd name="T40" fmla="*/ 113 w 115"/>
                <a:gd name="T41" fmla="*/ 66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5" h="68">
                  <a:moveTo>
                    <a:pt x="48" y="68"/>
                  </a:moveTo>
                  <a:cubicBezTo>
                    <a:pt x="115" y="68"/>
                    <a:pt x="115" y="68"/>
                    <a:pt x="115" y="68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05" y="0"/>
                    <a:pt x="105" y="0"/>
                    <a:pt x="105" y="0"/>
                  </a:cubicBezTo>
                  <a:cubicBezTo>
                    <a:pt x="105" y="0"/>
                    <a:pt x="66" y="0"/>
                    <a:pt x="39" y="0"/>
                  </a:cubicBezTo>
                  <a:cubicBezTo>
                    <a:pt x="22" y="0"/>
                    <a:pt x="13" y="0"/>
                    <a:pt x="12" y="0"/>
                  </a:cubicBezTo>
                  <a:cubicBezTo>
                    <a:pt x="10" y="0"/>
                    <a:pt x="6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2"/>
                    <a:pt x="0" y="6"/>
                    <a:pt x="8" y="16"/>
                  </a:cubicBezTo>
                  <a:cubicBezTo>
                    <a:pt x="16" y="26"/>
                    <a:pt x="39" y="63"/>
                    <a:pt x="40" y="63"/>
                  </a:cubicBezTo>
                  <a:cubicBezTo>
                    <a:pt x="40" y="64"/>
                    <a:pt x="42" y="68"/>
                    <a:pt x="48" y="68"/>
                  </a:cubicBezTo>
                  <a:close/>
                  <a:moveTo>
                    <a:pt x="113" y="66"/>
                  </a:moveTo>
                  <a:cubicBezTo>
                    <a:pt x="48" y="66"/>
                    <a:pt x="48" y="66"/>
                    <a:pt x="48" y="66"/>
                  </a:cubicBezTo>
                  <a:cubicBezTo>
                    <a:pt x="43" y="66"/>
                    <a:pt x="42" y="63"/>
                    <a:pt x="41" y="63"/>
                  </a:cubicBezTo>
                  <a:cubicBezTo>
                    <a:pt x="41" y="62"/>
                    <a:pt x="18" y="25"/>
                    <a:pt x="9" y="15"/>
                  </a:cubicBezTo>
                  <a:cubicBezTo>
                    <a:pt x="4" y="8"/>
                    <a:pt x="3" y="4"/>
                    <a:pt x="3" y="2"/>
                  </a:cubicBezTo>
                  <a:cubicBezTo>
                    <a:pt x="7" y="2"/>
                    <a:pt x="10" y="2"/>
                    <a:pt x="12" y="2"/>
                  </a:cubicBezTo>
                  <a:cubicBezTo>
                    <a:pt x="13" y="2"/>
                    <a:pt x="22" y="2"/>
                    <a:pt x="39" y="2"/>
                  </a:cubicBezTo>
                  <a:cubicBezTo>
                    <a:pt x="64" y="2"/>
                    <a:pt x="98" y="2"/>
                    <a:pt x="104" y="2"/>
                  </a:cubicBezTo>
                  <a:lnTo>
                    <a:pt x="113" y="66"/>
                  </a:lnTo>
                  <a:close/>
                </a:path>
              </a:pathLst>
            </a:custGeom>
            <a:solidFill>
              <a:srgbClr val="5F7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124" name="Freeform 8710"/>
            <p:cNvSpPr>
              <a:spLocks noEditPoints="1"/>
            </p:cNvSpPr>
            <p:nvPr/>
          </p:nvSpPr>
          <p:spPr bwMode="auto">
            <a:xfrm>
              <a:off x="6877051" y="1066800"/>
              <a:ext cx="147638" cy="82550"/>
            </a:xfrm>
            <a:custGeom>
              <a:avLst/>
              <a:gdLst>
                <a:gd name="T0" fmla="*/ 9 w 124"/>
                <a:gd name="T1" fmla="*/ 68 h 68"/>
                <a:gd name="T2" fmla="*/ 112 w 124"/>
                <a:gd name="T3" fmla="*/ 68 h 68"/>
                <a:gd name="T4" fmla="*/ 112 w 124"/>
                <a:gd name="T5" fmla="*/ 68 h 68"/>
                <a:gd name="T6" fmla="*/ 124 w 124"/>
                <a:gd name="T7" fmla="*/ 39 h 68"/>
                <a:gd name="T8" fmla="*/ 124 w 124"/>
                <a:gd name="T9" fmla="*/ 39 h 68"/>
                <a:gd name="T10" fmla="*/ 124 w 124"/>
                <a:gd name="T11" fmla="*/ 0 h 68"/>
                <a:gd name="T12" fmla="*/ 0 w 124"/>
                <a:gd name="T13" fmla="*/ 0 h 68"/>
                <a:gd name="T14" fmla="*/ 9 w 124"/>
                <a:gd name="T15" fmla="*/ 68 h 68"/>
                <a:gd name="T16" fmla="*/ 111 w 124"/>
                <a:gd name="T17" fmla="*/ 66 h 68"/>
                <a:gd name="T18" fmla="*/ 11 w 124"/>
                <a:gd name="T19" fmla="*/ 66 h 68"/>
                <a:gd name="T20" fmla="*/ 2 w 124"/>
                <a:gd name="T21" fmla="*/ 2 h 68"/>
                <a:gd name="T22" fmla="*/ 122 w 124"/>
                <a:gd name="T23" fmla="*/ 2 h 68"/>
                <a:gd name="T24" fmla="*/ 122 w 124"/>
                <a:gd name="T25" fmla="*/ 39 h 68"/>
                <a:gd name="T26" fmla="*/ 111 w 124"/>
                <a:gd name="T27" fmla="*/ 66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4" h="68">
                  <a:moveTo>
                    <a:pt x="9" y="68"/>
                  </a:moveTo>
                  <a:cubicBezTo>
                    <a:pt x="112" y="68"/>
                    <a:pt x="112" y="68"/>
                    <a:pt x="112" y="68"/>
                  </a:cubicBezTo>
                  <a:cubicBezTo>
                    <a:pt x="112" y="68"/>
                    <a:pt x="112" y="68"/>
                    <a:pt x="112" y="68"/>
                  </a:cubicBezTo>
                  <a:cubicBezTo>
                    <a:pt x="118" y="57"/>
                    <a:pt x="124" y="39"/>
                    <a:pt x="124" y="39"/>
                  </a:cubicBezTo>
                  <a:cubicBezTo>
                    <a:pt x="124" y="39"/>
                    <a:pt x="124" y="39"/>
                    <a:pt x="124" y="39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9" y="68"/>
                  </a:lnTo>
                  <a:close/>
                  <a:moveTo>
                    <a:pt x="111" y="66"/>
                  </a:moveTo>
                  <a:cubicBezTo>
                    <a:pt x="11" y="66"/>
                    <a:pt x="11" y="66"/>
                    <a:pt x="11" y="66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122" y="2"/>
                    <a:pt x="122" y="2"/>
                    <a:pt x="122" y="2"/>
                  </a:cubicBezTo>
                  <a:cubicBezTo>
                    <a:pt x="122" y="39"/>
                    <a:pt x="122" y="39"/>
                    <a:pt x="122" y="39"/>
                  </a:cubicBezTo>
                  <a:cubicBezTo>
                    <a:pt x="122" y="40"/>
                    <a:pt x="116" y="56"/>
                    <a:pt x="111" y="66"/>
                  </a:cubicBezTo>
                  <a:close/>
                </a:path>
              </a:pathLst>
            </a:custGeom>
            <a:solidFill>
              <a:srgbClr val="5F7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125" name="Freeform 8711"/>
            <p:cNvSpPr>
              <a:spLocks/>
            </p:cNvSpPr>
            <p:nvPr/>
          </p:nvSpPr>
          <p:spPr bwMode="auto">
            <a:xfrm>
              <a:off x="6888163" y="1079500"/>
              <a:ext cx="33338" cy="6350"/>
            </a:xfrm>
            <a:custGeom>
              <a:avLst/>
              <a:gdLst>
                <a:gd name="T0" fmla="*/ 0 w 27"/>
                <a:gd name="T1" fmla="*/ 2 h 5"/>
                <a:gd name="T2" fmla="*/ 2 w 27"/>
                <a:gd name="T3" fmla="*/ 5 h 5"/>
                <a:gd name="T4" fmla="*/ 25 w 27"/>
                <a:gd name="T5" fmla="*/ 5 h 5"/>
                <a:gd name="T6" fmla="*/ 27 w 27"/>
                <a:gd name="T7" fmla="*/ 2 h 5"/>
                <a:gd name="T8" fmla="*/ 27 w 27"/>
                <a:gd name="T9" fmla="*/ 2 h 5"/>
                <a:gd name="T10" fmla="*/ 25 w 27"/>
                <a:gd name="T11" fmla="*/ 0 h 5"/>
                <a:gd name="T12" fmla="*/ 2 w 27"/>
                <a:gd name="T13" fmla="*/ 0 h 5"/>
                <a:gd name="T14" fmla="*/ 0 w 27"/>
                <a:gd name="T15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" h="5">
                  <a:moveTo>
                    <a:pt x="0" y="2"/>
                  </a:moveTo>
                  <a:cubicBezTo>
                    <a:pt x="0" y="4"/>
                    <a:pt x="1" y="5"/>
                    <a:pt x="2" y="5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26" y="5"/>
                    <a:pt x="27" y="4"/>
                    <a:pt x="27" y="2"/>
                  </a:cubicBezTo>
                  <a:cubicBezTo>
                    <a:pt x="27" y="2"/>
                    <a:pt x="27" y="2"/>
                    <a:pt x="27" y="2"/>
                  </a:cubicBezTo>
                  <a:cubicBezTo>
                    <a:pt x="27" y="1"/>
                    <a:pt x="26" y="0"/>
                    <a:pt x="25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126" name="Freeform 8712"/>
            <p:cNvSpPr>
              <a:spLocks/>
            </p:cNvSpPr>
            <p:nvPr/>
          </p:nvSpPr>
          <p:spPr bwMode="auto">
            <a:xfrm>
              <a:off x="6767513" y="1079500"/>
              <a:ext cx="33338" cy="6350"/>
            </a:xfrm>
            <a:custGeom>
              <a:avLst/>
              <a:gdLst>
                <a:gd name="T0" fmla="*/ 0 w 28"/>
                <a:gd name="T1" fmla="*/ 2 h 5"/>
                <a:gd name="T2" fmla="*/ 3 w 28"/>
                <a:gd name="T3" fmla="*/ 5 h 5"/>
                <a:gd name="T4" fmla="*/ 25 w 28"/>
                <a:gd name="T5" fmla="*/ 5 h 5"/>
                <a:gd name="T6" fmla="*/ 28 w 28"/>
                <a:gd name="T7" fmla="*/ 2 h 5"/>
                <a:gd name="T8" fmla="*/ 28 w 28"/>
                <a:gd name="T9" fmla="*/ 2 h 5"/>
                <a:gd name="T10" fmla="*/ 25 w 28"/>
                <a:gd name="T11" fmla="*/ 0 h 5"/>
                <a:gd name="T12" fmla="*/ 3 w 28"/>
                <a:gd name="T13" fmla="*/ 0 h 5"/>
                <a:gd name="T14" fmla="*/ 0 w 28"/>
                <a:gd name="T15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" h="5">
                  <a:moveTo>
                    <a:pt x="0" y="2"/>
                  </a:moveTo>
                  <a:cubicBezTo>
                    <a:pt x="0" y="4"/>
                    <a:pt x="1" y="5"/>
                    <a:pt x="3" y="5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26" y="5"/>
                    <a:pt x="28" y="4"/>
                    <a:pt x="28" y="2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8" y="1"/>
                    <a:pt x="26" y="0"/>
                    <a:pt x="25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127" name="Freeform 8713"/>
            <p:cNvSpPr>
              <a:spLocks/>
            </p:cNvSpPr>
            <p:nvPr/>
          </p:nvSpPr>
          <p:spPr bwMode="auto">
            <a:xfrm>
              <a:off x="6618288" y="1016000"/>
              <a:ext cx="61913" cy="49212"/>
            </a:xfrm>
            <a:custGeom>
              <a:avLst/>
              <a:gdLst>
                <a:gd name="T0" fmla="*/ 0 w 53"/>
                <a:gd name="T1" fmla="*/ 40 h 40"/>
                <a:gd name="T2" fmla="*/ 14 w 53"/>
                <a:gd name="T3" fmla="*/ 40 h 40"/>
                <a:gd name="T4" fmla="*/ 19 w 53"/>
                <a:gd name="T5" fmla="*/ 31 h 40"/>
                <a:gd name="T6" fmla="*/ 49 w 53"/>
                <a:gd name="T7" fmla="*/ 8 h 40"/>
                <a:gd name="T8" fmla="*/ 51 w 53"/>
                <a:gd name="T9" fmla="*/ 6 h 40"/>
                <a:gd name="T10" fmla="*/ 53 w 53"/>
                <a:gd name="T11" fmla="*/ 3 h 40"/>
                <a:gd name="T12" fmla="*/ 30 w 53"/>
                <a:gd name="T13" fmla="*/ 0 h 40"/>
                <a:gd name="T14" fmla="*/ 30 w 53"/>
                <a:gd name="T15" fmla="*/ 0 h 40"/>
                <a:gd name="T16" fmla="*/ 5 w 53"/>
                <a:gd name="T17" fmla="*/ 30 h 40"/>
                <a:gd name="T18" fmla="*/ 0 w 53"/>
                <a:gd name="T19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3" h="40">
                  <a:moveTo>
                    <a:pt x="0" y="40"/>
                  </a:moveTo>
                  <a:cubicBezTo>
                    <a:pt x="14" y="40"/>
                    <a:pt x="14" y="40"/>
                    <a:pt x="14" y="40"/>
                  </a:cubicBezTo>
                  <a:cubicBezTo>
                    <a:pt x="15" y="37"/>
                    <a:pt x="17" y="34"/>
                    <a:pt x="19" y="31"/>
                  </a:cubicBezTo>
                  <a:cubicBezTo>
                    <a:pt x="49" y="8"/>
                    <a:pt x="49" y="8"/>
                    <a:pt x="49" y="8"/>
                  </a:cubicBezTo>
                  <a:cubicBezTo>
                    <a:pt x="51" y="6"/>
                    <a:pt x="51" y="6"/>
                    <a:pt x="51" y="6"/>
                  </a:cubicBezTo>
                  <a:cubicBezTo>
                    <a:pt x="53" y="3"/>
                    <a:pt x="53" y="3"/>
                    <a:pt x="53" y="3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21" y="11"/>
                    <a:pt x="5" y="30"/>
                    <a:pt x="5" y="30"/>
                  </a:cubicBezTo>
                  <a:cubicBezTo>
                    <a:pt x="5" y="30"/>
                    <a:pt x="2" y="35"/>
                    <a:pt x="0" y="40"/>
                  </a:cubicBezTo>
                  <a:close/>
                </a:path>
              </a:pathLst>
            </a:custGeom>
            <a:solidFill>
              <a:srgbClr val="BCD2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128" name="Freeform 8714"/>
            <p:cNvSpPr>
              <a:spLocks/>
            </p:cNvSpPr>
            <p:nvPr/>
          </p:nvSpPr>
          <p:spPr bwMode="auto">
            <a:xfrm>
              <a:off x="6632576" y="1027113"/>
              <a:ext cx="42863" cy="63500"/>
            </a:xfrm>
            <a:custGeom>
              <a:avLst/>
              <a:gdLst>
                <a:gd name="T0" fmla="*/ 0 w 37"/>
                <a:gd name="T1" fmla="*/ 38 h 53"/>
                <a:gd name="T2" fmla="*/ 0 w 37"/>
                <a:gd name="T3" fmla="*/ 53 h 53"/>
                <a:gd name="T4" fmla="*/ 21 w 37"/>
                <a:gd name="T5" fmla="*/ 53 h 53"/>
                <a:gd name="T6" fmla="*/ 20 w 37"/>
                <a:gd name="T7" fmla="*/ 38 h 53"/>
                <a:gd name="T8" fmla="*/ 24 w 37"/>
                <a:gd name="T9" fmla="*/ 18 h 53"/>
                <a:gd name="T10" fmla="*/ 37 w 37"/>
                <a:gd name="T11" fmla="*/ 0 h 53"/>
                <a:gd name="T12" fmla="*/ 7 w 37"/>
                <a:gd name="T13" fmla="*/ 23 h 53"/>
                <a:gd name="T14" fmla="*/ 2 w 37"/>
                <a:gd name="T15" fmla="*/ 32 h 53"/>
                <a:gd name="T16" fmla="*/ 0 w 37"/>
                <a:gd name="T17" fmla="*/ 38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" h="53">
                  <a:moveTo>
                    <a:pt x="0" y="38"/>
                  </a:moveTo>
                  <a:cubicBezTo>
                    <a:pt x="0" y="53"/>
                    <a:pt x="0" y="53"/>
                    <a:pt x="0" y="53"/>
                  </a:cubicBezTo>
                  <a:cubicBezTo>
                    <a:pt x="21" y="53"/>
                    <a:pt x="21" y="53"/>
                    <a:pt x="21" y="53"/>
                  </a:cubicBezTo>
                  <a:cubicBezTo>
                    <a:pt x="21" y="53"/>
                    <a:pt x="20" y="46"/>
                    <a:pt x="20" y="38"/>
                  </a:cubicBezTo>
                  <a:cubicBezTo>
                    <a:pt x="20" y="29"/>
                    <a:pt x="24" y="18"/>
                    <a:pt x="24" y="18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5" y="26"/>
                    <a:pt x="3" y="29"/>
                    <a:pt x="2" y="32"/>
                  </a:cubicBezTo>
                  <a:cubicBezTo>
                    <a:pt x="1" y="35"/>
                    <a:pt x="0" y="38"/>
                    <a:pt x="0" y="38"/>
                  </a:cubicBezTo>
                  <a:close/>
                </a:path>
              </a:pathLst>
            </a:custGeom>
            <a:solidFill>
              <a:srgbClr val="F692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129" name="Freeform 8715"/>
            <p:cNvSpPr>
              <a:spLocks noEditPoints="1"/>
            </p:cNvSpPr>
            <p:nvPr/>
          </p:nvSpPr>
          <p:spPr bwMode="auto">
            <a:xfrm>
              <a:off x="6689726" y="1103313"/>
              <a:ext cx="82550" cy="82550"/>
            </a:xfrm>
            <a:custGeom>
              <a:avLst/>
              <a:gdLst>
                <a:gd name="T0" fmla="*/ 13 w 68"/>
                <a:gd name="T1" fmla="*/ 8 h 68"/>
                <a:gd name="T2" fmla="*/ 34 w 68"/>
                <a:gd name="T3" fmla="*/ 0 h 68"/>
                <a:gd name="T4" fmla="*/ 56 w 68"/>
                <a:gd name="T5" fmla="*/ 8 h 68"/>
                <a:gd name="T6" fmla="*/ 63 w 68"/>
                <a:gd name="T7" fmla="*/ 16 h 68"/>
                <a:gd name="T8" fmla="*/ 68 w 68"/>
                <a:gd name="T9" fmla="*/ 34 h 68"/>
                <a:gd name="T10" fmla="*/ 63 w 68"/>
                <a:gd name="T11" fmla="*/ 52 h 68"/>
                <a:gd name="T12" fmla="*/ 34 w 68"/>
                <a:gd name="T13" fmla="*/ 68 h 68"/>
                <a:gd name="T14" fmla="*/ 0 w 68"/>
                <a:gd name="T15" fmla="*/ 34 h 68"/>
                <a:gd name="T16" fmla="*/ 13 w 68"/>
                <a:gd name="T17" fmla="*/ 8 h 68"/>
                <a:gd name="T18" fmla="*/ 34 w 68"/>
                <a:gd name="T19" fmla="*/ 60 h 68"/>
                <a:gd name="T20" fmla="*/ 61 w 68"/>
                <a:gd name="T21" fmla="*/ 34 h 68"/>
                <a:gd name="T22" fmla="*/ 34 w 68"/>
                <a:gd name="T23" fmla="*/ 8 h 68"/>
                <a:gd name="T24" fmla="*/ 8 w 68"/>
                <a:gd name="T25" fmla="*/ 34 h 68"/>
                <a:gd name="T26" fmla="*/ 34 w 68"/>
                <a:gd name="T27" fmla="*/ 6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8" h="68">
                  <a:moveTo>
                    <a:pt x="13" y="8"/>
                  </a:moveTo>
                  <a:cubicBezTo>
                    <a:pt x="19" y="3"/>
                    <a:pt x="26" y="0"/>
                    <a:pt x="34" y="0"/>
                  </a:cubicBezTo>
                  <a:cubicBezTo>
                    <a:pt x="43" y="0"/>
                    <a:pt x="50" y="3"/>
                    <a:pt x="56" y="8"/>
                  </a:cubicBezTo>
                  <a:cubicBezTo>
                    <a:pt x="59" y="10"/>
                    <a:pt x="61" y="13"/>
                    <a:pt x="63" y="16"/>
                  </a:cubicBezTo>
                  <a:cubicBezTo>
                    <a:pt x="67" y="21"/>
                    <a:pt x="68" y="28"/>
                    <a:pt x="68" y="34"/>
                  </a:cubicBezTo>
                  <a:cubicBezTo>
                    <a:pt x="68" y="41"/>
                    <a:pt x="67" y="47"/>
                    <a:pt x="63" y="52"/>
                  </a:cubicBezTo>
                  <a:cubicBezTo>
                    <a:pt x="57" y="62"/>
                    <a:pt x="47" y="68"/>
                    <a:pt x="34" y="68"/>
                  </a:cubicBezTo>
                  <a:cubicBezTo>
                    <a:pt x="16" y="68"/>
                    <a:pt x="0" y="53"/>
                    <a:pt x="0" y="34"/>
                  </a:cubicBezTo>
                  <a:cubicBezTo>
                    <a:pt x="0" y="24"/>
                    <a:pt x="5" y="14"/>
                    <a:pt x="13" y="8"/>
                  </a:cubicBezTo>
                  <a:close/>
                  <a:moveTo>
                    <a:pt x="34" y="60"/>
                  </a:moveTo>
                  <a:cubicBezTo>
                    <a:pt x="49" y="60"/>
                    <a:pt x="61" y="49"/>
                    <a:pt x="61" y="34"/>
                  </a:cubicBezTo>
                  <a:cubicBezTo>
                    <a:pt x="61" y="20"/>
                    <a:pt x="49" y="8"/>
                    <a:pt x="34" y="8"/>
                  </a:cubicBezTo>
                  <a:cubicBezTo>
                    <a:pt x="20" y="8"/>
                    <a:pt x="8" y="20"/>
                    <a:pt x="8" y="34"/>
                  </a:cubicBezTo>
                  <a:cubicBezTo>
                    <a:pt x="8" y="49"/>
                    <a:pt x="20" y="60"/>
                    <a:pt x="34" y="60"/>
                  </a:cubicBez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130" name="Freeform 8716"/>
            <p:cNvSpPr>
              <a:spLocks noEditPoints="1"/>
            </p:cNvSpPr>
            <p:nvPr/>
          </p:nvSpPr>
          <p:spPr bwMode="auto">
            <a:xfrm>
              <a:off x="6699251" y="1112838"/>
              <a:ext cx="63500" cy="63500"/>
            </a:xfrm>
            <a:custGeom>
              <a:avLst/>
              <a:gdLst>
                <a:gd name="T0" fmla="*/ 26 w 53"/>
                <a:gd name="T1" fmla="*/ 0 h 52"/>
                <a:gd name="T2" fmla="*/ 53 w 53"/>
                <a:gd name="T3" fmla="*/ 26 h 52"/>
                <a:gd name="T4" fmla="*/ 26 w 53"/>
                <a:gd name="T5" fmla="*/ 52 h 52"/>
                <a:gd name="T6" fmla="*/ 0 w 53"/>
                <a:gd name="T7" fmla="*/ 26 h 52"/>
                <a:gd name="T8" fmla="*/ 26 w 53"/>
                <a:gd name="T9" fmla="*/ 0 h 52"/>
                <a:gd name="T10" fmla="*/ 25 w 53"/>
                <a:gd name="T11" fmla="*/ 50 h 52"/>
                <a:gd name="T12" fmla="*/ 50 w 53"/>
                <a:gd name="T13" fmla="*/ 27 h 52"/>
                <a:gd name="T14" fmla="*/ 27 w 53"/>
                <a:gd name="T15" fmla="*/ 2 h 52"/>
                <a:gd name="T16" fmla="*/ 3 w 53"/>
                <a:gd name="T17" fmla="*/ 25 h 52"/>
                <a:gd name="T18" fmla="*/ 25 w 53"/>
                <a:gd name="T19" fmla="*/ 5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3" h="52">
                  <a:moveTo>
                    <a:pt x="26" y="0"/>
                  </a:moveTo>
                  <a:cubicBezTo>
                    <a:pt x="41" y="0"/>
                    <a:pt x="53" y="12"/>
                    <a:pt x="53" y="26"/>
                  </a:cubicBezTo>
                  <a:cubicBezTo>
                    <a:pt x="53" y="41"/>
                    <a:pt x="41" y="52"/>
                    <a:pt x="26" y="52"/>
                  </a:cubicBezTo>
                  <a:cubicBezTo>
                    <a:pt x="12" y="52"/>
                    <a:pt x="0" y="41"/>
                    <a:pt x="0" y="26"/>
                  </a:cubicBezTo>
                  <a:cubicBezTo>
                    <a:pt x="0" y="12"/>
                    <a:pt x="12" y="0"/>
                    <a:pt x="26" y="0"/>
                  </a:cubicBezTo>
                  <a:close/>
                  <a:moveTo>
                    <a:pt x="25" y="50"/>
                  </a:moveTo>
                  <a:cubicBezTo>
                    <a:pt x="39" y="51"/>
                    <a:pt x="50" y="40"/>
                    <a:pt x="50" y="27"/>
                  </a:cubicBezTo>
                  <a:cubicBezTo>
                    <a:pt x="51" y="14"/>
                    <a:pt x="41" y="3"/>
                    <a:pt x="27" y="2"/>
                  </a:cubicBezTo>
                  <a:cubicBezTo>
                    <a:pt x="14" y="2"/>
                    <a:pt x="3" y="12"/>
                    <a:pt x="3" y="25"/>
                  </a:cubicBezTo>
                  <a:cubicBezTo>
                    <a:pt x="2" y="38"/>
                    <a:pt x="12" y="49"/>
                    <a:pt x="25" y="50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131" name="Freeform 8717"/>
            <p:cNvSpPr>
              <a:spLocks noEditPoints="1"/>
            </p:cNvSpPr>
            <p:nvPr/>
          </p:nvSpPr>
          <p:spPr bwMode="auto">
            <a:xfrm>
              <a:off x="6702426" y="1116013"/>
              <a:ext cx="58738" cy="58737"/>
            </a:xfrm>
            <a:custGeom>
              <a:avLst/>
              <a:gdLst>
                <a:gd name="T0" fmla="*/ 48 w 49"/>
                <a:gd name="T1" fmla="*/ 25 h 49"/>
                <a:gd name="T2" fmla="*/ 1 w 49"/>
                <a:gd name="T3" fmla="*/ 23 h 49"/>
                <a:gd name="T4" fmla="*/ 3 w 49"/>
                <a:gd name="T5" fmla="*/ 19 h 49"/>
                <a:gd name="T6" fmla="*/ 18 w 49"/>
                <a:gd name="T7" fmla="*/ 20 h 49"/>
                <a:gd name="T8" fmla="*/ 3 w 49"/>
                <a:gd name="T9" fmla="*/ 19 h 49"/>
                <a:gd name="T10" fmla="*/ 15 w 49"/>
                <a:gd name="T11" fmla="*/ 16 h 49"/>
                <a:gd name="T12" fmla="*/ 19 w 49"/>
                <a:gd name="T13" fmla="*/ 2 h 49"/>
                <a:gd name="T14" fmla="*/ 21 w 49"/>
                <a:gd name="T15" fmla="*/ 22 h 49"/>
                <a:gd name="T16" fmla="*/ 20 w 49"/>
                <a:gd name="T17" fmla="*/ 24 h 49"/>
                <a:gd name="T18" fmla="*/ 21 w 49"/>
                <a:gd name="T19" fmla="*/ 22 h 49"/>
                <a:gd name="T20" fmla="*/ 23 w 49"/>
                <a:gd name="T21" fmla="*/ 28 h 49"/>
                <a:gd name="T22" fmla="*/ 21 w 49"/>
                <a:gd name="T23" fmla="*/ 27 h 49"/>
                <a:gd name="T24" fmla="*/ 25 w 49"/>
                <a:gd name="T25" fmla="*/ 2 h 49"/>
                <a:gd name="T26" fmla="*/ 22 w 49"/>
                <a:gd name="T27" fmla="*/ 17 h 49"/>
                <a:gd name="T28" fmla="*/ 25 w 49"/>
                <a:gd name="T29" fmla="*/ 2 h 49"/>
                <a:gd name="T30" fmla="*/ 24 w 49"/>
                <a:gd name="T31" fmla="*/ 21 h 49"/>
                <a:gd name="T32" fmla="*/ 24 w 49"/>
                <a:gd name="T33" fmla="*/ 19 h 49"/>
                <a:gd name="T34" fmla="*/ 24 w 49"/>
                <a:gd name="T35" fmla="*/ 21 h 49"/>
                <a:gd name="T36" fmla="*/ 24 w 49"/>
                <a:gd name="T37" fmla="*/ 27 h 49"/>
                <a:gd name="T38" fmla="*/ 24 w 49"/>
                <a:gd name="T39" fmla="*/ 21 h 49"/>
                <a:gd name="T40" fmla="*/ 27 w 49"/>
                <a:gd name="T41" fmla="*/ 28 h 49"/>
                <a:gd name="T42" fmla="*/ 26 w 49"/>
                <a:gd name="T43" fmla="*/ 27 h 49"/>
                <a:gd name="T44" fmla="*/ 27 w 49"/>
                <a:gd name="T45" fmla="*/ 23 h 49"/>
                <a:gd name="T46" fmla="*/ 29 w 49"/>
                <a:gd name="T47" fmla="*/ 23 h 49"/>
                <a:gd name="T48" fmla="*/ 27 w 49"/>
                <a:gd name="T49" fmla="*/ 23 h 49"/>
                <a:gd name="T50" fmla="*/ 29 w 49"/>
                <a:gd name="T51" fmla="*/ 13 h 49"/>
                <a:gd name="T52" fmla="*/ 44 w 49"/>
                <a:gd name="T53" fmla="*/ 13 h 49"/>
                <a:gd name="T54" fmla="*/ 45 w 49"/>
                <a:gd name="T55" fmla="*/ 15 h 49"/>
                <a:gd name="T56" fmla="*/ 32 w 49"/>
                <a:gd name="T57" fmla="*/ 24 h 49"/>
                <a:gd name="T58" fmla="*/ 45 w 49"/>
                <a:gd name="T59" fmla="*/ 15 h 49"/>
                <a:gd name="T60" fmla="*/ 47 w 49"/>
                <a:gd name="T61" fmla="*/ 25 h 49"/>
                <a:gd name="T62" fmla="*/ 37 w 49"/>
                <a:gd name="T63" fmla="*/ 25 h 49"/>
                <a:gd name="T64" fmla="*/ 41 w 49"/>
                <a:gd name="T65" fmla="*/ 39 h 49"/>
                <a:gd name="T66" fmla="*/ 31 w 49"/>
                <a:gd name="T67" fmla="*/ 28 h 49"/>
                <a:gd name="T68" fmla="*/ 37 w 49"/>
                <a:gd name="T69" fmla="*/ 43 h 49"/>
                <a:gd name="T70" fmla="*/ 23 w 49"/>
                <a:gd name="T71" fmla="*/ 46 h 49"/>
                <a:gd name="T72" fmla="*/ 27 w 49"/>
                <a:gd name="T73" fmla="*/ 36 h 49"/>
                <a:gd name="T74" fmla="*/ 16 w 49"/>
                <a:gd name="T75" fmla="*/ 45 h 49"/>
                <a:gd name="T76" fmla="*/ 13 w 49"/>
                <a:gd name="T77" fmla="*/ 43 h 49"/>
                <a:gd name="T78" fmla="*/ 19 w 49"/>
                <a:gd name="T79" fmla="*/ 29 h 49"/>
                <a:gd name="T80" fmla="*/ 13 w 49"/>
                <a:gd name="T81" fmla="*/ 43 h 49"/>
                <a:gd name="T82" fmla="*/ 14 w 49"/>
                <a:gd name="T83" fmla="*/ 30 h 49"/>
                <a:gd name="T84" fmla="*/ 2 w 49"/>
                <a:gd name="T85" fmla="*/ 22 h 49"/>
                <a:gd name="T86" fmla="*/ 8 w 49"/>
                <a:gd name="T87" fmla="*/ 4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9" h="49">
                  <a:moveTo>
                    <a:pt x="25" y="0"/>
                  </a:moveTo>
                  <a:cubicBezTo>
                    <a:pt x="39" y="1"/>
                    <a:pt x="49" y="12"/>
                    <a:pt x="48" y="25"/>
                  </a:cubicBezTo>
                  <a:cubicBezTo>
                    <a:pt x="48" y="38"/>
                    <a:pt x="37" y="49"/>
                    <a:pt x="23" y="48"/>
                  </a:cubicBezTo>
                  <a:cubicBezTo>
                    <a:pt x="10" y="47"/>
                    <a:pt x="0" y="36"/>
                    <a:pt x="1" y="23"/>
                  </a:cubicBezTo>
                  <a:cubicBezTo>
                    <a:pt x="1" y="10"/>
                    <a:pt x="12" y="0"/>
                    <a:pt x="25" y="0"/>
                  </a:cubicBezTo>
                  <a:close/>
                  <a:moveTo>
                    <a:pt x="3" y="19"/>
                  </a:moveTo>
                  <a:cubicBezTo>
                    <a:pt x="17" y="25"/>
                    <a:pt x="17" y="25"/>
                    <a:pt x="17" y="25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3" y="18"/>
                    <a:pt x="3" y="18"/>
                    <a:pt x="3" y="19"/>
                  </a:cubicBezTo>
                  <a:close/>
                  <a:moveTo>
                    <a:pt x="5" y="14"/>
                  </a:moveTo>
                  <a:cubicBezTo>
                    <a:pt x="15" y="16"/>
                    <a:pt x="15" y="16"/>
                    <a:pt x="15" y="16"/>
                  </a:cubicBezTo>
                  <a:cubicBezTo>
                    <a:pt x="18" y="14"/>
                    <a:pt x="18" y="14"/>
                    <a:pt x="18" y="14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3" y="4"/>
                    <a:pt x="8" y="8"/>
                    <a:pt x="5" y="14"/>
                  </a:cubicBezTo>
                  <a:close/>
                  <a:moveTo>
                    <a:pt x="21" y="22"/>
                  </a:moveTo>
                  <a:cubicBezTo>
                    <a:pt x="20" y="22"/>
                    <a:pt x="20" y="22"/>
                    <a:pt x="20" y="23"/>
                  </a:cubicBezTo>
                  <a:cubicBezTo>
                    <a:pt x="20" y="23"/>
                    <a:pt x="20" y="24"/>
                    <a:pt x="20" y="24"/>
                  </a:cubicBezTo>
                  <a:cubicBezTo>
                    <a:pt x="21" y="24"/>
                    <a:pt x="21" y="24"/>
                    <a:pt x="21" y="23"/>
                  </a:cubicBezTo>
                  <a:cubicBezTo>
                    <a:pt x="22" y="23"/>
                    <a:pt x="21" y="22"/>
                    <a:pt x="21" y="22"/>
                  </a:cubicBezTo>
                  <a:close/>
                  <a:moveTo>
                    <a:pt x="22" y="28"/>
                  </a:moveTo>
                  <a:cubicBezTo>
                    <a:pt x="22" y="28"/>
                    <a:pt x="22" y="28"/>
                    <a:pt x="23" y="28"/>
                  </a:cubicBezTo>
                  <a:cubicBezTo>
                    <a:pt x="23" y="27"/>
                    <a:pt x="23" y="27"/>
                    <a:pt x="23" y="27"/>
                  </a:cubicBezTo>
                  <a:cubicBezTo>
                    <a:pt x="22" y="26"/>
                    <a:pt x="22" y="26"/>
                    <a:pt x="21" y="27"/>
                  </a:cubicBezTo>
                  <a:cubicBezTo>
                    <a:pt x="21" y="27"/>
                    <a:pt x="21" y="28"/>
                    <a:pt x="22" y="28"/>
                  </a:cubicBezTo>
                  <a:close/>
                  <a:moveTo>
                    <a:pt x="25" y="2"/>
                  </a:moveTo>
                  <a:cubicBezTo>
                    <a:pt x="24" y="2"/>
                    <a:pt x="23" y="2"/>
                    <a:pt x="22" y="2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6" y="17"/>
                    <a:pt x="26" y="17"/>
                    <a:pt x="26" y="17"/>
                  </a:cubicBezTo>
                  <a:lnTo>
                    <a:pt x="25" y="2"/>
                  </a:lnTo>
                  <a:close/>
                  <a:moveTo>
                    <a:pt x="24" y="20"/>
                  </a:moveTo>
                  <a:cubicBezTo>
                    <a:pt x="24" y="21"/>
                    <a:pt x="24" y="21"/>
                    <a:pt x="24" y="21"/>
                  </a:cubicBezTo>
                  <a:cubicBezTo>
                    <a:pt x="25" y="21"/>
                    <a:pt x="25" y="21"/>
                    <a:pt x="25" y="20"/>
                  </a:cubicBezTo>
                  <a:cubicBezTo>
                    <a:pt x="25" y="20"/>
                    <a:pt x="25" y="19"/>
                    <a:pt x="24" y="19"/>
                  </a:cubicBezTo>
                  <a:cubicBezTo>
                    <a:pt x="24" y="19"/>
                    <a:pt x="24" y="20"/>
                    <a:pt x="24" y="20"/>
                  </a:cubicBezTo>
                  <a:close/>
                  <a:moveTo>
                    <a:pt x="24" y="21"/>
                  </a:moveTo>
                  <a:cubicBezTo>
                    <a:pt x="23" y="21"/>
                    <a:pt x="22" y="23"/>
                    <a:pt x="22" y="24"/>
                  </a:cubicBezTo>
                  <a:cubicBezTo>
                    <a:pt x="22" y="26"/>
                    <a:pt x="23" y="27"/>
                    <a:pt x="24" y="27"/>
                  </a:cubicBezTo>
                  <a:cubicBezTo>
                    <a:pt x="26" y="27"/>
                    <a:pt x="27" y="26"/>
                    <a:pt x="27" y="24"/>
                  </a:cubicBezTo>
                  <a:cubicBezTo>
                    <a:pt x="27" y="23"/>
                    <a:pt x="26" y="21"/>
                    <a:pt x="24" y="21"/>
                  </a:cubicBezTo>
                  <a:close/>
                  <a:moveTo>
                    <a:pt x="26" y="28"/>
                  </a:moveTo>
                  <a:cubicBezTo>
                    <a:pt x="26" y="28"/>
                    <a:pt x="27" y="28"/>
                    <a:pt x="27" y="28"/>
                  </a:cubicBezTo>
                  <a:cubicBezTo>
                    <a:pt x="28" y="28"/>
                    <a:pt x="28" y="27"/>
                    <a:pt x="28" y="27"/>
                  </a:cubicBezTo>
                  <a:cubicBezTo>
                    <a:pt x="27" y="26"/>
                    <a:pt x="27" y="26"/>
                    <a:pt x="26" y="27"/>
                  </a:cubicBezTo>
                  <a:cubicBezTo>
                    <a:pt x="26" y="27"/>
                    <a:pt x="26" y="27"/>
                    <a:pt x="26" y="28"/>
                  </a:cubicBezTo>
                  <a:close/>
                  <a:moveTo>
                    <a:pt x="27" y="23"/>
                  </a:moveTo>
                  <a:cubicBezTo>
                    <a:pt x="28" y="24"/>
                    <a:pt x="28" y="24"/>
                    <a:pt x="29" y="24"/>
                  </a:cubicBezTo>
                  <a:cubicBezTo>
                    <a:pt x="29" y="24"/>
                    <a:pt x="29" y="23"/>
                    <a:pt x="29" y="23"/>
                  </a:cubicBezTo>
                  <a:cubicBezTo>
                    <a:pt x="29" y="22"/>
                    <a:pt x="29" y="22"/>
                    <a:pt x="28" y="22"/>
                  </a:cubicBezTo>
                  <a:cubicBezTo>
                    <a:pt x="28" y="22"/>
                    <a:pt x="27" y="23"/>
                    <a:pt x="27" y="23"/>
                  </a:cubicBezTo>
                  <a:close/>
                  <a:moveTo>
                    <a:pt x="28" y="2"/>
                  </a:moveTo>
                  <a:cubicBezTo>
                    <a:pt x="29" y="13"/>
                    <a:pt x="29" y="13"/>
                    <a:pt x="29" y="13"/>
                  </a:cubicBezTo>
                  <a:cubicBezTo>
                    <a:pt x="33" y="15"/>
                    <a:pt x="33" y="15"/>
                    <a:pt x="33" y="15"/>
                  </a:cubicBezTo>
                  <a:cubicBezTo>
                    <a:pt x="44" y="13"/>
                    <a:pt x="44" y="13"/>
                    <a:pt x="44" y="13"/>
                  </a:cubicBezTo>
                  <a:cubicBezTo>
                    <a:pt x="40" y="7"/>
                    <a:pt x="35" y="3"/>
                    <a:pt x="28" y="2"/>
                  </a:cubicBezTo>
                  <a:close/>
                  <a:moveTo>
                    <a:pt x="45" y="15"/>
                  </a:moveTo>
                  <a:cubicBezTo>
                    <a:pt x="30" y="19"/>
                    <a:pt x="30" y="19"/>
                    <a:pt x="30" y="19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46" y="18"/>
                    <a:pt x="46" y="18"/>
                    <a:pt x="46" y="18"/>
                  </a:cubicBezTo>
                  <a:cubicBezTo>
                    <a:pt x="46" y="17"/>
                    <a:pt x="45" y="15"/>
                    <a:pt x="45" y="15"/>
                  </a:cubicBezTo>
                  <a:close/>
                  <a:moveTo>
                    <a:pt x="41" y="39"/>
                  </a:moveTo>
                  <a:cubicBezTo>
                    <a:pt x="45" y="35"/>
                    <a:pt x="47" y="30"/>
                    <a:pt x="47" y="25"/>
                  </a:cubicBezTo>
                  <a:cubicBezTo>
                    <a:pt x="47" y="24"/>
                    <a:pt x="47" y="22"/>
                    <a:pt x="47" y="21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6" y="29"/>
                    <a:pt x="36" y="29"/>
                    <a:pt x="36" y="29"/>
                  </a:cubicBezTo>
                  <a:lnTo>
                    <a:pt x="41" y="39"/>
                  </a:lnTo>
                  <a:close/>
                  <a:moveTo>
                    <a:pt x="39" y="41"/>
                  </a:moveTo>
                  <a:cubicBezTo>
                    <a:pt x="31" y="28"/>
                    <a:pt x="31" y="28"/>
                    <a:pt x="31" y="28"/>
                  </a:cubicBezTo>
                  <a:cubicBezTo>
                    <a:pt x="27" y="31"/>
                    <a:pt x="27" y="31"/>
                    <a:pt x="27" y="31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8" y="42"/>
                    <a:pt x="39" y="41"/>
                    <a:pt x="39" y="41"/>
                  </a:cubicBezTo>
                  <a:close/>
                  <a:moveTo>
                    <a:pt x="23" y="46"/>
                  </a:moveTo>
                  <a:cubicBezTo>
                    <a:pt x="27" y="47"/>
                    <a:pt x="31" y="46"/>
                    <a:pt x="34" y="44"/>
                  </a:cubicBezTo>
                  <a:cubicBezTo>
                    <a:pt x="27" y="36"/>
                    <a:pt x="27" y="36"/>
                    <a:pt x="27" y="36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8" y="46"/>
                    <a:pt x="21" y="46"/>
                    <a:pt x="23" y="46"/>
                  </a:cubicBezTo>
                  <a:close/>
                  <a:moveTo>
                    <a:pt x="13" y="43"/>
                  </a:moveTo>
                  <a:cubicBezTo>
                    <a:pt x="23" y="31"/>
                    <a:pt x="23" y="31"/>
                    <a:pt x="23" y="31"/>
                  </a:cubicBezTo>
                  <a:cubicBezTo>
                    <a:pt x="19" y="29"/>
                    <a:pt x="19" y="29"/>
                    <a:pt x="19" y="29"/>
                  </a:cubicBezTo>
                  <a:cubicBezTo>
                    <a:pt x="11" y="42"/>
                    <a:pt x="11" y="42"/>
                    <a:pt x="11" y="42"/>
                  </a:cubicBezTo>
                  <a:cubicBezTo>
                    <a:pt x="12" y="42"/>
                    <a:pt x="12" y="43"/>
                    <a:pt x="13" y="43"/>
                  </a:cubicBezTo>
                  <a:close/>
                  <a:moveTo>
                    <a:pt x="8" y="40"/>
                  </a:moveTo>
                  <a:cubicBezTo>
                    <a:pt x="14" y="30"/>
                    <a:pt x="14" y="30"/>
                    <a:pt x="14" y="30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2" y="22"/>
                    <a:pt x="2" y="22"/>
                    <a:pt x="2" y="22"/>
                  </a:cubicBezTo>
                  <a:cubicBezTo>
                    <a:pt x="2" y="22"/>
                    <a:pt x="2" y="23"/>
                    <a:pt x="2" y="23"/>
                  </a:cubicBezTo>
                  <a:cubicBezTo>
                    <a:pt x="2" y="29"/>
                    <a:pt x="4" y="35"/>
                    <a:pt x="8" y="40"/>
                  </a:cubicBezTo>
                  <a:close/>
                </a:path>
              </a:pathLst>
            </a:custGeom>
            <a:solidFill>
              <a:srgbClr val="836B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132" name="Oval 8718"/>
            <p:cNvSpPr>
              <a:spLocks noChangeArrowheads="1"/>
            </p:cNvSpPr>
            <p:nvPr/>
          </p:nvSpPr>
          <p:spPr bwMode="auto">
            <a:xfrm>
              <a:off x="6731001" y="1138238"/>
              <a:ext cx="1588" cy="3175"/>
            </a:xfrm>
            <a:prstGeom prst="ellipse">
              <a:avLst/>
            </a:prstGeom>
            <a:solidFill>
              <a:srgbClr val="F4F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133" name="Freeform 8719"/>
            <p:cNvSpPr>
              <a:spLocks/>
            </p:cNvSpPr>
            <p:nvPr/>
          </p:nvSpPr>
          <p:spPr bwMode="auto">
            <a:xfrm>
              <a:off x="6726238" y="1143000"/>
              <a:ext cx="3175" cy="1587"/>
            </a:xfrm>
            <a:custGeom>
              <a:avLst/>
              <a:gdLst>
                <a:gd name="T0" fmla="*/ 0 w 2"/>
                <a:gd name="T1" fmla="*/ 1 h 2"/>
                <a:gd name="T2" fmla="*/ 0 w 2"/>
                <a:gd name="T3" fmla="*/ 2 h 2"/>
                <a:gd name="T4" fmla="*/ 1 w 2"/>
                <a:gd name="T5" fmla="*/ 1 h 2"/>
                <a:gd name="T6" fmla="*/ 1 w 2"/>
                <a:gd name="T7" fmla="*/ 0 h 2"/>
                <a:gd name="T8" fmla="*/ 0 w 2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1" y="0"/>
                    <a:pt x="1" y="0"/>
                  </a:cubicBezTo>
                  <a:cubicBezTo>
                    <a:pt x="0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134" name="Freeform 8720"/>
            <p:cNvSpPr>
              <a:spLocks/>
            </p:cNvSpPr>
            <p:nvPr/>
          </p:nvSpPr>
          <p:spPr bwMode="auto">
            <a:xfrm>
              <a:off x="6727826" y="1147763"/>
              <a:ext cx="1588" cy="1587"/>
            </a:xfrm>
            <a:custGeom>
              <a:avLst/>
              <a:gdLst>
                <a:gd name="T0" fmla="*/ 1 w 2"/>
                <a:gd name="T1" fmla="*/ 2 h 2"/>
                <a:gd name="T2" fmla="*/ 2 w 2"/>
                <a:gd name="T3" fmla="*/ 2 h 2"/>
                <a:gd name="T4" fmla="*/ 2 w 2"/>
                <a:gd name="T5" fmla="*/ 1 h 2"/>
                <a:gd name="T6" fmla="*/ 0 w 2"/>
                <a:gd name="T7" fmla="*/ 1 h 2"/>
                <a:gd name="T8" fmla="*/ 1 w 2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1" y="2"/>
                  </a:moveTo>
                  <a:cubicBezTo>
                    <a:pt x="1" y="2"/>
                    <a:pt x="1" y="2"/>
                    <a:pt x="2" y="2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0"/>
                    <a:pt x="1" y="0"/>
                    <a:pt x="0" y="1"/>
                  </a:cubicBezTo>
                  <a:cubicBezTo>
                    <a:pt x="0" y="1"/>
                    <a:pt x="0" y="2"/>
                    <a:pt x="1" y="2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135" name="Freeform 8721"/>
            <p:cNvSpPr>
              <a:spLocks/>
            </p:cNvSpPr>
            <p:nvPr/>
          </p:nvSpPr>
          <p:spPr bwMode="auto">
            <a:xfrm>
              <a:off x="6734176" y="1147763"/>
              <a:ext cx="1588" cy="1587"/>
            </a:xfrm>
            <a:custGeom>
              <a:avLst/>
              <a:gdLst>
                <a:gd name="T0" fmla="*/ 0 w 2"/>
                <a:gd name="T1" fmla="*/ 2 h 2"/>
                <a:gd name="T2" fmla="*/ 1 w 2"/>
                <a:gd name="T3" fmla="*/ 2 h 2"/>
                <a:gd name="T4" fmla="*/ 2 w 2"/>
                <a:gd name="T5" fmla="*/ 1 h 2"/>
                <a:gd name="T6" fmla="*/ 0 w 2"/>
                <a:gd name="T7" fmla="*/ 1 h 2"/>
                <a:gd name="T8" fmla="*/ 0 w 2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cubicBezTo>
                    <a:pt x="0" y="2"/>
                    <a:pt x="1" y="2"/>
                    <a:pt x="1" y="2"/>
                  </a:cubicBezTo>
                  <a:cubicBezTo>
                    <a:pt x="2" y="2"/>
                    <a:pt x="2" y="1"/>
                    <a:pt x="2" y="1"/>
                  </a:cubicBezTo>
                  <a:cubicBezTo>
                    <a:pt x="1" y="0"/>
                    <a:pt x="1" y="0"/>
                    <a:pt x="0" y="1"/>
                  </a:cubicBezTo>
                  <a:cubicBezTo>
                    <a:pt x="0" y="1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136" name="Freeform 8722"/>
            <p:cNvSpPr>
              <a:spLocks/>
            </p:cNvSpPr>
            <p:nvPr/>
          </p:nvSpPr>
          <p:spPr bwMode="auto">
            <a:xfrm>
              <a:off x="6734176" y="1143000"/>
              <a:ext cx="3175" cy="1587"/>
            </a:xfrm>
            <a:custGeom>
              <a:avLst/>
              <a:gdLst>
                <a:gd name="T0" fmla="*/ 0 w 2"/>
                <a:gd name="T1" fmla="*/ 1 h 2"/>
                <a:gd name="T2" fmla="*/ 2 w 2"/>
                <a:gd name="T3" fmla="*/ 2 h 2"/>
                <a:gd name="T4" fmla="*/ 2 w 2"/>
                <a:gd name="T5" fmla="*/ 1 h 2"/>
                <a:gd name="T6" fmla="*/ 1 w 2"/>
                <a:gd name="T7" fmla="*/ 0 h 2"/>
                <a:gd name="T8" fmla="*/ 0 w 2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0" y="1"/>
                  </a:moveTo>
                  <a:cubicBezTo>
                    <a:pt x="1" y="2"/>
                    <a:pt x="1" y="2"/>
                    <a:pt x="2" y="2"/>
                  </a:cubicBezTo>
                  <a:cubicBezTo>
                    <a:pt x="2" y="2"/>
                    <a:pt x="2" y="1"/>
                    <a:pt x="2" y="1"/>
                  </a:cubicBezTo>
                  <a:cubicBezTo>
                    <a:pt x="2" y="0"/>
                    <a:pt x="2" y="0"/>
                    <a:pt x="1" y="0"/>
                  </a:cubicBezTo>
                  <a:cubicBezTo>
                    <a:pt x="1" y="0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137" name="Oval 8723"/>
            <p:cNvSpPr>
              <a:spLocks noChangeArrowheads="1"/>
            </p:cNvSpPr>
            <p:nvPr/>
          </p:nvSpPr>
          <p:spPr bwMode="auto">
            <a:xfrm>
              <a:off x="6729413" y="1141413"/>
              <a:ext cx="4763" cy="7937"/>
            </a:xfrm>
            <a:prstGeom prst="ellipse">
              <a:avLst/>
            </a:prstGeom>
            <a:solidFill>
              <a:srgbClr val="F4F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138" name="Freeform 8724"/>
            <p:cNvSpPr>
              <a:spLocks/>
            </p:cNvSpPr>
            <p:nvPr/>
          </p:nvSpPr>
          <p:spPr bwMode="auto">
            <a:xfrm>
              <a:off x="6734176" y="1149350"/>
              <a:ext cx="14288" cy="19050"/>
            </a:xfrm>
            <a:custGeom>
              <a:avLst/>
              <a:gdLst>
                <a:gd name="T0" fmla="*/ 0 w 12"/>
                <a:gd name="T1" fmla="*/ 3 h 15"/>
                <a:gd name="T2" fmla="*/ 10 w 12"/>
                <a:gd name="T3" fmla="*/ 15 h 15"/>
                <a:gd name="T4" fmla="*/ 12 w 12"/>
                <a:gd name="T5" fmla="*/ 13 h 15"/>
                <a:gd name="T6" fmla="*/ 4 w 12"/>
                <a:gd name="T7" fmla="*/ 0 h 15"/>
                <a:gd name="T8" fmla="*/ 0 w 12"/>
                <a:gd name="T9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5">
                  <a:moveTo>
                    <a:pt x="0" y="3"/>
                  </a:moveTo>
                  <a:cubicBezTo>
                    <a:pt x="10" y="15"/>
                    <a:pt x="10" y="15"/>
                    <a:pt x="10" y="15"/>
                  </a:cubicBezTo>
                  <a:cubicBezTo>
                    <a:pt x="11" y="14"/>
                    <a:pt x="12" y="13"/>
                    <a:pt x="12" y="13"/>
                  </a:cubicBezTo>
                  <a:cubicBezTo>
                    <a:pt x="4" y="0"/>
                    <a:pt x="4" y="0"/>
                    <a:pt x="4" y="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139" name="Freeform 8725"/>
            <p:cNvSpPr>
              <a:spLocks/>
            </p:cNvSpPr>
            <p:nvPr/>
          </p:nvSpPr>
          <p:spPr bwMode="auto">
            <a:xfrm>
              <a:off x="6738938" y="1133475"/>
              <a:ext cx="19050" cy="11112"/>
            </a:xfrm>
            <a:custGeom>
              <a:avLst/>
              <a:gdLst>
                <a:gd name="T0" fmla="*/ 0 w 16"/>
                <a:gd name="T1" fmla="*/ 4 h 9"/>
                <a:gd name="T2" fmla="*/ 2 w 16"/>
                <a:gd name="T3" fmla="*/ 9 h 9"/>
                <a:gd name="T4" fmla="*/ 16 w 16"/>
                <a:gd name="T5" fmla="*/ 3 h 9"/>
                <a:gd name="T6" fmla="*/ 15 w 16"/>
                <a:gd name="T7" fmla="*/ 0 h 9"/>
                <a:gd name="T8" fmla="*/ 0 w 16"/>
                <a:gd name="T9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9">
                  <a:moveTo>
                    <a:pt x="0" y="4"/>
                  </a:moveTo>
                  <a:cubicBezTo>
                    <a:pt x="2" y="9"/>
                    <a:pt x="2" y="9"/>
                    <a:pt x="2" y="9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6" y="2"/>
                    <a:pt x="15" y="0"/>
                    <a:pt x="15" y="0"/>
                  </a:cubicBezTo>
                  <a:lnTo>
                    <a:pt x="0" y="4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140" name="Freeform 8726"/>
            <p:cNvSpPr>
              <a:spLocks/>
            </p:cNvSpPr>
            <p:nvPr/>
          </p:nvSpPr>
          <p:spPr bwMode="auto">
            <a:xfrm>
              <a:off x="6729413" y="1119188"/>
              <a:ext cx="4763" cy="17462"/>
            </a:xfrm>
            <a:custGeom>
              <a:avLst/>
              <a:gdLst>
                <a:gd name="T0" fmla="*/ 0 w 4"/>
                <a:gd name="T1" fmla="*/ 15 h 15"/>
                <a:gd name="T2" fmla="*/ 4 w 4"/>
                <a:gd name="T3" fmla="*/ 15 h 15"/>
                <a:gd name="T4" fmla="*/ 3 w 4"/>
                <a:gd name="T5" fmla="*/ 0 h 15"/>
                <a:gd name="T6" fmla="*/ 0 w 4"/>
                <a:gd name="T7" fmla="*/ 0 h 15"/>
                <a:gd name="T8" fmla="*/ 0 w 4"/>
                <a:gd name="T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5">
                  <a:moveTo>
                    <a:pt x="0" y="15"/>
                  </a:moveTo>
                  <a:cubicBezTo>
                    <a:pt x="4" y="15"/>
                    <a:pt x="4" y="15"/>
                    <a:pt x="4" y="15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1" y="0"/>
                    <a:pt x="0" y="0"/>
                  </a:cubicBezTo>
                  <a:lnTo>
                    <a:pt x="0" y="15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141" name="Freeform 8727"/>
            <p:cNvSpPr>
              <a:spLocks/>
            </p:cNvSpPr>
            <p:nvPr/>
          </p:nvSpPr>
          <p:spPr bwMode="auto">
            <a:xfrm>
              <a:off x="6705601" y="1136650"/>
              <a:ext cx="19050" cy="9525"/>
            </a:xfrm>
            <a:custGeom>
              <a:avLst/>
              <a:gdLst>
                <a:gd name="T0" fmla="*/ 0 w 15"/>
                <a:gd name="T1" fmla="*/ 2 h 8"/>
                <a:gd name="T2" fmla="*/ 14 w 15"/>
                <a:gd name="T3" fmla="*/ 8 h 8"/>
                <a:gd name="T4" fmla="*/ 15 w 15"/>
                <a:gd name="T5" fmla="*/ 3 h 8"/>
                <a:gd name="T6" fmla="*/ 0 w 15"/>
                <a:gd name="T7" fmla="*/ 0 h 8"/>
                <a:gd name="T8" fmla="*/ 0 w 15"/>
                <a:gd name="T9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8">
                  <a:moveTo>
                    <a:pt x="0" y="2"/>
                  </a:moveTo>
                  <a:cubicBezTo>
                    <a:pt x="14" y="8"/>
                    <a:pt x="14" y="8"/>
                    <a:pt x="14" y="8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142" name="Freeform 8728"/>
            <p:cNvSpPr>
              <a:spLocks/>
            </p:cNvSpPr>
            <p:nvPr/>
          </p:nvSpPr>
          <p:spPr bwMode="auto">
            <a:xfrm>
              <a:off x="6715126" y="1150938"/>
              <a:ext cx="14288" cy="17462"/>
            </a:xfrm>
            <a:custGeom>
              <a:avLst/>
              <a:gdLst>
                <a:gd name="T0" fmla="*/ 0 w 12"/>
                <a:gd name="T1" fmla="*/ 13 h 14"/>
                <a:gd name="T2" fmla="*/ 2 w 12"/>
                <a:gd name="T3" fmla="*/ 14 h 14"/>
                <a:gd name="T4" fmla="*/ 12 w 12"/>
                <a:gd name="T5" fmla="*/ 2 h 14"/>
                <a:gd name="T6" fmla="*/ 8 w 12"/>
                <a:gd name="T7" fmla="*/ 0 h 14"/>
                <a:gd name="T8" fmla="*/ 0 w 12"/>
                <a:gd name="T9" fmla="*/ 1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4">
                  <a:moveTo>
                    <a:pt x="0" y="13"/>
                  </a:moveTo>
                  <a:cubicBezTo>
                    <a:pt x="1" y="13"/>
                    <a:pt x="1" y="14"/>
                    <a:pt x="2" y="14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8" y="0"/>
                    <a:pt x="8" y="0"/>
                    <a:pt x="8" y="0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143" name="Freeform 8729"/>
            <p:cNvSpPr>
              <a:spLocks/>
            </p:cNvSpPr>
            <p:nvPr/>
          </p:nvSpPr>
          <p:spPr bwMode="auto">
            <a:xfrm>
              <a:off x="6704013" y="1143000"/>
              <a:ext cx="14288" cy="20637"/>
            </a:xfrm>
            <a:custGeom>
              <a:avLst/>
              <a:gdLst>
                <a:gd name="T0" fmla="*/ 0 w 12"/>
                <a:gd name="T1" fmla="*/ 1 h 18"/>
                <a:gd name="T2" fmla="*/ 6 w 12"/>
                <a:gd name="T3" fmla="*/ 18 h 18"/>
                <a:gd name="T4" fmla="*/ 12 w 12"/>
                <a:gd name="T5" fmla="*/ 8 h 18"/>
                <a:gd name="T6" fmla="*/ 10 w 12"/>
                <a:gd name="T7" fmla="*/ 5 h 18"/>
                <a:gd name="T8" fmla="*/ 0 w 12"/>
                <a:gd name="T9" fmla="*/ 0 h 18"/>
                <a:gd name="T10" fmla="*/ 0 w 12"/>
                <a:gd name="T11" fmla="*/ 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8">
                  <a:moveTo>
                    <a:pt x="0" y="1"/>
                  </a:moveTo>
                  <a:cubicBezTo>
                    <a:pt x="0" y="7"/>
                    <a:pt x="2" y="13"/>
                    <a:pt x="6" y="1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144" name="Freeform 8730"/>
            <p:cNvSpPr>
              <a:spLocks/>
            </p:cNvSpPr>
            <p:nvPr/>
          </p:nvSpPr>
          <p:spPr bwMode="auto">
            <a:xfrm>
              <a:off x="6721476" y="1158875"/>
              <a:ext cx="22225" cy="14287"/>
            </a:xfrm>
            <a:custGeom>
              <a:avLst/>
              <a:gdLst>
                <a:gd name="T0" fmla="*/ 0 w 18"/>
                <a:gd name="T1" fmla="*/ 9 h 11"/>
                <a:gd name="T2" fmla="*/ 7 w 18"/>
                <a:gd name="T3" fmla="*/ 10 h 11"/>
                <a:gd name="T4" fmla="*/ 18 w 18"/>
                <a:gd name="T5" fmla="*/ 8 h 11"/>
                <a:gd name="T6" fmla="*/ 11 w 18"/>
                <a:gd name="T7" fmla="*/ 0 h 11"/>
                <a:gd name="T8" fmla="*/ 7 w 18"/>
                <a:gd name="T9" fmla="*/ 0 h 11"/>
                <a:gd name="T10" fmla="*/ 0 w 18"/>
                <a:gd name="T11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11">
                  <a:moveTo>
                    <a:pt x="0" y="9"/>
                  </a:moveTo>
                  <a:cubicBezTo>
                    <a:pt x="2" y="10"/>
                    <a:pt x="5" y="10"/>
                    <a:pt x="7" y="10"/>
                  </a:cubicBezTo>
                  <a:cubicBezTo>
                    <a:pt x="11" y="11"/>
                    <a:pt x="15" y="10"/>
                    <a:pt x="18" y="8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7" y="0"/>
                    <a:pt x="7" y="0"/>
                    <a:pt x="7" y="0"/>
                  </a:cubicBezTo>
                  <a:lnTo>
                    <a:pt x="0" y="9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145" name="Freeform 8731"/>
            <p:cNvSpPr>
              <a:spLocks/>
            </p:cNvSpPr>
            <p:nvPr/>
          </p:nvSpPr>
          <p:spPr bwMode="auto">
            <a:xfrm>
              <a:off x="6745288" y="1141413"/>
              <a:ext cx="12700" cy="22225"/>
            </a:xfrm>
            <a:custGeom>
              <a:avLst/>
              <a:gdLst>
                <a:gd name="T0" fmla="*/ 0 w 11"/>
                <a:gd name="T1" fmla="*/ 8 h 18"/>
                <a:gd name="T2" fmla="*/ 5 w 11"/>
                <a:gd name="T3" fmla="*/ 18 h 18"/>
                <a:gd name="T4" fmla="*/ 11 w 11"/>
                <a:gd name="T5" fmla="*/ 4 h 18"/>
                <a:gd name="T6" fmla="*/ 11 w 11"/>
                <a:gd name="T7" fmla="*/ 0 h 18"/>
                <a:gd name="T8" fmla="*/ 1 w 11"/>
                <a:gd name="T9" fmla="*/ 4 h 18"/>
                <a:gd name="T10" fmla="*/ 0 w 11"/>
                <a:gd name="T11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18">
                  <a:moveTo>
                    <a:pt x="0" y="8"/>
                  </a:moveTo>
                  <a:cubicBezTo>
                    <a:pt x="5" y="18"/>
                    <a:pt x="5" y="18"/>
                    <a:pt x="5" y="18"/>
                  </a:cubicBezTo>
                  <a:cubicBezTo>
                    <a:pt x="9" y="14"/>
                    <a:pt x="11" y="9"/>
                    <a:pt x="11" y="4"/>
                  </a:cubicBezTo>
                  <a:cubicBezTo>
                    <a:pt x="11" y="3"/>
                    <a:pt x="11" y="1"/>
                    <a:pt x="11" y="0"/>
                  </a:cubicBezTo>
                  <a:cubicBezTo>
                    <a:pt x="1" y="4"/>
                    <a:pt x="1" y="4"/>
                    <a:pt x="1" y="4"/>
                  </a:cubicBezTo>
                  <a:lnTo>
                    <a:pt x="0" y="8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146" name="Freeform 8732"/>
            <p:cNvSpPr>
              <a:spLocks/>
            </p:cNvSpPr>
            <p:nvPr/>
          </p:nvSpPr>
          <p:spPr bwMode="auto">
            <a:xfrm>
              <a:off x="6735763" y="1119188"/>
              <a:ext cx="19050" cy="14287"/>
            </a:xfrm>
            <a:custGeom>
              <a:avLst/>
              <a:gdLst>
                <a:gd name="T0" fmla="*/ 0 w 16"/>
                <a:gd name="T1" fmla="*/ 0 h 13"/>
                <a:gd name="T2" fmla="*/ 1 w 16"/>
                <a:gd name="T3" fmla="*/ 11 h 13"/>
                <a:gd name="T4" fmla="*/ 5 w 16"/>
                <a:gd name="T5" fmla="*/ 13 h 13"/>
                <a:gd name="T6" fmla="*/ 16 w 16"/>
                <a:gd name="T7" fmla="*/ 11 h 13"/>
                <a:gd name="T8" fmla="*/ 0 w 16"/>
                <a:gd name="T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3">
                  <a:moveTo>
                    <a:pt x="0" y="0"/>
                  </a:moveTo>
                  <a:cubicBezTo>
                    <a:pt x="1" y="11"/>
                    <a:pt x="1" y="11"/>
                    <a:pt x="1" y="11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12" y="5"/>
                    <a:pt x="7" y="1"/>
                    <a:pt x="0" y="0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147" name="Freeform 8733"/>
            <p:cNvSpPr>
              <a:spLocks/>
            </p:cNvSpPr>
            <p:nvPr/>
          </p:nvSpPr>
          <p:spPr bwMode="auto">
            <a:xfrm>
              <a:off x="6708776" y="1119188"/>
              <a:ext cx="15875" cy="15875"/>
            </a:xfrm>
            <a:custGeom>
              <a:avLst/>
              <a:gdLst>
                <a:gd name="T0" fmla="*/ 0 w 14"/>
                <a:gd name="T1" fmla="*/ 12 h 14"/>
                <a:gd name="T2" fmla="*/ 10 w 14"/>
                <a:gd name="T3" fmla="*/ 14 h 14"/>
                <a:gd name="T4" fmla="*/ 13 w 14"/>
                <a:gd name="T5" fmla="*/ 12 h 14"/>
                <a:gd name="T6" fmla="*/ 14 w 14"/>
                <a:gd name="T7" fmla="*/ 0 h 14"/>
                <a:gd name="T8" fmla="*/ 0 w 14"/>
                <a:gd name="T9" fmla="*/ 1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4">
                  <a:moveTo>
                    <a:pt x="0" y="12"/>
                  </a:moveTo>
                  <a:cubicBezTo>
                    <a:pt x="10" y="14"/>
                    <a:pt x="10" y="14"/>
                    <a:pt x="10" y="14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8" y="2"/>
                    <a:pt x="3" y="6"/>
                    <a:pt x="0" y="12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pic>
        <p:nvPicPr>
          <p:cNvPr id="4" name="Picture 3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3013" y="2430245"/>
            <a:ext cx="1017137" cy="1509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17823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55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  <p:tag name="MIO_CHANGETRACKING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-1"/>
  <p:tag name="MIO_FALLBACK_LAYOUT" val="5"/>
  <p:tag name="MIO_SHOW_DATE" val="False"/>
  <p:tag name="MIO_SHOW_FOOTER" val="True"/>
  <p:tag name="MIO_SHOW_PAGENUMBER" val="True"/>
  <p:tag name="MIO_AVOID_BLANK_LAYOUT" val="True"/>
  <p:tag name="MIO_CD_LAYOUT_VALID_AREA" val="False"/>
  <p:tag name="MIO_NUMBER_OF_VALID_LAYOUTS" val="15"/>
  <p:tag name="MIO_HDS" val="True"/>
  <p:tag name="MIO_SKIPVERSION" val="01.01.0001 00:00:00"/>
  <p:tag name="MIO_EKGUID" val="c609e193-267e-47cf-993b-aac3a7684978"/>
  <p:tag name="MIO_UPDATE" val="True"/>
  <p:tag name="MIO_VERSION" val="18.04.2017 10:48:19"/>
  <p:tag name="MIO_DBID" val="5D9FD29E-BEEC-40D7-BFBE-407D9085DE5F"/>
  <p:tag name="MIO_LASTDOWNLOADED" val="27.07.2017 12:45:43"/>
  <p:tag name="MIO_OBJECTNAME" val="Danske Bank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anske Bank Group_Standard Theme">
  <a:themeElements>
    <a:clrScheme name="Danske Colour Scheme - Standard">
      <a:dk1>
        <a:srgbClr val="000000"/>
      </a:dk1>
      <a:lt1>
        <a:sysClr val="window" lastClr="FFFFFF"/>
      </a:lt1>
      <a:dk2>
        <a:srgbClr val="003755"/>
      </a:dk2>
      <a:lt2>
        <a:srgbClr val="FFFFFF"/>
      </a:lt2>
      <a:accent1>
        <a:srgbClr val="003755"/>
      </a:accent1>
      <a:accent2>
        <a:srgbClr val="6DBACE"/>
      </a:accent2>
      <a:accent3>
        <a:srgbClr val="C7CECB"/>
      </a:accent3>
      <a:accent4>
        <a:srgbClr val="397798"/>
      </a:accent4>
      <a:accent5>
        <a:srgbClr val="7F898B"/>
      </a:accent5>
      <a:accent6>
        <a:srgbClr val="A8D2E0"/>
      </a:accent6>
      <a:hlink>
        <a:srgbClr val="397798"/>
      </a:hlink>
      <a:folHlink>
        <a:srgbClr val="6DBACE"/>
      </a:folHlink>
    </a:clrScheme>
    <a:fontScheme name="15115_DB Nordic Theme_x">
      <a:majorFont>
        <a:latin typeface="Danske Human Medium Italic"/>
        <a:ea typeface=""/>
        <a:cs typeface=""/>
      </a:majorFont>
      <a:minorFont>
        <a:latin typeface="Danske Tex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1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Danske Midnight Blue">
      <a:srgbClr val="003755"/>
    </a:custClr>
    <a:custClr name="Danske Autumn Red">
      <a:srgbClr val="E65A6D"/>
    </a:custClr>
    <a:custClr name="Danske Meadow Green">
      <a:srgbClr val="09B89D"/>
    </a:custClr>
    <a:custClr name="Danske Corn Yellow">
      <a:srgbClr val="FFE17F"/>
    </a:custClr>
    <a:custClr name="Danske Amber Orange">
      <a:srgbClr val="FBB273"/>
    </a:custClr>
    <a:custClr name="Danske Berry Purple">
      <a:srgbClr val="74489D"/>
    </a:custClr>
    <a:custClr name="Danske Sea Blue">
      <a:srgbClr val="6DBACE"/>
    </a:custClr>
    <a:custClr name="Danske Granite Gray">
      <a:srgbClr val="3A4344"/>
    </a:custClr>
    <a:custClr name="Danske Slate Gray">
      <a:srgbClr val="7B8185"/>
    </a:custClr>
    <a:custClr name="Danske Stone Gray">
      <a:srgbClr val="C7CECB"/>
    </a:custClr>
    <a:custClr name="Danske Midnight Blue 80%">
      <a:srgbClr val="00597B"/>
    </a:custClr>
    <a:custClr name="Danske Autumn Red 80%">
      <a:srgbClr val="EB7C83"/>
    </a:custClr>
    <a:custClr name="Danske Meadow Green 80%">
      <a:srgbClr val="5EC3AE"/>
    </a:custClr>
    <a:custClr name="Danske Corn Yellow 80%">
      <a:srgbClr val="FFE698"/>
    </a:custClr>
    <a:custClr name="Danske Amber Orange 80%">
      <a:srgbClr val="FCC18B"/>
    </a:custClr>
    <a:custClr name="Danske Berry Purple 80%">
      <a:srgbClr val="8865AC"/>
    </a:custClr>
    <a:custClr name="Danske Sea Blue 80%">
      <a:srgbClr val="8BC5D7"/>
    </a:custClr>
    <a:custClr name="Danske Granite Gray 80%">
      <a:srgbClr val="5E676A"/>
    </a:custClr>
    <a:custClr name="Danske Slate Gray 80%">
      <a:srgbClr val="93989C"/>
    </a:custClr>
    <a:custClr name="Danske Stone Gray 80%">
      <a:srgbClr val="D2D7D5"/>
    </a:custClr>
    <a:custClr name="Danske Midnight Blue 60%">
      <a:srgbClr val="397798"/>
    </a:custClr>
    <a:custClr name="Danske Autumn Red 60%">
      <a:srgbClr val="EF9A9C"/>
    </a:custClr>
    <a:custClr name="Danske Meadow Green 60%">
      <a:srgbClr val="8AD0BF"/>
    </a:custClr>
    <a:custClr name="Danske Corn Yellow 60%">
      <a:srgbClr val="FFECB0"/>
    </a:custClr>
    <a:custClr name="Danske Amber Orange 60%">
      <a:srgbClr val="FDCFA5"/>
    </a:custClr>
    <a:custClr name="Danske Berry Purple 60%">
      <a:srgbClr val="9F84BD"/>
    </a:custClr>
    <a:custClr name="Danske Sea Blue 60%">
      <a:srgbClr val="A8D2E0"/>
    </a:custClr>
    <a:custClr name="Danske Granite Gray 60%">
      <a:srgbClr val="7F898B"/>
    </a:custClr>
    <a:custClr name="Danske Slate Gray 60%">
      <a:srgbClr val="ABAFB2"/>
    </a:custClr>
    <a:custClr name="Danske Stone Gray 60%">
      <a:srgbClr val="DBE0DE"/>
    </a:custClr>
    <a:custClr name="Danske Midnight Blue 40%">
      <a:srgbClr val="739DB7"/>
    </a:custClr>
    <a:custClr name="Danske Autumn Red 40%">
      <a:srgbClr val="F4BAB8"/>
    </a:custClr>
    <a:custClr name="Danske Meadow Green 40%">
      <a:srgbClr val="B2DFD3"/>
    </a:custClr>
    <a:custClr name="Danske Corn Yellow 40%">
      <a:srgbClr val="FFF3CA"/>
    </a:custClr>
    <a:custClr name="Danske Amber Orange 40%">
      <a:srgbClr val="FEDDBF"/>
    </a:custClr>
    <a:custClr name="Danske Berry Purple 40%">
      <a:srgbClr val="BAA7D1"/>
    </a:custClr>
    <a:custClr name="Danske Sea Blue 40%">
      <a:srgbClr val="C3E0EB"/>
    </a:custClr>
    <a:custClr name="Danske Granite Gray 40%">
      <a:srgbClr val="A6ADB0"/>
    </a:custClr>
    <a:custClr name="Danske Slate Gray 40%">
      <a:srgbClr val="C5C8CB"/>
    </a:custClr>
    <a:custClr name="Danske Stone Gray 40%">
      <a:srgbClr val="E8EBEA"/>
    </a:custClr>
    <a:custClr name="Danske Sky Blue">
      <a:srgbClr val="D7E9F1"/>
    </a:custClr>
  </a:custClrLst>
  <a:extLst>
    <a:ext uri="{05A4C25C-085E-4340-85A3-A5531E510DB2}">
      <thm15:themeFamily xmlns:thm15="http://schemas.microsoft.com/office/thememl/2012/main" name="Danske Bank" id="{8216E2C8-6751-4BF8-920F-E483459A2509}" vid="{485E5081-4538-44C3-B977-B4073ADF60B9}"/>
    </a:ext>
  </a:extLst>
</a:theme>
</file>

<file path=ppt/theme/theme2.xml><?xml version="1.0" encoding="utf-8"?>
<a:theme xmlns:a="http://schemas.openxmlformats.org/drawingml/2006/main" name="Office Theme">
  <a:themeElements>
    <a:clrScheme name="151115_DB Nordic Theme_x">
      <a:dk1>
        <a:srgbClr val="000000"/>
      </a:dk1>
      <a:lt1>
        <a:sysClr val="window" lastClr="FFFFFF"/>
      </a:lt1>
      <a:dk2>
        <a:srgbClr val="003755"/>
      </a:dk2>
      <a:lt2>
        <a:srgbClr val="FFFFFF"/>
      </a:lt2>
      <a:accent1>
        <a:srgbClr val="003755"/>
      </a:accent1>
      <a:accent2>
        <a:srgbClr val="C0E8F0"/>
      </a:accent2>
      <a:accent3>
        <a:srgbClr val="82D2E1"/>
      </a:accent3>
      <a:accent4>
        <a:srgbClr val="406980"/>
      </a:accent4>
      <a:accent5>
        <a:srgbClr val="7F9BAA"/>
      </a:accent5>
      <a:accent6>
        <a:srgbClr val="BFCDD4"/>
      </a:accent6>
      <a:hlink>
        <a:srgbClr val="406980"/>
      </a:hlink>
      <a:folHlink>
        <a:srgbClr val="7F9BAA"/>
      </a:folHlink>
    </a:clrScheme>
    <a:fontScheme name="15115_DB Nordic Theme_x">
      <a:majorFont>
        <a:latin typeface="Danske Human Medium Italic"/>
        <a:ea typeface=""/>
        <a:cs typeface=""/>
      </a:majorFont>
      <a:minorFont>
        <a:latin typeface="Danske Tex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Danske Midnight Blue">
      <a:srgbClr val="003755"/>
    </a:custClr>
    <a:custClr name="Danske Autumn Red">
      <a:srgbClr val="E65A6D"/>
    </a:custClr>
    <a:custClr name="Danske Meadow Green">
      <a:srgbClr val="09B89D"/>
    </a:custClr>
    <a:custClr name="Danske Corn Yellow">
      <a:srgbClr val="FFE17F"/>
    </a:custClr>
    <a:custClr name="Danske Amber Orange">
      <a:srgbClr val="FBB273"/>
    </a:custClr>
    <a:custClr name="Danske Berry Purple">
      <a:srgbClr val="74489D"/>
    </a:custClr>
    <a:custClr name="Danske Sea Blue">
      <a:srgbClr val="6DBACE"/>
    </a:custClr>
    <a:custClr name="Danske Granite Gray">
      <a:srgbClr val="3A4344"/>
    </a:custClr>
    <a:custClr name="Danske Slate Gray">
      <a:srgbClr val="7B8185"/>
    </a:custClr>
    <a:custClr name="Danske Stone Gray">
      <a:srgbClr val="C7CECB"/>
    </a:custClr>
    <a:custClr name="Danske Midnight Blue 80%">
      <a:srgbClr val="00597B"/>
    </a:custClr>
    <a:custClr name="Danske Autumn Red 80%">
      <a:srgbClr val="EB7C83"/>
    </a:custClr>
    <a:custClr name="Danske Meadow Green 80%">
      <a:srgbClr val="5EC3AE"/>
    </a:custClr>
    <a:custClr name="Danske Corn Yellow 80%">
      <a:srgbClr val="FFE698"/>
    </a:custClr>
    <a:custClr name="Danske Amber Orange 80%">
      <a:srgbClr val="FCC18B"/>
    </a:custClr>
    <a:custClr name="Danske Berry Purple 80%">
      <a:srgbClr val="8865AC"/>
    </a:custClr>
    <a:custClr name="Danske Sea Blue 80%">
      <a:srgbClr val="8BC5D7"/>
    </a:custClr>
    <a:custClr name="Danske Granite Gray 80%">
      <a:srgbClr val="5E676A"/>
    </a:custClr>
    <a:custClr name="Danske Slate Gray 80%">
      <a:srgbClr val="93989C"/>
    </a:custClr>
    <a:custClr name="Danske Stone Gray 80%">
      <a:srgbClr val="D2D7D5"/>
    </a:custClr>
    <a:custClr name="Danske Midnight Blue 60%">
      <a:srgbClr val="397798"/>
    </a:custClr>
    <a:custClr name="Danske Autumn Red 60%">
      <a:srgbClr val="EF9A9C"/>
    </a:custClr>
    <a:custClr name="Danske Meadow Green 60%">
      <a:srgbClr val="8AD0BF"/>
    </a:custClr>
    <a:custClr name="Danske Corn Yellow 60%">
      <a:srgbClr val="FFECB0"/>
    </a:custClr>
    <a:custClr name="Danske Amber Orange 60%">
      <a:srgbClr val="FDCFA5"/>
    </a:custClr>
    <a:custClr name="Danske Berry Purple 60%">
      <a:srgbClr val="9F84BD"/>
    </a:custClr>
    <a:custClr name="Danske Sea Blue 60%">
      <a:srgbClr val="A8D2E0"/>
    </a:custClr>
    <a:custClr name="Danske Granite Gray 60%">
      <a:srgbClr val="7F898B"/>
    </a:custClr>
    <a:custClr name="Danske Slate Gray 60%">
      <a:srgbClr val="ABAFB2"/>
    </a:custClr>
    <a:custClr name="Danske Stone Gray 60%">
      <a:srgbClr val="DBE0DE"/>
    </a:custClr>
    <a:custClr name="Danske Midnight Blue 40%">
      <a:srgbClr val="739DB7"/>
    </a:custClr>
    <a:custClr name="Danske Autumn Red 40%">
      <a:srgbClr val="F4BAB8"/>
    </a:custClr>
    <a:custClr name="Danske Meadow Green 40%">
      <a:srgbClr val="B2DFD3"/>
    </a:custClr>
    <a:custClr name="Danske Corn Yellow 40%">
      <a:srgbClr val="FFF3CA"/>
    </a:custClr>
    <a:custClr name="Danske Amber Orange 40%">
      <a:srgbClr val="FEDDBF"/>
    </a:custClr>
    <a:custClr name="Danske Berry Purple 40%">
      <a:srgbClr val="BAA7D1"/>
    </a:custClr>
    <a:custClr name="Danske Sea Blue 40%">
      <a:srgbClr val="C3E0EB"/>
    </a:custClr>
    <a:custClr name="Danske Granite Gray 40%">
      <a:srgbClr val="A6ADB0"/>
    </a:custClr>
    <a:custClr name="Danske Slate Gray 40%">
      <a:srgbClr val="C5C8CB"/>
    </a:custClr>
    <a:custClr name="Danske Stone Gray 40%">
      <a:srgbClr val="E8EBEA"/>
    </a:custClr>
    <a:custClr name="Danske Sky Blue">
      <a:srgbClr val="D7E9F1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151115_DB Nordic Theme_x">
      <a:dk1>
        <a:srgbClr val="000000"/>
      </a:dk1>
      <a:lt1>
        <a:sysClr val="window" lastClr="FFFFFF"/>
      </a:lt1>
      <a:dk2>
        <a:srgbClr val="003755"/>
      </a:dk2>
      <a:lt2>
        <a:srgbClr val="FFFFFF"/>
      </a:lt2>
      <a:accent1>
        <a:srgbClr val="003755"/>
      </a:accent1>
      <a:accent2>
        <a:srgbClr val="C0E8F0"/>
      </a:accent2>
      <a:accent3>
        <a:srgbClr val="82D2E1"/>
      </a:accent3>
      <a:accent4>
        <a:srgbClr val="406980"/>
      </a:accent4>
      <a:accent5>
        <a:srgbClr val="7F9BAA"/>
      </a:accent5>
      <a:accent6>
        <a:srgbClr val="BFCDD4"/>
      </a:accent6>
      <a:hlink>
        <a:srgbClr val="406980"/>
      </a:hlink>
      <a:folHlink>
        <a:srgbClr val="7F9BAA"/>
      </a:folHlink>
    </a:clrScheme>
    <a:fontScheme name="15115_DB Nordic Theme_x">
      <a:majorFont>
        <a:latin typeface="Danske Human Medium Italic"/>
        <a:ea typeface=""/>
        <a:cs typeface=""/>
      </a:majorFont>
      <a:minorFont>
        <a:latin typeface="Danske Tex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Danske Midnight Blue">
      <a:srgbClr val="003755"/>
    </a:custClr>
    <a:custClr name="Danske Autumn Red">
      <a:srgbClr val="E65A6D"/>
    </a:custClr>
    <a:custClr name="Danske Meadow Green">
      <a:srgbClr val="09B89D"/>
    </a:custClr>
    <a:custClr name="Danske Corn Yellow">
      <a:srgbClr val="FFE17F"/>
    </a:custClr>
    <a:custClr name="Danske Amber Orange">
      <a:srgbClr val="FBB273"/>
    </a:custClr>
    <a:custClr name="Danske Berry Purple">
      <a:srgbClr val="74489D"/>
    </a:custClr>
    <a:custClr name="Danske Sea Blue">
      <a:srgbClr val="6DBACE"/>
    </a:custClr>
    <a:custClr name="Danske Granite Gray">
      <a:srgbClr val="3A4344"/>
    </a:custClr>
    <a:custClr name="Danske Slate Gray">
      <a:srgbClr val="7B8185"/>
    </a:custClr>
    <a:custClr name="Danske Stone Gray">
      <a:srgbClr val="C7CECB"/>
    </a:custClr>
    <a:custClr name="Danske Midnight Blue 80%">
      <a:srgbClr val="00597B"/>
    </a:custClr>
    <a:custClr name="Danske Autumn Red 80%">
      <a:srgbClr val="EB7C83"/>
    </a:custClr>
    <a:custClr name="Danske Meadow Green 80%">
      <a:srgbClr val="5EC3AE"/>
    </a:custClr>
    <a:custClr name="Danske Corn Yellow 80%">
      <a:srgbClr val="FFE698"/>
    </a:custClr>
    <a:custClr name="Danske Amber Orange 80%">
      <a:srgbClr val="FCC18B"/>
    </a:custClr>
    <a:custClr name="Danske Berry Purple 80%">
      <a:srgbClr val="8865AC"/>
    </a:custClr>
    <a:custClr name="Danske Sea Blue 80%">
      <a:srgbClr val="8BC5D7"/>
    </a:custClr>
    <a:custClr name="Danske Granite Gray 80%">
      <a:srgbClr val="5E676A"/>
    </a:custClr>
    <a:custClr name="Danske Slate Gray 80%">
      <a:srgbClr val="93989C"/>
    </a:custClr>
    <a:custClr name="Danske Stone Gray 80%">
      <a:srgbClr val="D2D7D5"/>
    </a:custClr>
    <a:custClr name="Danske Midnight Blue 60%">
      <a:srgbClr val="397798"/>
    </a:custClr>
    <a:custClr name="Danske Autumn Red 60%">
      <a:srgbClr val="EF9A9C"/>
    </a:custClr>
    <a:custClr name="Danske Meadow Green 60%">
      <a:srgbClr val="8AD0BF"/>
    </a:custClr>
    <a:custClr name="Danske Corn Yellow 60%">
      <a:srgbClr val="FFECB0"/>
    </a:custClr>
    <a:custClr name="Danske Amber Orange 60%">
      <a:srgbClr val="FDCFA5"/>
    </a:custClr>
    <a:custClr name="Danske Berry Purple 60%">
      <a:srgbClr val="9F84BD"/>
    </a:custClr>
    <a:custClr name="Danske Sea Blue 60%">
      <a:srgbClr val="A8D2E0"/>
    </a:custClr>
    <a:custClr name="Danske Granite Gray 60%">
      <a:srgbClr val="7F898B"/>
    </a:custClr>
    <a:custClr name="Danske Slate Gray 60%">
      <a:srgbClr val="ABAFB2"/>
    </a:custClr>
    <a:custClr name="Danske Stone Gray 60%">
      <a:srgbClr val="DBE0DE"/>
    </a:custClr>
    <a:custClr name="Danske Midnight Blue 40%">
      <a:srgbClr val="739DB7"/>
    </a:custClr>
    <a:custClr name="Danske Autumn Red 40%">
      <a:srgbClr val="F4BAB8"/>
    </a:custClr>
    <a:custClr name="Danske Meadow Green 40%">
      <a:srgbClr val="B2DFD3"/>
    </a:custClr>
    <a:custClr name="Danske Corn Yellow 40%">
      <a:srgbClr val="FFF3CA"/>
    </a:custClr>
    <a:custClr name="Danske Amber Orange 40%">
      <a:srgbClr val="FEDDBF"/>
    </a:custClr>
    <a:custClr name="Danske Berry Purple 40%">
      <a:srgbClr val="BAA7D1"/>
    </a:custClr>
    <a:custClr name="Danske Sea Blue 40%">
      <a:srgbClr val="C3E0EB"/>
    </a:custClr>
    <a:custClr name="Danske Granite Gray 40%">
      <a:srgbClr val="A6ADB0"/>
    </a:custClr>
    <a:custClr name="Danske Slate Gray 40%">
      <a:srgbClr val="C5C8CB"/>
    </a:custClr>
    <a:custClr name="Danske Stone Gray 40%">
      <a:srgbClr val="E8EBEA"/>
    </a:custClr>
    <a:custClr name="Danske Sky Blue">
      <a:srgbClr val="D7E9F1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0AC2275C336634A8785D9151A32F889" ma:contentTypeVersion="0" ma:contentTypeDescription="Create a new document." ma:contentTypeScope="" ma:versionID="837daaafbd83eedeca0c65dc8fc2cde5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c64490b4aec6201516c3a874156f37b2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D259EFA-24BD-421A-9315-4F7F9368BC70}">
  <ds:schemaRefs>
    <ds:schemaRef ds:uri="http://schemas.microsoft.com/office/2006/metadata/properties"/>
    <ds:schemaRef ds:uri="http://schemas.microsoft.com/office/infopath/2007/PartnerControls"/>
    <ds:schemaRef ds:uri="http://schemas.microsoft.com/office/2006/documentManagement/types"/>
    <ds:schemaRef ds:uri="http://purl.org/dc/terms/"/>
    <ds:schemaRef ds:uri="http://purl.org/dc/elements/1.1/"/>
    <ds:schemaRef ds:uri="http://www.w3.org/XML/1998/namespace"/>
    <ds:schemaRef ds:uri="http://schemas.openxmlformats.org/package/2006/metadata/core-properties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5E097449-AB2D-4920-9C81-08D41C1E3CF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184F577-691A-4408-B88D-3D30BDA215B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anske Bank</Template>
  <TotalTime>353</TotalTime>
  <Words>12</Words>
  <Application>Microsoft Office PowerPoint</Application>
  <PresentationFormat>On-screen Show (4:3)</PresentationFormat>
  <Paragraphs>1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Danske Human Medium Italic</vt:lpstr>
      <vt:lpstr>Danske Text</vt:lpstr>
      <vt:lpstr>Wingdings 3</vt:lpstr>
      <vt:lpstr>Danske Bank Group_Standard Theme</vt:lpstr>
      <vt:lpstr>think-cell Slide</vt:lpstr>
      <vt:lpstr>Loan Production journey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raveen Kumar V D</dc:creator>
  <cp:lastModifiedBy>Karolina Aukstikalne</cp:lastModifiedBy>
  <cp:revision>19</cp:revision>
  <dcterms:created xsi:type="dcterms:W3CDTF">2017-04-18T08:47:09Z</dcterms:created>
  <dcterms:modified xsi:type="dcterms:W3CDTF">2017-08-01T10:21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0AC2275C336634A8785D9151A32F889</vt:lpwstr>
  </property>
</Properties>
</file>